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theme/theme5.xml" ContentType="application/vnd.openxmlformats-officedocument.theme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Masters/slideMaster17.xml" ContentType="application/vnd.openxmlformats-officedocument.presentationml.slideMaster+xml"/>
  <Override PartName="/ppt/notesMasters/notesMaster1.xml" ContentType="application/vnd.openxmlformats-officedocument.presentationml.notesMaster+xml"/>
  <Override PartName="/ppt/theme/theme18.xml" ContentType="application/vnd.openxmlformats-officedocument.theme+xml"/>
  <Override PartName="/ppt/tags/tag29.xml" ContentType="application/vnd.openxmlformats-officedocument.presentationml.tags+xml"/>
  <Override PartName="/ppt/slideMasters/slideMaster15.xml" ContentType="application/vnd.openxmlformats-officedocument.presentationml.slideMaster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theme/theme16.xml" ContentType="application/vnd.openxmlformats-officedocument.theme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slideMasters/slideMaster8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3.xml" ContentType="application/vnd.openxmlformats-officedocument.presentationml.slideMaster+xml"/>
  <Override PartName="/ppt/theme/theme14.xml" ContentType="application/vnd.openxmlformats-officedocument.theme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slideMasters/slideMaster6.xml" ContentType="application/vnd.openxmlformats-officedocument.presentationml.slideMaster+xml"/>
  <Override PartName="/ppt/theme/theme8.xml" ContentType="application/vnd.openxmlformats-officedocument.theme+xml"/>
  <Override PartName="/ppt/theme/theme12.xml" ContentType="application/vnd.openxmlformats-officedocument.theme+xml"/>
  <Default Extension="xlsx" ContentType="application/vnd.openxmlformats-officedocument.spreadsheetml.sheet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slideMasters/slideMaster4.xml" ContentType="application/vnd.openxmlformats-officedocument.presentationml.slideMaster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heme/theme6.xml" ContentType="application/vnd.openxmlformats-officedocument.theme+xml"/>
  <Override PartName="/ppt/theme/theme10.xml" ContentType="application/vnd.openxmlformats-officedocument.theme+xml"/>
  <Override PartName="/ppt/tags/tag9.xml" ContentType="application/vnd.openxmlformats-officedocument.presentationml.tags+xml"/>
  <Override PartName="/ppt/charts/chart1.xml" ContentType="application/vnd.openxmlformats-officedocument.drawingml.char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Default Extension="png" ContentType="image/png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Masters/slideMaster18.xml" ContentType="application/vnd.openxmlformats-officedocument.presentationml.slideMaster+xml"/>
  <Override PartName="/ppt/slides/slide1.xml" ContentType="application/vnd.openxmlformats-officedocument.presentationml.slide+xml"/>
  <Default Extension="jpeg" ContentType="image/jpeg"/>
  <Override PartName="/ppt/tags/tag3.xml" ContentType="application/vnd.openxmlformats-officedocument.presentationml.tags+xml"/>
  <Override PartName="/ppt/presentation.xml" ContentType="application/vnd.openxmlformats-officedocument.presentationml.presentation.main+xml"/>
  <Override PartName="/ppt/slideMasters/slideMaster16.xml" ContentType="application/vnd.openxmlformats-officedocument.presentationml.slideMaster+xml"/>
  <Override PartName="/ppt/slideLayouts/slideLayout1.xml" ContentType="application/vnd.openxmlformats-officedocument.presentationml.slideLayout+xml"/>
  <Override PartName="/ppt/theme/theme19.xml" ContentType="application/vnd.openxmlformats-officedocument.theme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docProps/app.xml" ContentType="application/vnd.openxmlformats-officedocument.extended-properties+xml"/>
  <Override PartName="/ppt/slideMasters/slideMaster14.xml" ContentType="application/vnd.openxmlformats-officedocument.presentationml.slideMaster+xml"/>
  <Override PartName="/ppt/slides/slide11.xml" ContentType="application/vnd.openxmlformats-officedocument.presentationml.slide+xml"/>
  <Override PartName="/ppt/theme/theme17.xml" ContentType="application/vnd.openxmlformats-officedocument.theme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slideMasters/slideMaster9.xml" ContentType="application/vnd.openxmlformats-officedocument.presentationml.slideMaster+xml"/>
  <Override PartName="/ppt/slideMasters/slideMaster12.xml" ContentType="application/vnd.openxmlformats-officedocument.presentationml.slideMaster+xml"/>
  <Override PartName="/ppt/theme/theme15.xml" ContentType="application/vnd.openxmlformats-officedocument.theme+xml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slideMasters/slideMaster7.xml" ContentType="application/vnd.openxmlformats-officedocument.presentationml.slideMaster+xml"/>
  <Override PartName="/ppt/slideMasters/slideMaster10.xml" ContentType="application/vnd.openxmlformats-officedocument.presentationml.slideMaster+xml"/>
  <Override PartName="/ppt/theme/theme9.xml" ContentType="application/vnd.openxmlformats-officedocument.theme+xml"/>
  <Override PartName="/ppt/theme/theme13.xml" ContentType="application/vnd.openxmlformats-officedocument.theme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slideMasters/slideMaster5.xml" ContentType="application/vnd.openxmlformats-officedocument.presentationml.slideMaster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theme/theme7.xml" ContentType="application/vnd.openxmlformats-officedocument.theme+xml"/>
  <Override PartName="/ppt/theme/theme11.xml" ContentType="application/vnd.openxmlformats-officedocument.theme+xml"/>
  <Override PartName="/ppt/theme/theme20.xml" ContentType="application/vnd.openxmlformats-officedocument.theme+xml"/>
  <Override PartName="/ppt/charts/chart2.xml" ContentType="application/vnd.openxmlformats-officedocument.drawingml.chart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tags/tag6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064" r:id="rId1"/>
    <p:sldMasterId id="2147484073" r:id="rId2"/>
    <p:sldMasterId id="2147484084" r:id="rId3"/>
    <p:sldMasterId id="2147484096" r:id="rId4"/>
    <p:sldMasterId id="2147484108" r:id="rId5"/>
    <p:sldMasterId id="2147484132" r:id="rId6"/>
    <p:sldMasterId id="2147484141" r:id="rId7"/>
    <p:sldMasterId id="2147484152" r:id="rId8"/>
    <p:sldMasterId id="2147484161" r:id="rId9"/>
    <p:sldMasterId id="2147484172" r:id="rId10"/>
    <p:sldMasterId id="2147484181" r:id="rId11"/>
    <p:sldMasterId id="2147484192" r:id="rId12"/>
    <p:sldMasterId id="2147484201" r:id="rId13"/>
    <p:sldMasterId id="2147484212" r:id="rId14"/>
    <p:sldMasterId id="2147484221" r:id="rId15"/>
    <p:sldMasterId id="2147484232" r:id="rId16"/>
    <p:sldMasterId id="2147483695" r:id="rId17"/>
    <p:sldMasterId id="2147483874" r:id="rId18"/>
  </p:sldMasterIdLst>
  <p:notesMasterIdLst>
    <p:notesMasterId r:id="rId30"/>
  </p:notesMasterIdLst>
  <p:handoutMasterIdLst>
    <p:handoutMasterId r:id="rId31"/>
  </p:handoutMasterIdLst>
  <p:sldIdLst>
    <p:sldId id="256" r:id="rId19"/>
    <p:sldId id="321" r:id="rId20"/>
    <p:sldId id="322" r:id="rId21"/>
    <p:sldId id="323" r:id="rId22"/>
    <p:sldId id="324" r:id="rId23"/>
    <p:sldId id="303" r:id="rId24"/>
    <p:sldId id="281" r:id="rId25"/>
    <p:sldId id="289" r:id="rId26"/>
    <p:sldId id="309" r:id="rId27"/>
    <p:sldId id="325" r:id="rId28"/>
    <p:sldId id="302" r:id="rId29"/>
  </p:sldIdLst>
  <p:sldSz cx="9144000" cy="6858000" type="screen4x3"/>
  <p:notesSz cx="6797675" cy="9928225"/>
  <p:defaultTextStyle>
    <a:defPPr>
      <a:defRPr lang="fr-FR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467F"/>
    <a:srgbClr val="4D7DB1"/>
    <a:srgbClr val="69BBFF"/>
    <a:srgbClr val="81C6FF"/>
    <a:srgbClr val="474747"/>
    <a:srgbClr val="973121"/>
    <a:srgbClr val="C9E7FF"/>
    <a:srgbClr val="53B1FF"/>
    <a:srgbClr val="007EE6"/>
    <a:srgbClr val="009CDA"/>
  </p:clrMru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15515" autoAdjust="0"/>
    <p:restoredTop sz="95520" autoAdjust="0"/>
  </p:normalViewPr>
  <p:slideViewPr>
    <p:cSldViewPr>
      <p:cViewPr>
        <p:scale>
          <a:sx n="45" d="100"/>
          <a:sy n="45" d="100"/>
        </p:scale>
        <p:origin x="-1626" y="-55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4" d="100"/>
        <a:sy n="54" d="100"/>
      </p:scale>
      <p:origin x="0" y="0"/>
    </p:cViewPr>
  </p:sorterViewPr>
  <p:notesViewPr>
    <p:cSldViewPr>
      <p:cViewPr varScale="1">
        <p:scale>
          <a:sx n="55" d="100"/>
          <a:sy n="55" d="100"/>
        </p:scale>
        <p:origin x="-2856" y="-102"/>
      </p:cViewPr>
      <p:guideLst>
        <p:guide orient="horz" pos="3128"/>
        <p:guide pos="2141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" Target="slides/slide8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3.xml"/><Relationship Id="rId34" Type="http://schemas.openxmlformats.org/officeDocument/2006/relationships/theme" Target="theme/theme1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" Target="slides/slide7.xml"/><Relationship Id="rId33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" Target="slides/slide2.xml"/><Relationship Id="rId29" Type="http://schemas.openxmlformats.org/officeDocument/2006/relationships/slide" Target="slides/slide1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6.xml"/><Relationship Id="rId32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5.xml"/><Relationship Id="rId28" Type="http://schemas.openxmlformats.org/officeDocument/2006/relationships/slide" Target="slides/slide10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1.xml"/><Relationship Id="rId31" Type="http://schemas.openxmlformats.org/officeDocument/2006/relationships/handoutMaster" Target="handoutMasters/handoutMaster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4.xml"/><Relationship Id="rId27" Type="http://schemas.openxmlformats.org/officeDocument/2006/relationships/slide" Target="slides/slide9.xml"/><Relationship Id="rId30" Type="http://schemas.openxmlformats.org/officeDocument/2006/relationships/notesMaster" Target="notesMasters/notesMaster1.xml"/><Relationship Id="rId35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Worksheet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chart>
    <c:title>
      <c:layout/>
    </c:title>
    <c:plotArea>
      <c:layout>
        <c:manualLayout>
          <c:layoutTarget val="inner"/>
          <c:xMode val="edge"/>
          <c:yMode val="edge"/>
          <c:x val="1.4457831325301203E-2"/>
          <c:y val="2.870813397129187E-2"/>
          <c:w val="0.97349397590361353"/>
          <c:h val="0.94736842105262009"/>
        </c:manualLayout>
      </c:layout>
      <c:barChart>
        <c:barDir val="col"/>
        <c:grouping val="stacked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spPr>
            <a:solidFill>
              <a:srgbClr val="95979A"/>
            </a:solidFill>
            <a:ln w="10090">
              <a:noFill/>
              <a:prstDash val="solid"/>
            </a:ln>
          </c:spPr>
          <c:dPt>
            <c:idx val="0"/>
            <c:spPr>
              <a:solidFill>
                <a:srgbClr val="00467F"/>
              </a:solidFill>
              <a:ln w="10090">
                <a:noFill/>
                <a:prstDash val="solid"/>
              </a:ln>
            </c:spPr>
          </c:dPt>
          <c:cat>
            <c:numRef>
              <c:f>Sheet1!$A$2:$A$9</c:f>
              <c:numCache>
                <c:formatCode>General</c:formatCode>
                <c:ptCount val="8"/>
              </c:numCache>
            </c:numRef>
          </c:cat>
          <c:val>
            <c:numRef>
              <c:f>Sheet1!$B$2:$B$9</c:f>
              <c:numCache>
                <c:formatCode>General</c:formatCode>
                <c:ptCount val="8"/>
                <c:pt idx="0">
                  <c:v>5.4</c:v>
                </c:pt>
                <c:pt idx="1">
                  <c:v>5.300000000000602</c:v>
                </c:pt>
                <c:pt idx="2">
                  <c:v>4.5</c:v>
                </c:pt>
                <c:pt idx="3">
                  <c:v>4.5</c:v>
                </c:pt>
                <c:pt idx="4">
                  <c:v>4.5</c:v>
                </c:pt>
                <c:pt idx="5">
                  <c:v>4.5</c:v>
                </c:pt>
                <c:pt idx="6">
                  <c:v>4.5</c:v>
                </c:pt>
                <c:pt idx="7">
                  <c:v>4.3</c:v>
                </c:pt>
              </c:numCache>
            </c:numRef>
          </c:val>
        </c:ser>
        <c:gapWidth val="40"/>
        <c:overlap val="100"/>
        <c:axId val="79728000"/>
        <c:axId val="85537920"/>
      </c:barChart>
      <c:catAx>
        <c:axId val="79728000"/>
        <c:scaling>
          <c:orientation val="minMax"/>
        </c:scaling>
        <c:axPos val="b"/>
        <c:numFmt formatCode="General" sourceLinked="1"/>
        <c:majorTickMark val="none"/>
        <c:tickLblPos val="none"/>
        <c:spPr>
          <a:ln w="30267">
            <a:solidFill>
              <a:schemeClr val="tx1"/>
            </a:solidFill>
            <a:prstDash val="solid"/>
          </a:ln>
        </c:spPr>
        <c:crossAx val="85537920"/>
        <c:crossesAt val="0"/>
        <c:auto val="1"/>
        <c:lblAlgn val="ctr"/>
        <c:lblOffset val="100"/>
        <c:tickLblSkip val="1"/>
        <c:tickMarkSkip val="1"/>
      </c:catAx>
      <c:valAx>
        <c:axId val="85537920"/>
        <c:scaling>
          <c:orientation val="minMax"/>
          <c:max val="5.4"/>
          <c:min val="0"/>
        </c:scaling>
        <c:axPos val="l"/>
        <c:numFmt formatCode="General" sourceLinked="1"/>
        <c:majorTickMark val="none"/>
        <c:tickLblPos val="none"/>
        <c:spPr>
          <a:ln w="7568">
            <a:noFill/>
          </a:ln>
        </c:spPr>
        <c:crossAx val="79728000"/>
        <c:crosses val="autoZero"/>
        <c:crossBetween val="between"/>
        <c:majorUnit val="1"/>
      </c:valAx>
      <c:spPr>
        <a:noFill/>
        <a:ln w="27872">
          <a:noFill/>
        </a:ln>
      </c:spPr>
    </c:plotArea>
    <c:plotVisOnly val="1"/>
    <c:dispBlanksAs val="gap"/>
  </c:chart>
  <c:spPr>
    <a:noFill/>
    <a:ln>
      <a:noFill/>
    </a:ln>
  </c:spPr>
  <c:txPr>
    <a:bodyPr/>
    <a:lstStyle/>
    <a:p>
      <a:pPr>
        <a:defRPr sz="955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en-US"/>
    </a:p>
  </c:txPr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style val="3"/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spPr>
              <a:solidFill>
                <a:srgbClr val="0089C0"/>
              </a:solidFill>
            </c:spPr>
          </c:dPt>
          <c:dPt>
            <c:idx val="1"/>
            <c:spPr>
              <a:solidFill>
                <a:srgbClr val="95979A"/>
              </a:solidFill>
            </c:spPr>
          </c:dPt>
          <c:dLbls>
            <c:dLbl>
              <c:idx val="0"/>
              <c:layout>
                <c:manualLayout>
                  <c:x val="-0.26062973889928781"/>
                  <c:y val="2.4752908113090392E-2"/>
                </c:manualLayout>
              </c:layout>
              <c:tx>
                <c:rich>
                  <a:bodyPr/>
                  <a:lstStyle/>
                  <a:p>
                    <a:r>
                      <a:rPr lang="fr-FR" b="1" dirty="0"/>
                      <a:t>Moins de 25 ans
</a:t>
                    </a:r>
                    <a:r>
                      <a:rPr lang="fr-FR" b="1" dirty="0" smtClean="0"/>
                      <a:t>48 %</a:t>
                    </a:r>
                    <a:endParaRPr lang="fr-FR" b="1" dirty="0"/>
                  </a:p>
                </c:rich>
              </c:tx>
              <c:dLblPos val="bestFit"/>
            </c:dLbl>
            <c:dLbl>
              <c:idx val="1"/>
              <c:layout>
                <c:manualLayout>
                  <c:x val="0.2490632383263473"/>
                  <c:y val="-1.8258773716500767E-2"/>
                </c:manualLayout>
              </c:layout>
              <c:tx>
                <c:rich>
                  <a:bodyPr/>
                  <a:lstStyle/>
                  <a:p>
                    <a:r>
                      <a:rPr lang="fr-FR" b="1" dirty="0">
                        <a:solidFill>
                          <a:srgbClr val="FFFFFF"/>
                        </a:solidFill>
                        <a:latin typeface="Century Gothic" pitchFamily="34" charset="0"/>
                      </a:rPr>
                      <a:t>Plus de 25 ans
</a:t>
                    </a:r>
                    <a:r>
                      <a:rPr lang="fr-FR" b="1" dirty="0" smtClean="0">
                        <a:solidFill>
                          <a:srgbClr val="FFFFFF"/>
                        </a:solidFill>
                        <a:latin typeface="Century Gothic" pitchFamily="34" charset="0"/>
                      </a:rPr>
                      <a:t>52 %</a:t>
                    </a:r>
                    <a:endParaRPr lang="fr-FR" b="1" dirty="0">
                      <a:solidFill>
                        <a:srgbClr val="FFFFFF"/>
                      </a:solidFill>
                      <a:latin typeface="Century Gothic" pitchFamily="34" charset="0"/>
                    </a:endParaRPr>
                  </a:p>
                </c:rich>
              </c:tx>
              <c:dLblPos val="bestFit"/>
            </c:dLbl>
            <c:txPr>
              <a:bodyPr/>
              <a:lstStyle/>
              <a:p>
                <a:pPr>
                  <a:defRPr>
                    <a:solidFill>
                      <a:srgbClr val="FFFFFF"/>
                    </a:solidFill>
                    <a:latin typeface="Century Gothic" pitchFamily="34" charset="0"/>
                  </a:defRPr>
                </a:pPr>
                <a:endParaRPr lang="en-US"/>
              </a:p>
            </c:txPr>
            <c:showCatName val="1"/>
            <c:showPercent val="1"/>
            <c:showLeaderLines val="1"/>
          </c:dLbls>
          <c:cat>
            <c:strRef>
              <c:f>Sheet1!$A$2:$A$3</c:f>
              <c:strCache>
                <c:ptCount val="2"/>
                <c:pt idx="0">
                  <c:v>Moins de 25 ans</c:v>
                </c:pt>
                <c:pt idx="1">
                  <c:v>Plus de 25 ans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48</c:v>
                </c:pt>
                <c:pt idx="1">
                  <c:v>52</c:v>
                </c:pt>
              </c:numCache>
            </c:numRef>
          </c:val>
        </c:ser>
        <c:dLbls>
          <c:showCatName val="1"/>
          <c:showPercent val="1"/>
        </c:dLbls>
        <c:firstSliceAng val="0"/>
      </c:pieChart>
      <c:spPr>
        <a:noFill/>
        <a:ln w="25426">
          <a:noFill/>
        </a:ln>
      </c:spPr>
    </c:plotArea>
    <c:plotVisOnly val="1"/>
    <c:dispBlanksAs val="zero"/>
  </c:chart>
  <c:txPr>
    <a:bodyPr/>
    <a:lstStyle/>
    <a:p>
      <a:pPr>
        <a:defRPr sz="1099">
          <a:latin typeface="EYInterstate" pitchFamily="2" charset="0"/>
        </a:defRPr>
      </a:pPr>
      <a:endParaRPr lang="en-US"/>
    </a:p>
  </c:txPr>
  <c:externalData r:id="rId1"/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CBF7D34-9E5C-4731-94C6-576F8A6E1F9A}" type="datetimeFigureOut">
              <a:rPr lang="fr-FR" smtClean="0"/>
              <a:pPr/>
              <a:t>07/12/2011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4D694A7-12A4-45B2-98F1-BA4CBC52C223}" type="slidenum">
              <a:rPr lang="fr-FR" smtClean="0"/>
              <a:pPr/>
              <a:t>‹#›</a:t>
            </a:fld>
            <a:endParaRPr lang="fr-F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50445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4702486-FD66-4448-9D79-3B449941A014}" type="datetimeFigureOut">
              <a:rPr lang="fr-FR"/>
              <a:pPr>
                <a:defRPr/>
              </a:pPr>
              <a:t>07/12/2011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fr-FR" noProof="0" smtClean="0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9768" y="4715908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noProof="0" smtClean="0"/>
              <a:t>Cliquez pour modifier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  <a:p>
            <a:pPr lvl="3"/>
            <a:r>
              <a:rPr lang="fr-FR" noProof="0" smtClean="0"/>
              <a:t>Quatrième niveau</a:t>
            </a:r>
          </a:p>
          <a:p>
            <a:pPr lvl="4"/>
            <a:r>
              <a:rPr lang="fr-FR" noProof="0" smtClean="0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2" y="9430092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0445" y="9430092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F3E223EE-2338-431F-B4FB-1EBB2F14FE37}" type="slidenum">
              <a:rPr lang="fr-FR"/>
              <a:pPr>
                <a:defRPr/>
              </a:pPr>
              <a:t>‹#›</a:t>
            </a:fld>
            <a:endParaRPr lang="fr-F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7891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fr-FR" smtClean="0"/>
          </a:p>
        </p:txBody>
      </p:sp>
      <p:sp>
        <p:nvSpPr>
          <p:cNvPr id="37892" name="Espace réservé du numéro de diapositive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0C825398-62AE-4015-9226-A39AFAAE5298}" type="slidenum">
              <a:rPr lang="fr-FR" smtClean="0">
                <a:latin typeface="Arial" pitchFamily="34" charset="0"/>
                <a:cs typeface="Arial" pitchFamily="34" charset="0"/>
              </a:rPr>
              <a:pPr/>
              <a:t>1</a:t>
            </a:fld>
            <a:endParaRPr lang="fr-FR" smtClean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9939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fr-FR" smtClean="0"/>
          </a:p>
        </p:txBody>
      </p:sp>
      <p:sp>
        <p:nvSpPr>
          <p:cNvPr id="39940" name="Espace réservé du numéro de diapositive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39DBC75E-A5C6-40CC-AA3C-0D4313A10326}" type="slidenum">
              <a:rPr lang="fr-FR" smtClean="0">
                <a:latin typeface="Arial" pitchFamily="34" charset="0"/>
                <a:cs typeface="Arial" pitchFamily="34" charset="0"/>
              </a:rPr>
              <a:pPr/>
              <a:t>3</a:t>
            </a:fld>
            <a:endParaRPr lang="fr-FR" smtClean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9939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fr-FR" smtClean="0"/>
          </a:p>
        </p:txBody>
      </p:sp>
      <p:sp>
        <p:nvSpPr>
          <p:cNvPr id="39940" name="Espace réservé du numéro de diapositive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39DBC75E-A5C6-40CC-AA3C-0D4313A10326}" type="slidenum">
              <a:rPr lang="fr-FR" smtClean="0">
                <a:latin typeface="Arial" pitchFamily="34" charset="0"/>
                <a:cs typeface="Arial" pitchFamily="34" charset="0"/>
              </a:rPr>
              <a:pPr/>
              <a:t>4</a:t>
            </a:fld>
            <a:endParaRPr lang="fr-FR" smtClean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9939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fr-FR" smtClean="0"/>
          </a:p>
        </p:txBody>
      </p:sp>
      <p:sp>
        <p:nvSpPr>
          <p:cNvPr id="39940" name="Espace réservé du numéro de diapositive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3D3D53F5-7718-4BF5-B035-052F12BF2C4C}" type="slidenum">
              <a:rPr lang="fr-FR" smtClean="0">
                <a:latin typeface="Arial" pitchFamily="34" charset="0"/>
                <a:cs typeface="Arial" pitchFamily="34" charset="0"/>
              </a:rPr>
              <a:pPr/>
              <a:t>9</a:t>
            </a:fld>
            <a:endParaRPr lang="fr-FR" smtClean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Intérieu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fr-FR" dirty="0" smtClean="0"/>
              <a:t>Cliquez pour modifier le style du titr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érieur_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835696" y="1556792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8" name="Titre 1"/>
          <p:cNvSpPr>
            <a:spLocks noGrp="1"/>
          </p:cNvSpPr>
          <p:nvPr>
            <p:ph type="title"/>
          </p:nvPr>
        </p:nvSpPr>
        <p:spPr>
          <a:xfrm>
            <a:off x="0" y="0"/>
            <a:ext cx="5868144" cy="1052736"/>
          </a:xfrm>
        </p:spPr>
        <p:txBody>
          <a:bodyPr/>
          <a:lstStyle/>
          <a:p>
            <a:r>
              <a:rPr lang="fr-FR" dirty="0" smtClean="0"/>
              <a:t>Cliquez pour modifier le style du titre</a:t>
            </a:r>
            <a:endParaRPr lang="fr-FR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.jpeg"/></Relationships>
</file>

<file path=ppt/slideMasters/_rels/slideMaster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theme" Target="../theme/theme10.xml"/></Relationships>
</file>

<file path=ppt/slideMasters/_rels/slideMaster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theme" Target="../theme/theme11.xml"/></Relationships>
</file>

<file path=ppt/slideMasters/_rels/slideMaster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theme" Target="../theme/theme12.xml"/></Relationships>
</file>

<file path=ppt/slideMasters/_rels/slideMaster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theme" Target="../theme/theme13.xml"/></Relationships>
</file>

<file path=ppt/slideMasters/_rels/slideMaster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theme" Target="../theme/theme14.xml"/></Relationships>
</file>

<file path=ppt/slideMasters/_rels/slideMaster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theme" Target="../theme/theme15.xml"/></Relationships>
</file>

<file path=ppt/slideMasters/_rels/slideMaster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theme" Target="../theme/theme16.xml"/></Relationships>
</file>

<file path=ppt/slideMasters/_rels/slideMaster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theme" Target="../theme/theme17.xml"/></Relationships>
</file>

<file path=ppt/slideMasters/_rels/slideMaster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theme" Target="../theme/theme18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Image 6" descr="INTER-general.jpg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147" name="Espace réservé du titre 1"/>
          <p:cNvSpPr>
            <a:spLocks noGrp="1"/>
          </p:cNvSpPr>
          <p:nvPr>
            <p:ph type="title"/>
          </p:nvPr>
        </p:nvSpPr>
        <p:spPr bwMode="auto">
          <a:xfrm>
            <a:off x="0" y="0"/>
            <a:ext cx="5867400" cy="1052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 style du titre</a:t>
            </a:r>
          </a:p>
        </p:txBody>
      </p:sp>
      <p:sp>
        <p:nvSpPr>
          <p:cNvPr id="6148" name="Espace réservé du texte 2"/>
          <p:cNvSpPr>
            <a:spLocks noGrp="1"/>
          </p:cNvSpPr>
          <p:nvPr>
            <p:ph type="body" idx="1"/>
          </p:nvPr>
        </p:nvSpPr>
        <p:spPr bwMode="auto">
          <a:xfrm>
            <a:off x="468313" y="1341438"/>
            <a:ext cx="8229600" cy="4525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965" r:id="rId1"/>
    <p:sldLayoutId id="2147484966" r:id="rId2"/>
  </p:sldLayoutIdLst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 kern="1200">
          <a:solidFill>
            <a:srgbClr val="FFFFFF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>
          <a:solidFill>
            <a:srgbClr val="FFFFFF"/>
          </a:solidFill>
          <a:latin typeface="Century Gothic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>
          <a:solidFill>
            <a:srgbClr val="FFFFFF"/>
          </a:solidFill>
          <a:latin typeface="Century Gothic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>
          <a:solidFill>
            <a:srgbClr val="FFFFFF"/>
          </a:solidFill>
          <a:latin typeface="Century Gothic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>
          <a:solidFill>
            <a:srgbClr val="FFFFFF"/>
          </a:solidFill>
          <a:latin typeface="Century Gothic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200">
          <a:solidFill>
            <a:srgbClr val="FFFFFF"/>
          </a:solidFill>
          <a:latin typeface="Century Gothic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200">
          <a:solidFill>
            <a:srgbClr val="FFFFFF"/>
          </a:solidFill>
          <a:latin typeface="Century Gothic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200">
          <a:solidFill>
            <a:srgbClr val="FFFFFF"/>
          </a:solidFill>
          <a:latin typeface="Century Gothic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200">
          <a:solidFill>
            <a:srgbClr val="FFFFFF"/>
          </a:solidFill>
          <a:latin typeface="Century Gothic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Espace réservé du titre 1"/>
          <p:cNvSpPr>
            <a:spLocks noGrp="1"/>
          </p:cNvSpPr>
          <p:nvPr>
            <p:ph type="title"/>
          </p:nvPr>
        </p:nvSpPr>
        <p:spPr bwMode="auto">
          <a:xfrm>
            <a:off x="0" y="0"/>
            <a:ext cx="5867400" cy="1052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 style du titre</a:t>
            </a:r>
          </a:p>
        </p:txBody>
      </p:sp>
      <p:sp>
        <p:nvSpPr>
          <p:cNvPr id="15363" name="Espace réservé du texte 2"/>
          <p:cNvSpPr>
            <a:spLocks noGrp="1"/>
          </p:cNvSpPr>
          <p:nvPr>
            <p:ph type="body" idx="1"/>
          </p:nvPr>
        </p:nvSpPr>
        <p:spPr bwMode="auto">
          <a:xfrm>
            <a:off x="468313" y="1341438"/>
            <a:ext cx="8229600" cy="4525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</a:p>
        </p:txBody>
      </p:sp>
      <p:pic>
        <p:nvPicPr>
          <p:cNvPr id="15364" name="Image 5" descr="Cuir-Suite.jp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 kern="1200">
          <a:solidFill>
            <a:srgbClr val="FFFFFF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>
          <a:solidFill>
            <a:srgbClr val="FFFFFF"/>
          </a:solidFill>
          <a:latin typeface="Century Gothic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>
          <a:solidFill>
            <a:srgbClr val="FFFFFF"/>
          </a:solidFill>
          <a:latin typeface="Century Gothic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>
          <a:solidFill>
            <a:srgbClr val="FFFFFF"/>
          </a:solidFill>
          <a:latin typeface="Century Gothic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>
          <a:solidFill>
            <a:srgbClr val="FFFFFF"/>
          </a:solidFill>
          <a:latin typeface="Century Gothic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200">
          <a:solidFill>
            <a:srgbClr val="FFFFFF"/>
          </a:solidFill>
          <a:latin typeface="Century Gothic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200">
          <a:solidFill>
            <a:srgbClr val="FFFFFF"/>
          </a:solidFill>
          <a:latin typeface="Century Gothic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200">
          <a:solidFill>
            <a:srgbClr val="FFFFFF"/>
          </a:solidFill>
          <a:latin typeface="Century Gothic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200">
          <a:solidFill>
            <a:srgbClr val="FFFFFF"/>
          </a:solidFill>
          <a:latin typeface="Century Gothic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Espace réservé du titre 1"/>
          <p:cNvSpPr>
            <a:spLocks noGrp="1"/>
          </p:cNvSpPr>
          <p:nvPr>
            <p:ph type="title"/>
          </p:nvPr>
        </p:nvSpPr>
        <p:spPr bwMode="auto">
          <a:xfrm>
            <a:off x="539750" y="4005263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 style du titre</a:t>
            </a:r>
          </a:p>
        </p:txBody>
      </p:sp>
      <p:pic>
        <p:nvPicPr>
          <p:cNvPr id="16387" name="Image 3" descr="OffShoring-Acceuil.jp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hf hdr="0" ftr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entury Gothic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entury Gothic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entury Gothic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entury Gothic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entury Gothic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entury Gothic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entury Gothic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entury Gothic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Espace réservé du titre 1"/>
          <p:cNvSpPr>
            <a:spLocks noGrp="1"/>
          </p:cNvSpPr>
          <p:nvPr>
            <p:ph type="title"/>
          </p:nvPr>
        </p:nvSpPr>
        <p:spPr bwMode="auto">
          <a:xfrm>
            <a:off x="0" y="0"/>
            <a:ext cx="5867400" cy="1052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 style du titre</a:t>
            </a:r>
          </a:p>
        </p:txBody>
      </p:sp>
      <p:sp>
        <p:nvSpPr>
          <p:cNvPr id="17411" name="Espace réservé du texte 2"/>
          <p:cNvSpPr>
            <a:spLocks noGrp="1"/>
          </p:cNvSpPr>
          <p:nvPr>
            <p:ph type="body" idx="1"/>
          </p:nvPr>
        </p:nvSpPr>
        <p:spPr bwMode="auto">
          <a:xfrm>
            <a:off x="468313" y="1341438"/>
            <a:ext cx="8229600" cy="4525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</a:p>
        </p:txBody>
      </p:sp>
      <p:pic>
        <p:nvPicPr>
          <p:cNvPr id="17412" name="Image 4" descr="OffShoring-Suite.jp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 kern="1200">
          <a:solidFill>
            <a:srgbClr val="FFFFFF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>
          <a:solidFill>
            <a:srgbClr val="FFFFFF"/>
          </a:solidFill>
          <a:latin typeface="Century Gothic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>
          <a:solidFill>
            <a:srgbClr val="FFFFFF"/>
          </a:solidFill>
          <a:latin typeface="Century Gothic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>
          <a:solidFill>
            <a:srgbClr val="FFFFFF"/>
          </a:solidFill>
          <a:latin typeface="Century Gothic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>
          <a:solidFill>
            <a:srgbClr val="FFFFFF"/>
          </a:solidFill>
          <a:latin typeface="Century Gothic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200">
          <a:solidFill>
            <a:srgbClr val="FFFFFF"/>
          </a:solidFill>
          <a:latin typeface="Century Gothic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200">
          <a:solidFill>
            <a:srgbClr val="FFFFFF"/>
          </a:solidFill>
          <a:latin typeface="Century Gothic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200">
          <a:solidFill>
            <a:srgbClr val="FFFFFF"/>
          </a:solidFill>
          <a:latin typeface="Century Gothic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200">
          <a:solidFill>
            <a:srgbClr val="FFFFFF"/>
          </a:solidFill>
          <a:latin typeface="Century Gothic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Espace réservé du titre 1"/>
          <p:cNvSpPr>
            <a:spLocks noGrp="1"/>
          </p:cNvSpPr>
          <p:nvPr>
            <p:ph type="title"/>
          </p:nvPr>
        </p:nvSpPr>
        <p:spPr bwMode="auto">
          <a:xfrm>
            <a:off x="539750" y="4005263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 style du titre</a:t>
            </a:r>
          </a:p>
        </p:txBody>
      </p:sp>
      <p:pic>
        <p:nvPicPr>
          <p:cNvPr id="18435" name="Image 4" descr="Plasturgie-Acceuil.jp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hf hdr="0" ftr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entury Gothic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entury Gothic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entury Gothic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entury Gothic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entury Gothic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entury Gothic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entury Gothic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entury Gothic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Espace réservé du titre 1"/>
          <p:cNvSpPr>
            <a:spLocks noGrp="1"/>
          </p:cNvSpPr>
          <p:nvPr>
            <p:ph type="title"/>
          </p:nvPr>
        </p:nvSpPr>
        <p:spPr bwMode="auto">
          <a:xfrm>
            <a:off x="0" y="0"/>
            <a:ext cx="5867400" cy="1052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 style du titre</a:t>
            </a:r>
          </a:p>
        </p:txBody>
      </p:sp>
      <p:sp>
        <p:nvSpPr>
          <p:cNvPr id="19459" name="Espace réservé du texte 2"/>
          <p:cNvSpPr>
            <a:spLocks noGrp="1"/>
          </p:cNvSpPr>
          <p:nvPr>
            <p:ph type="body" idx="1"/>
          </p:nvPr>
        </p:nvSpPr>
        <p:spPr bwMode="auto">
          <a:xfrm>
            <a:off x="468313" y="1341438"/>
            <a:ext cx="8229600" cy="4525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</a:p>
        </p:txBody>
      </p:sp>
      <p:pic>
        <p:nvPicPr>
          <p:cNvPr id="19460" name="Image 5" descr="Plasturgie-Suite.jp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 kern="1200">
          <a:solidFill>
            <a:srgbClr val="FFFFFF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>
          <a:solidFill>
            <a:srgbClr val="FFFFFF"/>
          </a:solidFill>
          <a:latin typeface="Century Gothic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>
          <a:solidFill>
            <a:srgbClr val="FFFFFF"/>
          </a:solidFill>
          <a:latin typeface="Century Gothic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>
          <a:solidFill>
            <a:srgbClr val="FFFFFF"/>
          </a:solidFill>
          <a:latin typeface="Century Gothic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>
          <a:solidFill>
            <a:srgbClr val="FFFFFF"/>
          </a:solidFill>
          <a:latin typeface="Century Gothic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200">
          <a:solidFill>
            <a:srgbClr val="FFFFFF"/>
          </a:solidFill>
          <a:latin typeface="Century Gothic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200">
          <a:solidFill>
            <a:srgbClr val="FFFFFF"/>
          </a:solidFill>
          <a:latin typeface="Century Gothic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200">
          <a:solidFill>
            <a:srgbClr val="FFFFFF"/>
          </a:solidFill>
          <a:latin typeface="Century Gothic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200">
          <a:solidFill>
            <a:srgbClr val="FFFFFF"/>
          </a:solidFill>
          <a:latin typeface="Century Gothic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Espace réservé du titre 1"/>
          <p:cNvSpPr>
            <a:spLocks noGrp="1"/>
          </p:cNvSpPr>
          <p:nvPr>
            <p:ph type="title"/>
          </p:nvPr>
        </p:nvSpPr>
        <p:spPr bwMode="auto">
          <a:xfrm>
            <a:off x="539750" y="4005263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 style du titre</a:t>
            </a:r>
          </a:p>
        </p:txBody>
      </p:sp>
      <p:pic>
        <p:nvPicPr>
          <p:cNvPr id="20483" name="Image 3" descr="Textile-Acceuil.jp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hf hdr="0" ftr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entury Gothic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entury Gothic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entury Gothic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entury Gothic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entury Gothic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entury Gothic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entury Gothic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entury Gothic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Espace réservé du titre 1"/>
          <p:cNvSpPr>
            <a:spLocks noGrp="1"/>
          </p:cNvSpPr>
          <p:nvPr>
            <p:ph type="title"/>
          </p:nvPr>
        </p:nvSpPr>
        <p:spPr bwMode="auto">
          <a:xfrm>
            <a:off x="0" y="0"/>
            <a:ext cx="5867400" cy="1052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 style du titre</a:t>
            </a:r>
          </a:p>
        </p:txBody>
      </p:sp>
      <p:sp>
        <p:nvSpPr>
          <p:cNvPr id="21507" name="Espace réservé du texte 2"/>
          <p:cNvSpPr>
            <a:spLocks noGrp="1"/>
          </p:cNvSpPr>
          <p:nvPr>
            <p:ph type="body" idx="1"/>
          </p:nvPr>
        </p:nvSpPr>
        <p:spPr bwMode="auto">
          <a:xfrm>
            <a:off x="468313" y="1341438"/>
            <a:ext cx="8229600" cy="4525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</a:p>
        </p:txBody>
      </p:sp>
      <p:pic>
        <p:nvPicPr>
          <p:cNvPr id="21508" name="Image 4" descr="Textile-Suite.jp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 kern="1200">
          <a:solidFill>
            <a:srgbClr val="FFFFFF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>
          <a:solidFill>
            <a:srgbClr val="FFFFFF"/>
          </a:solidFill>
          <a:latin typeface="Century Gothic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>
          <a:solidFill>
            <a:srgbClr val="FFFFFF"/>
          </a:solidFill>
          <a:latin typeface="Century Gothic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>
          <a:solidFill>
            <a:srgbClr val="FFFFFF"/>
          </a:solidFill>
          <a:latin typeface="Century Gothic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>
          <a:solidFill>
            <a:srgbClr val="FFFFFF"/>
          </a:solidFill>
          <a:latin typeface="Century Gothic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200">
          <a:solidFill>
            <a:srgbClr val="FFFFFF"/>
          </a:solidFill>
          <a:latin typeface="Century Gothic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200">
          <a:solidFill>
            <a:srgbClr val="FFFFFF"/>
          </a:solidFill>
          <a:latin typeface="Century Gothic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200">
          <a:solidFill>
            <a:srgbClr val="FFFFFF"/>
          </a:solidFill>
          <a:latin typeface="Century Gothic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200">
          <a:solidFill>
            <a:srgbClr val="FFFFFF"/>
          </a:solidFill>
          <a:latin typeface="Century Gothic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530" name="Image 6" descr="FOND-ACCEIUL.jp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2531" name="Espace réservé du titre 1"/>
          <p:cNvSpPr>
            <a:spLocks noGrp="1"/>
          </p:cNvSpPr>
          <p:nvPr>
            <p:ph type="title"/>
          </p:nvPr>
        </p:nvSpPr>
        <p:spPr bwMode="auto">
          <a:xfrm>
            <a:off x="539750" y="4005263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 style du titr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entury Gothic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entury Gothic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entury Gothic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entury Gothic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entury Gothic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entury Gothic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entury Gothic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entury Gothic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Espace réservé du titre 1"/>
          <p:cNvSpPr>
            <a:spLocks noGrp="1"/>
          </p:cNvSpPr>
          <p:nvPr>
            <p:ph type="title"/>
          </p:nvPr>
        </p:nvSpPr>
        <p:spPr bwMode="auto">
          <a:xfrm>
            <a:off x="0" y="0"/>
            <a:ext cx="5867400" cy="1052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 style du titre</a:t>
            </a:r>
          </a:p>
        </p:txBody>
      </p:sp>
      <p:sp>
        <p:nvSpPr>
          <p:cNvPr id="23555" name="Espace réservé du texte 2"/>
          <p:cNvSpPr>
            <a:spLocks noGrp="1"/>
          </p:cNvSpPr>
          <p:nvPr>
            <p:ph type="body" idx="1"/>
          </p:nvPr>
        </p:nvSpPr>
        <p:spPr bwMode="auto">
          <a:xfrm>
            <a:off x="468313" y="1341438"/>
            <a:ext cx="8229600" cy="4525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</a:p>
        </p:txBody>
      </p:sp>
      <p:pic>
        <p:nvPicPr>
          <p:cNvPr id="23556" name="Image 4" descr="Textile-Suite.jp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 kern="1200">
          <a:solidFill>
            <a:srgbClr val="FFFFFF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>
          <a:solidFill>
            <a:srgbClr val="FFFFFF"/>
          </a:solidFill>
          <a:latin typeface="Century Gothic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>
          <a:solidFill>
            <a:srgbClr val="FFFFFF"/>
          </a:solidFill>
          <a:latin typeface="Century Gothic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>
          <a:solidFill>
            <a:srgbClr val="FFFFFF"/>
          </a:solidFill>
          <a:latin typeface="Century Gothic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>
          <a:solidFill>
            <a:srgbClr val="FFFFFF"/>
          </a:solidFill>
          <a:latin typeface="Century Gothic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200">
          <a:solidFill>
            <a:srgbClr val="FFFFFF"/>
          </a:solidFill>
          <a:latin typeface="Century Gothic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200">
          <a:solidFill>
            <a:srgbClr val="FFFFFF"/>
          </a:solidFill>
          <a:latin typeface="Century Gothic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200">
          <a:solidFill>
            <a:srgbClr val="FFFFFF"/>
          </a:solidFill>
          <a:latin typeface="Century Gothic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200">
          <a:solidFill>
            <a:srgbClr val="FFFFFF"/>
          </a:solidFill>
          <a:latin typeface="Century Gothic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Espace réservé du titre 1"/>
          <p:cNvSpPr>
            <a:spLocks noGrp="1"/>
          </p:cNvSpPr>
          <p:nvPr>
            <p:ph type="title"/>
          </p:nvPr>
        </p:nvSpPr>
        <p:spPr bwMode="auto">
          <a:xfrm>
            <a:off x="539750" y="4005263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 style du titre</a:t>
            </a:r>
          </a:p>
        </p:txBody>
      </p:sp>
      <p:pic>
        <p:nvPicPr>
          <p:cNvPr id="7171" name="Image 3" descr="Mecanique-Acceuil.jp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hf hdr="0" ftr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entury Gothic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entury Gothic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entury Gothic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entury Gothic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entury Gothic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entury Gothic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entury Gothic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entury Gothic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Espace réservé du titre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 style du titre</a:t>
            </a:r>
          </a:p>
        </p:txBody>
      </p:sp>
      <p:sp>
        <p:nvSpPr>
          <p:cNvPr id="8195" name="Espace réservé du texte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BCE9E8F9-AFBA-44C7-BF03-D13016434B3A}" type="slidenum">
              <a:rPr lang="fr-FR"/>
              <a:pPr>
                <a:defRPr/>
              </a:pPr>
              <a:t>‹#›</a:t>
            </a:fld>
            <a:endParaRPr lang="fr-FR"/>
          </a:p>
        </p:txBody>
      </p:sp>
      <p:pic>
        <p:nvPicPr>
          <p:cNvPr id="8199" name="Image 6" descr="INTER MECANO-.jp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hf hdr="0" ftr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entury Gothic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entury Gothic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entury Gothic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entury Gothic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entury Gothic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entury Gothic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entury Gothic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entury Gothic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8" name="Image 6" descr="FOND-ACCEIUL.jp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hf hdr="0" ftr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entury Gothic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entury Gothic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entury Gothic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entury Gothic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entury Gothic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entury Gothic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entury Gothic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entury Gothic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Espace réservé du titre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 style du titre</a:t>
            </a:r>
          </a:p>
        </p:txBody>
      </p:sp>
      <p:sp>
        <p:nvSpPr>
          <p:cNvPr id="10243" name="Espace réservé du texte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E8DA5888-B29C-4C0D-B241-9C9305A4FF71}" type="slidenum">
              <a:rPr lang="fr-FR"/>
              <a:pPr>
                <a:defRPr/>
              </a:pPr>
              <a:t>‹#›</a:t>
            </a:fld>
            <a:endParaRPr lang="fr-FR"/>
          </a:p>
        </p:txBody>
      </p:sp>
      <p:pic>
        <p:nvPicPr>
          <p:cNvPr id="10247" name="Image 6" descr="INTER ELECTRIQUE--.jp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hf hdr="0" ftr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entury Gothic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entury Gothic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entury Gothic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entury Gothic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entury Gothic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entury Gothic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entury Gothic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entury Gothic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Espace réservé du titre 1"/>
          <p:cNvSpPr>
            <a:spLocks noGrp="1"/>
          </p:cNvSpPr>
          <p:nvPr>
            <p:ph type="title"/>
          </p:nvPr>
        </p:nvSpPr>
        <p:spPr bwMode="auto">
          <a:xfrm>
            <a:off x="0" y="0"/>
            <a:ext cx="5867400" cy="1052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 style du titre</a:t>
            </a:r>
          </a:p>
        </p:txBody>
      </p:sp>
      <p:sp>
        <p:nvSpPr>
          <p:cNvPr id="11267" name="Espace réservé du texte 2"/>
          <p:cNvSpPr>
            <a:spLocks noGrp="1"/>
          </p:cNvSpPr>
          <p:nvPr>
            <p:ph type="body" idx="1"/>
          </p:nvPr>
        </p:nvSpPr>
        <p:spPr bwMode="auto">
          <a:xfrm>
            <a:off x="468313" y="1341438"/>
            <a:ext cx="8229600" cy="4525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</a:p>
        </p:txBody>
      </p:sp>
      <p:pic>
        <p:nvPicPr>
          <p:cNvPr id="11268" name="Image 4" descr="Aeronotique-Suite.jp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 kern="1200">
          <a:solidFill>
            <a:srgbClr val="FFFFFF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>
          <a:solidFill>
            <a:srgbClr val="FFFFFF"/>
          </a:solidFill>
          <a:latin typeface="Century Gothic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>
          <a:solidFill>
            <a:srgbClr val="FFFFFF"/>
          </a:solidFill>
          <a:latin typeface="Century Gothic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>
          <a:solidFill>
            <a:srgbClr val="FFFFFF"/>
          </a:solidFill>
          <a:latin typeface="Century Gothic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>
          <a:solidFill>
            <a:srgbClr val="FFFFFF"/>
          </a:solidFill>
          <a:latin typeface="Century Gothic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200">
          <a:solidFill>
            <a:srgbClr val="FFFFFF"/>
          </a:solidFill>
          <a:latin typeface="Century Gothic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200">
          <a:solidFill>
            <a:srgbClr val="FFFFFF"/>
          </a:solidFill>
          <a:latin typeface="Century Gothic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200">
          <a:solidFill>
            <a:srgbClr val="FFFFFF"/>
          </a:solidFill>
          <a:latin typeface="Century Gothic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200">
          <a:solidFill>
            <a:srgbClr val="FFFFFF"/>
          </a:solidFill>
          <a:latin typeface="Century Gothic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Espace réservé du titre 1"/>
          <p:cNvSpPr>
            <a:spLocks noGrp="1"/>
          </p:cNvSpPr>
          <p:nvPr>
            <p:ph type="title"/>
          </p:nvPr>
        </p:nvSpPr>
        <p:spPr bwMode="auto">
          <a:xfrm>
            <a:off x="539750" y="4005263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 style du titre</a:t>
            </a:r>
          </a:p>
        </p:txBody>
      </p:sp>
      <p:pic>
        <p:nvPicPr>
          <p:cNvPr id="12291" name="Image 3" descr="Agroalimentaire-Acceuil.jp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hf hdr="0" ftr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entury Gothic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entury Gothic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entury Gothic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entury Gothic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entury Gothic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entury Gothic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entury Gothic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entury Gothic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Espace réservé du titre 1"/>
          <p:cNvSpPr>
            <a:spLocks noGrp="1"/>
          </p:cNvSpPr>
          <p:nvPr>
            <p:ph type="title"/>
          </p:nvPr>
        </p:nvSpPr>
        <p:spPr bwMode="auto">
          <a:xfrm>
            <a:off x="0" y="0"/>
            <a:ext cx="5867400" cy="1052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 style du titre</a:t>
            </a:r>
          </a:p>
        </p:txBody>
      </p:sp>
      <p:sp>
        <p:nvSpPr>
          <p:cNvPr id="13315" name="Espace réservé du texte 2"/>
          <p:cNvSpPr>
            <a:spLocks noGrp="1"/>
          </p:cNvSpPr>
          <p:nvPr>
            <p:ph type="body" idx="1"/>
          </p:nvPr>
        </p:nvSpPr>
        <p:spPr bwMode="auto">
          <a:xfrm>
            <a:off x="468313" y="1341438"/>
            <a:ext cx="8229600" cy="4525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</a:p>
        </p:txBody>
      </p:sp>
      <p:pic>
        <p:nvPicPr>
          <p:cNvPr id="13316" name="Image 4" descr="Agroalimentaire-Suite.jp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 kern="1200">
          <a:solidFill>
            <a:srgbClr val="FFFFFF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>
          <a:solidFill>
            <a:srgbClr val="FFFFFF"/>
          </a:solidFill>
          <a:latin typeface="Century Gothic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>
          <a:solidFill>
            <a:srgbClr val="FFFFFF"/>
          </a:solidFill>
          <a:latin typeface="Century Gothic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>
          <a:solidFill>
            <a:srgbClr val="FFFFFF"/>
          </a:solidFill>
          <a:latin typeface="Century Gothic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>
          <a:solidFill>
            <a:srgbClr val="FFFFFF"/>
          </a:solidFill>
          <a:latin typeface="Century Gothic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200">
          <a:solidFill>
            <a:srgbClr val="FFFFFF"/>
          </a:solidFill>
          <a:latin typeface="Century Gothic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200">
          <a:solidFill>
            <a:srgbClr val="FFFFFF"/>
          </a:solidFill>
          <a:latin typeface="Century Gothic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200">
          <a:solidFill>
            <a:srgbClr val="FFFFFF"/>
          </a:solidFill>
          <a:latin typeface="Century Gothic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200">
          <a:solidFill>
            <a:srgbClr val="FFFFFF"/>
          </a:solidFill>
          <a:latin typeface="Century Gothic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Espace réservé du titre 1"/>
          <p:cNvSpPr>
            <a:spLocks noGrp="1"/>
          </p:cNvSpPr>
          <p:nvPr>
            <p:ph type="title"/>
          </p:nvPr>
        </p:nvSpPr>
        <p:spPr bwMode="auto">
          <a:xfrm>
            <a:off x="539750" y="4005263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 style du titre</a:t>
            </a:r>
          </a:p>
        </p:txBody>
      </p:sp>
      <p:pic>
        <p:nvPicPr>
          <p:cNvPr id="14339" name="Image 4" descr="Cuir-Acceuil.jp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hf hdr="0" ftr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entury Gothic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entury Gothic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entury Gothic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entury Gothic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entury Gothic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entury Gothic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entury Gothic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entury Gothic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9.jpe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chart" Target="../charts/chart2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chart" Target="../charts/chart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notesSlide" Target="../notesSlides/notesSlide3.xml"/><Relationship Id="rId5" Type="http://schemas.openxmlformats.org/officeDocument/2006/relationships/tags" Target="../tags/tag5.xml"/><Relationship Id="rId10" Type="http://schemas.openxmlformats.org/officeDocument/2006/relationships/slideLayout" Target="../slideLayouts/slideLayout1.xml"/><Relationship Id="rId4" Type="http://schemas.openxmlformats.org/officeDocument/2006/relationships/tags" Target="../tags/tag4.xml"/><Relationship Id="rId9" Type="http://schemas.openxmlformats.org/officeDocument/2006/relationships/tags" Target="../tags/tag9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tags" Target="../tags/tag22.xml"/><Relationship Id="rId18" Type="http://schemas.openxmlformats.org/officeDocument/2006/relationships/tags" Target="../tags/tag27.xml"/><Relationship Id="rId3" Type="http://schemas.openxmlformats.org/officeDocument/2006/relationships/tags" Target="../tags/tag12.xml"/><Relationship Id="rId21" Type="http://schemas.openxmlformats.org/officeDocument/2006/relationships/tags" Target="../tags/tag30.xml"/><Relationship Id="rId7" Type="http://schemas.openxmlformats.org/officeDocument/2006/relationships/tags" Target="../tags/tag16.xml"/><Relationship Id="rId12" Type="http://schemas.openxmlformats.org/officeDocument/2006/relationships/tags" Target="../tags/tag21.xml"/><Relationship Id="rId17" Type="http://schemas.openxmlformats.org/officeDocument/2006/relationships/tags" Target="../tags/tag26.xml"/><Relationship Id="rId2" Type="http://schemas.openxmlformats.org/officeDocument/2006/relationships/tags" Target="../tags/tag11.xml"/><Relationship Id="rId16" Type="http://schemas.openxmlformats.org/officeDocument/2006/relationships/tags" Target="../tags/tag25.xml"/><Relationship Id="rId20" Type="http://schemas.openxmlformats.org/officeDocument/2006/relationships/tags" Target="../tags/tag29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tags" Target="../tags/tag20.xml"/><Relationship Id="rId24" Type="http://schemas.openxmlformats.org/officeDocument/2006/relationships/slideLayout" Target="../slideLayouts/slideLayout1.xml"/><Relationship Id="rId5" Type="http://schemas.openxmlformats.org/officeDocument/2006/relationships/tags" Target="../tags/tag14.xml"/><Relationship Id="rId15" Type="http://schemas.openxmlformats.org/officeDocument/2006/relationships/tags" Target="../tags/tag24.xml"/><Relationship Id="rId23" Type="http://schemas.openxmlformats.org/officeDocument/2006/relationships/tags" Target="../tags/tag32.xml"/><Relationship Id="rId10" Type="http://schemas.openxmlformats.org/officeDocument/2006/relationships/tags" Target="../tags/tag19.xml"/><Relationship Id="rId19" Type="http://schemas.openxmlformats.org/officeDocument/2006/relationships/tags" Target="../tags/tag28.xml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4" Type="http://schemas.openxmlformats.org/officeDocument/2006/relationships/tags" Target="../tags/tag23.xml"/><Relationship Id="rId22" Type="http://schemas.openxmlformats.org/officeDocument/2006/relationships/tags" Target="../tags/tag3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ZoneTexte 7"/>
          <p:cNvSpPr txBox="1"/>
          <p:nvPr/>
        </p:nvSpPr>
        <p:spPr>
          <a:xfrm>
            <a:off x="2267744" y="2132856"/>
            <a:ext cx="6119936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>
              <a:defRPr/>
            </a:pPr>
            <a:r>
              <a:rPr lang="fr-FR" sz="4800" b="1" i="1" dirty="0" smtClean="0">
                <a:latin typeface="+mj-lt"/>
              </a:rPr>
              <a:t>NEW </a:t>
            </a:r>
            <a:r>
              <a:rPr lang="fr-FR" sz="4800" b="1" i="1" dirty="0">
                <a:latin typeface="+mj-lt"/>
              </a:rPr>
              <a:t>TUNISIA </a:t>
            </a:r>
          </a:p>
          <a:p>
            <a:pPr algn="r">
              <a:defRPr/>
            </a:pPr>
            <a:r>
              <a:rPr lang="fr-FR" sz="4800" b="1" i="1" dirty="0">
                <a:latin typeface="+mj-lt"/>
              </a:rPr>
              <a:t>NEW OPPORTUNITIES </a:t>
            </a:r>
          </a:p>
        </p:txBody>
      </p:sp>
      <p:sp>
        <p:nvSpPr>
          <p:cNvPr id="9" name="ZoneTexte 8"/>
          <p:cNvSpPr txBox="1"/>
          <p:nvPr/>
        </p:nvSpPr>
        <p:spPr>
          <a:xfrm>
            <a:off x="3779912" y="4653136"/>
            <a:ext cx="4751387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>
              <a:defRPr/>
            </a:pPr>
            <a:r>
              <a:rPr lang="fr-FR" sz="2000" b="1" dirty="0" smtClean="0">
                <a:latin typeface="+mn-lt"/>
              </a:rPr>
              <a:t>Mr Noureddine ZEKRI</a:t>
            </a:r>
          </a:p>
          <a:p>
            <a:pPr algn="r">
              <a:defRPr/>
            </a:pPr>
            <a:r>
              <a:rPr lang="fr-FR" sz="2000" b="1" dirty="0" smtClean="0">
                <a:latin typeface="+mn-lt"/>
              </a:rPr>
              <a:t>Directeur Général de </a:t>
            </a:r>
            <a:r>
              <a:rPr lang="fr-FR" sz="2000" b="1" dirty="0" err="1" smtClean="0">
                <a:latin typeface="+mn-lt"/>
              </a:rPr>
              <a:t>FIPA-Tunisia</a:t>
            </a:r>
            <a:endParaRPr lang="fr-FR" sz="2000" b="1" dirty="0" smtClean="0">
              <a:latin typeface="+mn-lt"/>
            </a:endParaRPr>
          </a:p>
          <a:p>
            <a:pPr algn="r">
              <a:defRPr/>
            </a:pPr>
            <a:r>
              <a:rPr lang="fr-FR" sz="2000" b="1" dirty="0" smtClean="0">
                <a:latin typeface="+mn-lt"/>
              </a:rPr>
              <a:t>Paris, le 6 Décembre 2011 </a:t>
            </a:r>
            <a:endParaRPr lang="fr-FR" sz="2000" b="1" dirty="0">
              <a:latin typeface="+mn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400" b="1" dirty="0" smtClean="0"/>
              <a:t>Les réponses sont déjà données par les faits marquants  de la Tunisie</a:t>
            </a:r>
            <a:r>
              <a:rPr lang="fr-FR" sz="2400" dirty="0" smtClean="0"/>
              <a:t/>
            </a:r>
            <a:br>
              <a:rPr lang="fr-FR" sz="2400" dirty="0" smtClean="0"/>
            </a:br>
            <a:endParaRPr lang="fr-FR" sz="2400" dirty="0"/>
          </a:p>
        </p:txBody>
      </p:sp>
      <p:sp>
        <p:nvSpPr>
          <p:cNvPr id="4" name="Rectangle à coins arrondis 3"/>
          <p:cNvSpPr/>
          <p:nvPr/>
        </p:nvSpPr>
        <p:spPr>
          <a:xfrm>
            <a:off x="251520" y="1268760"/>
            <a:ext cx="8640960" cy="4968552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55600" lvl="0" indent="-355600">
              <a:buFont typeface="Wingdings" pitchFamily="2" charset="2"/>
              <a:buChar char="§"/>
            </a:pPr>
            <a:r>
              <a:rPr lang="fr-FR" b="1" dirty="0" smtClean="0">
                <a:solidFill>
                  <a:schemeClr val="tx1"/>
                </a:solidFill>
              </a:rPr>
              <a:t>Un pays tourné vers la mer le saura toujours, c’est le destin de la géographie. </a:t>
            </a:r>
          </a:p>
          <a:p>
            <a:pPr marL="355600" lvl="0" indent="-355600">
              <a:buFont typeface="Wingdings" pitchFamily="2" charset="2"/>
              <a:buChar char="§"/>
            </a:pPr>
            <a:r>
              <a:rPr lang="fr-FR" b="1" dirty="0" smtClean="0">
                <a:solidFill>
                  <a:schemeClr val="tx1"/>
                </a:solidFill>
              </a:rPr>
              <a:t>Le peuple tunisien a chassé une dictature pour retrouver sa liberté et réconcilier son pays avec les valeurs universelles de Droit</a:t>
            </a:r>
          </a:p>
          <a:p>
            <a:pPr marL="355600" lvl="0" indent="-355600">
              <a:buFont typeface="Wingdings" pitchFamily="2" charset="2"/>
              <a:buChar char="§"/>
            </a:pPr>
            <a:r>
              <a:rPr lang="fr-FR" b="1" dirty="0" smtClean="0">
                <a:solidFill>
                  <a:schemeClr val="tx1"/>
                </a:solidFill>
              </a:rPr>
              <a:t>La société tunisienne a su garder à travers les siècles ses repères : ouverture et modernité</a:t>
            </a:r>
          </a:p>
          <a:p>
            <a:pPr marL="355600" lvl="0" indent="-355600">
              <a:buFont typeface="Wingdings" pitchFamily="2" charset="2"/>
              <a:buChar char="§"/>
            </a:pPr>
            <a:r>
              <a:rPr lang="fr-FR" b="1" dirty="0" smtClean="0">
                <a:solidFill>
                  <a:schemeClr val="tx1"/>
                </a:solidFill>
              </a:rPr>
              <a:t>L’essentiel de nos échanges en commerce et en IDE se font avec des démocraties historiques</a:t>
            </a:r>
          </a:p>
          <a:p>
            <a:pPr marL="355600" lvl="0" indent="-355600">
              <a:buFont typeface="Wingdings" pitchFamily="2" charset="2"/>
              <a:buChar char="§"/>
            </a:pPr>
            <a:r>
              <a:rPr lang="fr-FR" b="1" dirty="0" smtClean="0">
                <a:solidFill>
                  <a:schemeClr val="tx1"/>
                </a:solidFill>
              </a:rPr>
              <a:t>L’adhésion de la Tunisie à un processus démocratique ne peut que renforcer son attractivité et sa visibilité. </a:t>
            </a:r>
          </a:p>
          <a:p>
            <a:pPr marL="355600" lvl="0" indent="-355600">
              <a:buFont typeface="Wingdings" pitchFamily="2" charset="2"/>
              <a:buChar char="§"/>
            </a:pPr>
            <a:r>
              <a:rPr lang="fr-FR" b="1" dirty="0" smtClean="0">
                <a:solidFill>
                  <a:schemeClr val="tx1"/>
                </a:solidFill>
              </a:rPr>
              <a:t>Le processus politique tunisien répond parfaitement aux exigences internationales,  </a:t>
            </a:r>
          </a:p>
          <a:p>
            <a:pPr marL="355600" lvl="0" indent="-355600">
              <a:buFont typeface="Wingdings" pitchFamily="2" charset="2"/>
              <a:buChar char="§"/>
            </a:pPr>
            <a:r>
              <a:rPr lang="fr-FR" b="1" dirty="0" smtClean="0">
                <a:solidFill>
                  <a:schemeClr val="tx1"/>
                </a:solidFill>
              </a:rPr>
              <a:t>La Tunisie sera plus attractive avec plus de transparence et d’incitations en phase avec les enjeux économiques de l’entreprise </a:t>
            </a:r>
          </a:p>
          <a:p>
            <a:pPr marL="355600" indent="-355600" algn="just"/>
            <a:endParaRPr lang="fr-FR" sz="2000" b="1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355600" indent="-355600" algn="just"/>
            <a:r>
              <a:rPr lang="fr-FR" sz="20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ucun exécutif à notre sens ne prendra le risque de naviguer contre le courant de l’histoire d’un pays</a:t>
            </a:r>
            <a:endParaRPr lang="fr-FR" sz="2000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355600" lvl="0" indent="-355600"/>
            <a:endParaRPr lang="fr-FR" b="1" dirty="0" smtClean="0">
              <a:solidFill>
                <a:schemeClr val="tx1"/>
              </a:solidFill>
            </a:endParaRPr>
          </a:p>
          <a:p>
            <a:pPr algn="ctr"/>
            <a:endParaRPr lang="fr-FR" b="1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pied de page 4"/>
          <p:cNvSpPr txBox="1">
            <a:spLocks/>
          </p:cNvSpPr>
          <p:nvPr/>
        </p:nvSpPr>
        <p:spPr>
          <a:xfrm>
            <a:off x="5292080" y="6209928"/>
            <a:ext cx="3851920" cy="648072"/>
          </a:xfrm>
          <a:prstGeom prst="rect">
            <a:avLst/>
          </a:prstGeom>
        </p:spPr>
        <p:txBody>
          <a:bodyPr/>
          <a:lstStyle>
            <a:lvl1pPr>
              <a:defRPr sz="1400" b="1">
                <a:solidFill>
                  <a:srgbClr val="C00000"/>
                </a:solidFill>
              </a:defRPr>
            </a:lvl1pPr>
          </a:lstStyle>
          <a:p>
            <a:pPr marL="0" marR="0" lvl="0" indent="0" algn="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  <a:defRPr/>
            </a:pPr>
            <a:r>
              <a:rPr lang="fr-FR" sz="1600" b="0" dirty="0" smtClean="0">
                <a:solidFill>
                  <a:schemeClr val="tx1"/>
                </a:solidFill>
                <a:latin typeface="+mn-lt"/>
              </a:rPr>
              <a:t>NEW </a:t>
            </a:r>
            <a:r>
              <a:rPr lang="fr-FR" sz="1600" dirty="0" smtClean="0">
                <a:solidFill>
                  <a:schemeClr val="tx1"/>
                </a:solidFill>
                <a:latin typeface="+mn-lt"/>
              </a:rPr>
              <a:t>TUNISIA </a:t>
            </a:r>
          </a:p>
          <a:p>
            <a:pPr marL="0" marR="0" lvl="0" indent="0" algn="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  <a:defRPr/>
            </a:pPr>
            <a:r>
              <a:rPr lang="fr-FR" sz="1600" b="0" dirty="0" smtClean="0">
                <a:solidFill>
                  <a:schemeClr val="tx1"/>
                </a:solidFill>
                <a:latin typeface="+mn-lt"/>
              </a:rPr>
              <a:t>NEW OPPORTUNITIES </a:t>
            </a:r>
            <a:endParaRPr lang="fr-FR" sz="1600" b="0" dirty="0">
              <a:solidFill>
                <a:schemeClr val="tx1"/>
              </a:solidFill>
              <a:latin typeface="+mn-lt"/>
            </a:endParaRPr>
          </a:p>
        </p:txBody>
      </p:sp>
      <p:pic>
        <p:nvPicPr>
          <p:cNvPr id="82946" name="Picture 2"/>
          <p:cNvPicPr>
            <a:picLocks noChangeAspect="1" noChangeArrowheads="1"/>
          </p:cNvPicPr>
          <p:nvPr/>
        </p:nvPicPr>
        <p:blipFill>
          <a:blip r:embed="rId2" cstate="print"/>
          <a:srcRect l="28857" t="15375" r="27781" b="31469"/>
          <a:stretch>
            <a:fillRect/>
          </a:stretch>
        </p:blipFill>
        <p:spPr bwMode="auto">
          <a:xfrm>
            <a:off x="2050006" y="2636912"/>
            <a:ext cx="5114282" cy="32059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Rectangle 11"/>
          <p:cNvSpPr/>
          <p:nvPr/>
        </p:nvSpPr>
        <p:spPr>
          <a:xfrm>
            <a:off x="6948264" y="5373216"/>
            <a:ext cx="41549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b="1" dirty="0" smtClean="0"/>
              <a:t>…</a:t>
            </a:r>
            <a:endParaRPr lang="fr-FR" dirty="0"/>
          </a:p>
        </p:txBody>
      </p:sp>
      <p:sp>
        <p:nvSpPr>
          <p:cNvPr id="6" name="Rectangle 5"/>
          <p:cNvSpPr/>
          <p:nvPr/>
        </p:nvSpPr>
        <p:spPr>
          <a:xfrm>
            <a:off x="755576" y="1628800"/>
            <a:ext cx="7128792" cy="6480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40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erci pour votre attention</a:t>
            </a:r>
            <a:endParaRPr lang="fr-FR" sz="40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188640"/>
            <a:ext cx="4572000" cy="830997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>
              <a:defRPr/>
            </a:pPr>
            <a:r>
              <a:rPr lang="fr-FR" sz="2400" b="1" i="1" dirty="0" smtClean="0">
                <a:solidFill>
                  <a:schemeClr val="tx2"/>
                </a:solidFill>
              </a:rPr>
              <a:t>NEW TUNISIA </a:t>
            </a:r>
          </a:p>
          <a:p>
            <a:pPr algn="r">
              <a:defRPr/>
            </a:pPr>
            <a:r>
              <a:rPr lang="fr-FR" sz="2400" b="1" i="1" dirty="0" smtClean="0">
                <a:solidFill>
                  <a:schemeClr val="tx2"/>
                </a:solidFill>
              </a:rPr>
              <a:t>NEW OPPORTUNITIES </a:t>
            </a:r>
            <a:endParaRPr lang="fr-FR" sz="2400" b="1" i="1" dirty="0">
              <a:solidFill>
                <a:schemeClr val="tx2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b="1" dirty="0" smtClean="0"/>
              <a:t>Bilan à 10 mois …</a:t>
            </a:r>
            <a:endParaRPr lang="fr-FR" b="1" dirty="0"/>
          </a:p>
        </p:txBody>
      </p:sp>
      <p:sp>
        <p:nvSpPr>
          <p:cNvPr id="6" name="Rectangle 5"/>
          <p:cNvSpPr/>
          <p:nvPr/>
        </p:nvSpPr>
        <p:spPr>
          <a:xfrm>
            <a:off x="611560" y="1484784"/>
            <a:ext cx="3672408" cy="720080"/>
          </a:xfrm>
          <a:prstGeom prst="rect">
            <a:avLst/>
          </a:prstGeom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 smtClean="0">
                <a:solidFill>
                  <a:srgbClr val="FFFFFF"/>
                </a:solidFill>
                <a:latin typeface="Century Gothic" pitchFamily="34" charset="0"/>
              </a:rPr>
              <a:t>Baisse  de 21% des IDE </a:t>
            </a:r>
          </a:p>
        </p:txBody>
      </p:sp>
      <p:sp>
        <p:nvSpPr>
          <p:cNvPr id="7" name="Flèche vers le bas 6"/>
          <p:cNvSpPr/>
          <p:nvPr/>
        </p:nvSpPr>
        <p:spPr>
          <a:xfrm>
            <a:off x="-108000" y="1332000"/>
            <a:ext cx="936000" cy="4320480"/>
          </a:xfrm>
          <a:prstGeom prst="downArrow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b="1">
              <a:solidFill>
                <a:srgbClr val="FFFFFF"/>
              </a:solidFill>
              <a:latin typeface="Century Gothic" pitchFamily="34" charset="0"/>
            </a:endParaRPr>
          </a:p>
        </p:txBody>
      </p:sp>
      <p:sp>
        <p:nvSpPr>
          <p:cNvPr id="8" name="Flèche vers le haut 7"/>
          <p:cNvSpPr/>
          <p:nvPr/>
        </p:nvSpPr>
        <p:spPr>
          <a:xfrm>
            <a:off x="4283968" y="1052736"/>
            <a:ext cx="1008112" cy="4320480"/>
          </a:xfrm>
          <a:prstGeom prst="upArrow">
            <a:avLst>
              <a:gd name="adj1" fmla="val 50000"/>
              <a:gd name="adj2" fmla="val 44573"/>
            </a:avLst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" name="Rectangle 8"/>
          <p:cNvSpPr/>
          <p:nvPr/>
        </p:nvSpPr>
        <p:spPr>
          <a:xfrm>
            <a:off x="611560" y="3573016"/>
            <a:ext cx="3600400" cy="720080"/>
          </a:xfrm>
          <a:prstGeom prst="rect">
            <a:avLst/>
          </a:prstGeom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defRPr/>
            </a:pPr>
            <a:r>
              <a:rPr lang="fr-FR" b="1" dirty="0" smtClean="0">
                <a:solidFill>
                  <a:srgbClr val="FFFFFF"/>
                </a:solidFill>
                <a:latin typeface="Century Gothic" pitchFamily="34" charset="0"/>
              </a:rPr>
              <a:t>Abaissement des notes par les agences de Rating</a:t>
            </a:r>
          </a:p>
        </p:txBody>
      </p:sp>
      <p:sp>
        <p:nvSpPr>
          <p:cNvPr id="10" name="Rectangle 9"/>
          <p:cNvSpPr/>
          <p:nvPr/>
        </p:nvSpPr>
        <p:spPr>
          <a:xfrm>
            <a:off x="611560" y="2420888"/>
            <a:ext cx="3672408" cy="936104"/>
          </a:xfrm>
          <a:prstGeom prst="rect">
            <a:avLst/>
          </a:prstGeom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defRPr/>
            </a:pPr>
            <a:r>
              <a:rPr lang="fr-FR" b="1" dirty="0" smtClean="0">
                <a:solidFill>
                  <a:srgbClr val="FFFFFF"/>
                </a:solidFill>
                <a:latin typeface="Century Gothic" pitchFamily="34" charset="0"/>
              </a:rPr>
              <a:t>Arrêt d’activité de 103 entreprises étrangères et perte de 8500 emplois</a:t>
            </a:r>
          </a:p>
        </p:txBody>
      </p:sp>
      <p:sp>
        <p:nvSpPr>
          <p:cNvPr id="11" name="Rectangle 10"/>
          <p:cNvSpPr/>
          <p:nvPr/>
        </p:nvSpPr>
        <p:spPr>
          <a:xfrm>
            <a:off x="611560" y="4437112"/>
            <a:ext cx="3672408" cy="720080"/>
          </a:xfrm>
          <a:prstGeom prst="rect">
            <a:avLst/>
          </a:prstGeom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defRPr/>
            </a:pPr>
            <a:r>
              <a:rPr lang="fr-FR" b="1" dirty="0" smtClean="0">
                <a:solidFill>
                  <a:srgbClr val="FFFFFF"/>
                </a:solidFill>
                <a:latin typeface="Century Gothic" pitchFamily="34" charset="0"/>
              </a:rPr>
              <a:t>Multiplication des revendications sociales</a:t>
            </a:r>
          </a:p>
        </p:txBody>
      </p:sp>
      <p:sp>
        <p:nvSpPr>
          <p:cNvPr id="13" name="Rectangle 12"/>
          <p:cNvSpPr/>
          <p:nvPr/>
        </p:nvSpPr>
        <p:spPr>
          <a:xfrm>
            <a:off x="5076056" y="1556792"/>
            <a:ext cx="3672408" cy="720080"/>
          </a:xfrm>
          <a:prstGeom prst="rect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ct val="50000"/>
              </a:spcBef>
              <a:defRPr/>
            </a:pPr>
            <a:r>
              <a:rPr lang="fr-FR" b="1" dirty="0" smtClean="0">
                <a:solidFill>
                  <a:srgbClr val="FFFFFF"/>
                </a:solidFill>
                <a:latin typeface="Century Gothic" pitchFamily="34" charset="0"/>
              </a:rPr>
              <a:t>Augmentation  de </a:t>
            </a:r>
            <a:r>
              <a:rPr lang="fr-FR" sz="2000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itchFamily="34" charset="0"/>
              </a:rPr>
              <a:t>26,5%</a:t>
            </a:r>
            <a:r>
              <a:rPr lang="fr-FR" dirty="0" smtClean="0"/>
              <a:t> </a:t>
            </a:r>
            <a:r>
              <a:rPr lang="fr-FR" b="1" dirty="0" smtClean="0">
                <a:solidFill>
                  <a:srgbClr val="FFFFFF"/>
                </a:solidFill>
                <a:latin typeface="Century Gothic" pitchFamily="34" charset="0"/>
              </a:rPr>
              <a:t>des IDE dans les services</a:t>
            </a:r>
            <a:endParaRPr lang="fr-FR" b="1" dirty="0">
              <a:solidFill>
                <a:srgbClr val="FFFFFF"/>
              </a:solidFill>
              <a:latin typeface="Century Gothic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5076056" y="2492896"/>
            <a:ext cx="3672408" cy="936104"/>
          </a:xfrm>
          <a:prstGeom prst="rect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ct val="50000"/>
              </a:spcBef>
              <a:defRPr/>
            </a:pPr>
            <a:r>
              <a:rPr lang="fr-FR" b="1" dirty="0" smtClean="0">
                <a:solidFill>
                  <a:srgbClr val="FFFFFF"/>
                </a:solidFill>
                <a:latin typeface="Century Gothic" pitchFamily="34" charset="0"/>
              </a:rPr>
              <a:t>Création  et extension de </a:t>
            </a:r>
            <a:r>
              <a:rPr lang="fr-FR" sz="2000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itchFamily="34" charset="0"/>
              </a:rPr>
              <a:t>252</a:t>
            </a:r>
            <a:r>
              <a:rPr lang="fr-FR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itchFamily="34" charset="0"/>
              </a:rPr>
              <a:t> </a:t>
            </a:r>
            <a:r>
              <a:rPr lang="fr-FR" b="1" dirty="0" smtClean="0">
                <a:solidFill>
                  <a:srgbClr val="FFFFFF"/>
                </a:solidFill>
                <a:latin typeface="Century Gothic" pitchFamily="34" charset="0"/>
              </a:rPr>
              <a:t>entreprises étrangères  et création de </a:t>
            </a:r>
            <a:r>
              <a:rPr lang="fr-FR" sz="2000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itchFamily="34" charset="0"/>
              </a:rPr>
              <a:t>9000</a:t>
            </a:r>
            <a:r>
              <a:rPr lang="fr-FR" b="1" dirty="0" smtClean="0">
                <a:solidFill>
                  <a:srgbClr val="FFFFFF"/>
                </a:solidFill>
                <a:latin typeface="Century Gothic" pitchFamily="34" charset="0"/>
              </a:rPr>
              <a:t> emplois</a:t>
            </a:r>
            <a:endParaRPr lang="fr-FR" b="1" dirty="0">
              <a:solidFill>
                <a:srgbClr val="FFFFFF"/>
              </a:solidFill>
              <a:latin typeface="Century Gothic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5076056" y="3573016"/>
            <a:ext cx="3672408" cy="720080"/>
          </a:xfrm>
          <a:prstGeom prst="rect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ct val="50000"/>
              </a:spcBef>
              <a:defRPr/>
            </a:pPr>
            <a:r>
              <a:rPr lang="fr-FR" b="1" dirty="0" smtClean="0">
                <a:solidFill>
                  <a:srgbClr val="FFFFFF"/>
                </a:solidFill>
                <a:latin typeface="Century Gothic" pitchFamily="34" charset="0"/>
              </a:rPr>
              <a:t>Augmentation des exportations industrielles</a:t>
            </a:r>
          </a:p>
        </p:txBody>
      </p:sp>
      <p:sp>
        <p:nvSpPr>
          <p:cNvPr id="16" name="Rectangle 15"/>
          <p:cNvSpPr/>
          <p:nvPr/>
        </p:nvSpPr>
        <p:spPr>
          <a:xfrm>
            <a:off x="5076056" y="4509120"/>
            <a:ext cx="3672408" cy="720080"/>
          </a:xfrm>
          <a:prstGeom prst="rect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ct val="50000"/>
              </a:spcBef>
              <a:defRPr/>
            </a:pPr>
            <a:r>
              <a:rPr lang="fr-FR" b="1" dirty="0" smtClean="0">
                <a:solidFill>
                  <a:srgbClr val="FFFFFF"/>
                </a:solidFill>
                <a:latin typeface="Century Gothic" pitchFamily="34" charset="0"/>
              </a:rPr>
              <a:t>Multiplication des visites de prospection</a:t>
            </a:r>
          </a:p>
        </p:txBody>
      </p:sp>
      <p:pic>
        <p:nvPicPr>
          <p:cNvPr id="17" name="Picture 2" descr="D:\Communication\Communication 2010\film FIPA\logo\zodiac aerospace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521575" y="5517232"/>
            <a:ext cx="1622425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" name="Picture 3" descr="D:\Communication\Communication 2010\film FIPA\logo\Siemens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860032" y="5661248"/>
            <a:ext cx="1549400" cy="360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" name="Picture 4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588224" y="5589240"/>
            <a:ext cx="771525" cy="414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Rectangle 67"/>
          <p:cNvSpPr/>
          <p:nvPr/>
        </p:nvSpPr>
        <p:spPr>
          <a:xfrm>
            <a:off x="2987824" y="5229200"/>
            <a:ext cx="5688632" cy="9079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0"/>
              </a:spcAft>
              <a:defRPr/>
            </a:pPr>
            <a:r>
              <a:rPr lang="fr-FR" sz="1600" b="1" dirty="0" smtClean="0">
                <a:solidFill>
                  <a:srgbClr val="00467F"/>
                </a:solidFill>
                <a:latin typeface="Century Gothic" pitchFamily="34" charset="0"/>
                <a:cs typeface="Arial" charset="0"/>
              </a:rPr>
              <a:t>Selon le rapport </a:t>
            </a:r>
            <a:r>
              <a:rPr lang="fr-FR" sz="1600" b="1" dirty="0">
                <a:solidFill>
                  <a:srgbClr val="00467F"/>
                </a:solidFill>
                <a:latin typeface="Century Gothic" pitchFamily="34" charset="0"/>
                <a:cs typeface="Arial" charset="0"/>
              </a:rPr>
              <a:t>sur la compétitivité globale </a:t>
            </a:r>
            <a:r>
              <a:rPr lang="fr-FR" sz="1600" b="1" dirty="0" smtClean="0">
                <a:solidFill>
                  <a:srgbClr val="00467F"/>
                </a:solidFill>
                <a:latin typeface="Century Gothic" pitchFamily="34" charset="0"/>
                <a:cs typeface="Arial" charset="0"/>
              </a:rPr>
              <a:t>2011-2012, </a:t>
            </a:r>
          </a:p>
          <a:p>
            <a:pPr algn="just">
              <a:spcAft>
                <a:spcPts val="0"/>
              </a:spcAft>
              <a:defRPr/>
            </a:pPr>
            <a:r>
              <a:rPr lang="fr-FR" sz="1600" b="1" dirty="0" smtClean="0">
                <a:solidFill>
                  <a:srgbClr val="00467F"/>
                </a:solidFill>
                <a:latin typeface="Century Gothic" pitchFamily="34" charset="0"/>
                <a:cs typeface="Arial" charset="0"/>
              </a:rPr>
              <a:t>World </a:t>
            </a:r>
            <a:r>
              <a:rPr lang="fr-FR" sz="1600" b="1" dirty="0" err="1" smtClean="0">
                <a:solidFill>
                  <a:srgbClr val="00467F"/>
                </a:solidFill>
                <a:latin typeface="Century Gothic" pitchFamily="34" charset="0"/>
                <a:cs typeface="Arial" charset="0"/>
              </a:rPr>
              <a:t>Economic</a:t>
            </a:r>
            <a:r>
              <a:rPr lang="fr-FR" sz="1600" b="1" dirty="0" smtClean="0">
                <a:solidFill>
                  <a:srgbClr val="00467F"/>
                </a:solidFill>
                <a:latin typeface="Century Gothic" pitchFamily="34" charset="0"/>
                <a:cs typeface="Arial" charset="0"/>
              </a:rPr>
              <a:t> Forum</a:t>
            </a:r>
            <a:endParaRPr lang="fr-FR" sz="1600" b="1" dirty="0">
              <a:solidFill>
                <a:srgbClr val="00467F"/>
              </a:solidFill>
              <a:latin typeface="Century Gothic" pitchFamily="34" charset="0"/>
              <a:cs typeface="Arial" charset="0"/>
            </a:endParaRPr>
          </a:p>
          <a:p>
            <a:pPr algn="r">
              <a:spcBef>
                <a:spcPct val="50000"/>
              </a:spcBef>
              <a:defRPr/>
            </a:pPr>
            <a:endParaRPr lang="fr-FR" sz="1400" dirty="0">
              <a:solidFill>
                <a:schemeClr val="tx1">
                  <a:lumMod val="50000"/>
                </a:schemeClr>
              </a:solidFill>
              <a:latin typeface="Century Gothic" pitchFamily="34" charset="0"/>
              <a:cs typeface="Arial" charset="0"/>
            </a:endParaRPr>
          </a:p>
        </p:txBody>
      </p:sp>
      <p:sp>
        <p:nvSpPr>
          <p:cNvPr id="69" name="Text Box 526"/>
          <p:cNvSpPr txBox="1">
            <a:spLocks noChangeArrowheads="1"/>
          </p:cNvSpPr>
          <p:nvPr/>
        </p:nvSpPr>
        <p:spPr bwMode="auto">
          <a:xfrm>
            <a:off x="4067944" y="2132856"/>
            <a:ext cx="4392488" cy="648072"/>
          </a:xfrm>
          <a:prstGeom prst="downArrowCallou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algn="ctr">
              <a:lnSpc>
                <a:spcPct val="90000"/>
              </a:lnSpc>
              <a:spcBef>
                <a:spcPct val="50000"/>
              </a:spcBef>
              <a:defRPr/>
            </a:pPr>
            <a:r>
              <a:rPr lang="fr-FR" sz="1600" b="1" dirty="0" smtClean="0">
                <a:solidFill>
                  <a:srgbClr val="FFFFFF"/>
                </a:solidFill>
                <a:latin typeface="Century Gothic" pitchFamily="34" charset="0"/>
              </a:rPr>
              <a:t>Indice de compétitivité globale 2011-2012</a:t>
            </a:r>
            <a:endParaRPr lang="fr-FR" sz="1600" b="1" dirty="0">
              <a:solidFill>
                <a:srgbClr val="FFFFFF"/>
              </a:solidFill>
              <a:latin typeface="Century Gothic" pitchFamily="34" charset="0"/>
            </a:endParaRPr>
          </a:p>
        </p:txBody>
      </p:sp>
      <p:sp>
        <p:nvSpPr>
          <p:cNvPr id="70" name="Text Box 526"/>
          <p:cNvSpPr txBox="1">
            <a:spLocks noChangeArrowheads="1"/>
          </p:cNvSpPr>
          <p:nvPr/>
        </p:nvSpPr>
        <p:spPr bwMode="auto">
          <a:xfrm>
            <a:off x="467544" y="1268760"/>
            <a:ext cx="8064896" cy="720080"/>
          </a:xfrm>
          <a:prstGeom prst="rect">
            <a:avLst/>
          </a:prstGeom>
          <a:solidFill>
            <a:srgbClr val="00467F"/>
          </a:solidFill>
          <a:ln>
            <a:solidFill>
              <a:srgbClr val="FFFFFF"/>
            </a:solidFill>
            <a:headEnd/>
            <a:tailEnd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algn="just">
              <a:lnSpc>
                <a:spcPct val="90000"/>
              </a:lnSpc>
              <a:spcBef>
                <a:spcPct val="50000"/>
              </a:spcBef>
              <a:defRPr/>
            </a:pPr>
            <a:endParaRPr lang="fr-FR" b="1" dirty="0" smtClean="0">
              <a:solidFill>
                <a:srgbClr val="FFFFFF"/>
              </a:solidFill>
              <a:latin typeface="+mj-lt"/>
            </a:endParaRPr>
          </a:p>
          <a:p>
            <a:pPr algn="just">
              <a:lnSpc>
                <a:spcPct val="90000"/>
              </a:lnSpc>
              <a:spcBef>
                <a:spcPct val="50000"/>
              </a:spcBef>
              <a:defRPr/>
            </a:pPr>
            <a:endParaRPr lang="fr-FR" b="1" dirty="0" smtClean="0">
              <a:solidFill>
                <a:srgbClr val="FFFFFF"/>
              </a:solidFill>
              <a:latin typeface="+mj-lt"/>
            </a:endParaRPr>
          </a:p>
          <a:p>
            <a:pPr algn="just">
              <a:lnSpc>
                <a:spcPct val="90000"/>
              </a:lnSpc>
              <a:spcBef>
                <a:spcPct val="50000"/>
              </a:spcBef>
              <a:defRPr/>
            </a:pPr>
            <a:r>
              <a:rPr lang="fr-FR" b="1" dirty="0" smtClean="0">
                <a:solidFill>
                  <a:srgbClr val="FFFFFF"/>
                </a:solidFill>
                <a:latin typeface="+mj-lt"/>
              </a:rPr>
              <a:t>Le pays le plus compétitif en Afrique et dans la rive sud de la Méditerranée</a:t>
            </a:r>
            <a:endParaRPr lang="fr-FR" sz="1600" dirty="0" smtClean="0">
              <a:solidFill>
                <a:srgbClr val="FFFFFF"/>
              </a:solidFill>
              <a:latin typeface="+mj-lt"/>
            </a:endParaRPr>
          </a:p>
          <a:p>
            <a:pPr algn="just">
              <a:lnSpc>
                <a:spcPct val="90000"/>
              </a:lnSpc>
              <a:spcBef>
                <a:spcPct val="50000"/>
              </a:spcBef>
              <a:defRPr/>
            </a:pPr>
            <a:endParaRPr lang="fr-FR" sz="1600" dirty="0" smtClean="0">
              <a:solidFill>
                <a:srgbClr val="FFFFFF"/>
              </a:solidFill>
              <a:latin typeface="+mj-lt"/>
            </a:endParaRPr>
          </a:p>
          <a:p>
            <a:pPr algn="just">
              <a:lnSpc>
                <a:spcPct val="90000"/>
              </a:lnSpc>
              <a:spcBef>
                <a:spcPct val="50000"/>
              </a:spcBef>
              <a:defRPr/>
            </a:pPr>
            <a:endParaRPr lang="en-US" sz="1400" dirty="0" smtClean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77" name="Rectangle 76"/>
          <p:cNvSpPr/>
          <p:nvPr/>
        </p:nvSpPr>
        <p:spPr>
          <a:xfrm>
            <a:off x="0" y="44624"/>
            <a:ext cx="6156176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fr-FR" sz="2800" b="1" dirty="0" smtClean="0">
                <a:solidFill>
                  <a:schemeClr val="tx2"/>
                </a:solidFill>
                <a:latin typeface="+mj-lt"/>
              </a:rPr>
              <a:t>Une compétitivité économique confirmée en 2011 </a:t>
            </a:r>
            <a:endParaRPr lang="fr-FR" sz="2800" b="1" dirty="0">
              <a:solidFill>
                <a:schemeClr val="tx2"/>
              </a:solidFill>
              <a:latin typeface="+mj-lt"/>
            </a:endParaRPr>
          </a:p>
        </p:txBody>
      </p:sp>
      <p:graphicFrame>
        <p:nvGraphicFramePr>
          <p:cNvPr id="49" name="Tableau 48"/>
          <p:cNvGraphicFramePr>
            <a:graphicFrameLocks noGrp="1"/>
          </p:cNvGraphicFramePr>
          <p:nvPr/>
        </p:nvGraphicFramePr>
        <p:xfrm>
          <a:off x="4067944" y="2852936"/>
          <a:ext cx="4392487" cy="1950720"/>
        </p:xfrm>
        <a:graphic>
          <a:graphicData uri="http://schemas.openxmlformats.org/drawingml/2006/table">
            <a:tbl>
              <a:tblPr/>
              <a:tblGrid>
                <a:gridCol w="1046527"/>
                <a:gridCol w="2016829"/>
                <a:gridCol w="1329131"/>
              </a:tblGrid>
              <a:tr h="210059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FR" sz="1600" b="1" dirty="0">
                          <a:latin typeface="+mn-lt"/>
                          <a:ea typeface="Times New Roman"/>
                          <a:cs typeface="Arial"/>
                        </a:rPr>
                        <a:t>Rang</a:t>
                      </a:r>
                      <a:endParaRPr lang="fr-FR" sz="16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FR" sz="1600" b="1" dirty="0">
                          <a:latin typeface="+mn-lt"/>
                          <a:ea typeface="Times New Roman"/>
                          <a:cs typeface="Arial"/>
                        </a:rPr>
                        <a:t>Pays</a:t>
                      </a:r>
                      <a:endParaRPr lang="fr-FR" sz="16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FR" sz="1600" b="1" dirty="0">
                          <a:latin typeface="+mn-lt"/>
                          <a:ea typeface="Times New Roman"/>
                          <a:cs typeface="Arial"/>
                        </a:rPr>
                        <a:t>Score </a:t>
                      </a:r>
                      <a:endParaRPr lang="fr-FR" sz="16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6E6"/>
                    </a:solidFill>
                  </a:tcPr>
                </a:tc>
              </a:tr>
              <a:tr h="210059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FR" sz="1600" dirty="0" smtClean="0">
                          <a:latin typeface="+mn-lt"/>
                          <a:ea typeface="Times New Roman"/>
                          <a:cs typeface="Arial"/>
                        </a:rPr>
                        <a:t>18</a:t>
                      </a:r>
                      <a:endParaRPr lang="fr-FR" sz="16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FR" sz="1600" dirty="0" smtClean="0">
                          <a:latin typeface="+mn-lt"/>
                          <a:ea typeface="Times New Roman"/>
                          <a:cs typeface="Arial"/>
                        </a:rPr>
                        <a:t>France</a:t>
                      </a:r>
                      <a:endParaRPr lang="fr-FR" sz="16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FR" sz="1600" dirty="0" smtClean="0">
                          <a:latin typeface="+mn-lt"/>
                          <a:ea typeface="Times New Roman"/>
                          <a:cs typeface="Arial"/>
                        </a:rPr>
                        <a:t>5,14</a:t>
                      </a:r>
                      <a:endParaRPr lang="fr-FR" sz="16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7702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FR" sz="1600" b="1" dirty="0">
                          <a:latin typeface="+mn-lt"/>
                          <a:ea typeface="Times New Roman"/>
                          <a:cs typeface="Arial"/>
                        </a:rPr>
                        <a:t>40</a:t>
                      </a:r>
                      <a:endParaRPr lang="fr-FR" sz="16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FR" sz="1600" b="1" dirty="0">
                          <a:latin typeface="+mn-lt"/>
                          <a:ea typeface="Times New Roman"/>
                          <a:cs typeface="Arial"/>
                        </a:rPr>
                        <a:t>Tunisie</a:t>
                      </a:r>
                      <a:endParaRPr lang="fr-FR" sz="16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FR" sz="1600" b="1" dirty="0" smtClean="0">
                          <a:latin typeface="+mn-lt"/>
                          <a:ea typeface="Times New Roman"/>
                          <a:cs typeface="Arial"/>
                        </a:rPr>
                        <a:t>4,47</a:t>
                      </a:r>
                      <a:endParaRPr lang="fr-FR" sz="16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0059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FR" sz="1600" dirty="0" smtClean="0">
                          <a:latin typeface="+mn-lt"/>
                          <a:ea typeface="Times New Roman"/>
                          <a:cs typeface="Arial"/>
                        </a:rPr>
                        <a:t>43</a:t>
                      </a:r>
                      <a:endParaRPr lang="fr-FR" sz="16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FR" sz="1600" dirty="0">
                          <a:latin typeface="+mn-lt"/>
                          <a:ea typeface="Times New Roman"/>
                          <a:cs typeface="Arial"/>
                        </a:rPr>
                        <a:t>Italie</a:t>
                      </a:r>
                      <a:endParaRPr lang="fr-FR" sz="16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FR" sz="1600" dirty="0" smtClean="0">
                          <a:latin typeface="+mn-lt"/>
                          <a:ea typeface="Times New Roman"/>
                          <a:cs typeface="Arial"/>
                        </a:rPr>
                        <a:t>4,43</a:t>
                      </a:r>
                      <a:endParaRPr lang="fr-FR" sz="16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0059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FR" sz="1600" dirty="0" smtClean="0">
                          <a:latin typeface="+mn-lt"/>
                          <a:ea typeface="Times New Roman"/>
                          <a:cs typeface="Arial"/>
                        </a:rPr>
                        <a:t>50</a:t>
                      </a:r>
                      <a:endParaRPr lang="fr-FR" sz="16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FR" sz="1600" dirty="0" smtClean="0">
                          <a:latin typeface="+mn-lt"/>
                          <a:ea typeface="Times New Roman"/>
                          <a:cs typeface="Arial"/>
                        </a:rPr>
                        <a:t>Afrique du Sud</a:t>
                      </a:r>
                      <a:endParaRPr lang="fr-FR" sz="16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FR" sz="1600" dirty="0" smtClean="0">
                          <a:latin typeface="+mn-lt"/>
                          <a:ea typeface="Times New Roman"/>
                          <a:cs typeface="Arial"/>
                        </a:rPr>
                        <a:t>4,34</a:t>
                      </a:r>
                      <a:endParaRPr lang="fr-FR" sz="16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0059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FR" sz="1600" dirty="0" smtClean="0">
                          <a:latin typeface="+mn-lt"/>
                          <a:ea typeface="Times New Roman"/>
                          <a:cs typeface="Arial"/>
                        </a:rPr>
                        <a:t>59</a:t>
                      </a:r>
                      <a:endParaRPr lang="fr-FR" sz="16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FR" sz="1600" dirty="0" smtClean="0">
                          <a:latin typeface="+mn-lt"/>
                          <a:ea typeface="Times New Roman"/>
                          <a:cs typeface="Arial"/>
                        </a:rPr>
                        <a:t>Turquie</a:t>
                      </a:r>
                      <a:endParaRPr lang="fr-FR" sz="16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FR" sz="1600" dirty="0" smtClean="0">
                          <a:latin typeface="+mn-lt"/>
                          <a:ea typeface="Times New Roman"/>
                          <a:cs typeface="Arial"/>
                        </a:rPr>
                        <a:t>4,28</a:t>
                      </a:r>
                      <a:endParaRPr lang="fr-FR" sz="16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0059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FR" sz="1600" dirty="0">
                          <a:latin typeface="+mn-lt"/>
                          <a:ea typeface="Times New Roman"/>
                          <a:cs typeface="Arial"/>
                        </a:rPr>
                        <a:t>73</a:t>
                      </a:r>
                      <a:endParaRPr lang="fr-FR" sz="16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FR" sz="1600" dirty="0">
                          <a:latin typeface="+mn-lt"/>
                          <a:ea typeface="Times New Roman"/>
                          <a:cs typeface="Arial"/>
                        </a:rPr>
                        <a:t>Maroc</a:t>
                      </a:r>
                      <a:endParaRPr lang="fr-FR" sz="16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FR" sz="1600" dirty="0" smtClean="0">
                          <a:latin typeface="+mn-lt"/>
                          <a:ea typeface="Times New Roman"/>
                          <a:cs typeface="Arial"/>
                        </a:rPr>
                        <a:t>4,16</a:t>
                      </a:r>
                      <a:endParaRPr lang="fr-FR" sz="16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0059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FR" sz="1600" dirty="0" smtClean="0">
                          <a:latin typeface="+mn-lt"/>
                          <a:ea typeface="Times New Roman"/>
                          <a:cs typeface="Times New Roman"/>
                        </a:rPr>
                        <a:t>94</a:t>
                      </a:r>
                      <a:endParaRPr lang="fr-FR" sz="16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FR" sz="1600" dirty="0" smtClean="0">
                          <a:latin typeface="+mn-lt"/>
                          <a:ea typeface="Times New Roman"/>
                          <a:cs typeface="Times New Roman"/>
                        </a:rPr>
                        <a:t>Egypte</a:t>
                      </a:r>
                      <a:endParaRPr lang="fr-FR" sz="16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FR" sz="1600" dirty="0" smtClean="0">
                          <a:latin typeface="+mn-lt"/>
                          <a:ea typeface="Times New Roman"/>
                          <a:cs typeface="Times New Roman"/>
                        </a:rPr>
                        <a:t>3,88</a:t>
                      </a:r>
                      <a:endParaRPr lang="fr-FR" sz="16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9" name="Rectangle 8"/>
          <p:cNvSpPr/>
          <p:nvPr/>
        </p:nvSpPr>
        <p:spPr>
          <a:xfrm>
            <a:off x="467544" y="3356992"/>
            <a:ext cx="3312368" cy="590931"/>
          </a:xfrm>
          <a:prstGeom prst="rect">
            <a:avLst/>
          </a:prstGeom>
          <a:solidFill>
            <a:srgbClr val="00467F"/>
          </a:solidFill>
        </p:spPr>
        <p:txBody>
          <a:bodyPr wrap="square">
            <a:spAutoFit/>
          </a:bodyPr>
          <a:lstStyle/>
          <a:p>
            <a:pPr algn="just">
              <a:lnSpc>
                <a:spcPct val="90000"/>
              </a:lnSpc>
              <a:spcBef>
                <a:spcPct val="50000"/>
              </a:spcBef>
              <a:defRPr/>
            </a:pPr>
            <a:r>
              <a:rPr lang="fr-FR" b="1" dirty="0" smtClean="0">
                <a:solidFill>
                  <a:schemeClr val="tx2"/>
                </a:solidFill>
              </a:rPr>
              <a:t>1</a:t>
            </a:r>
            <a:r>
              <a:rPr lang="fr-FR" b="1" baseline="30000" dirty="0" smtClean="0">
                <a:solidFill>
                  <a:schemeClr val="tx2"/>
                </a:solidFill>
              </a:rPr>
              <a:t>ER</a:t>
            </a:r>
            <a:r>
              <a:rPr lang="fr-FR" b="1" dirty="0" smtClean="0">
                <a:solidFill>
                  <a:schemeClr val="tx2"/>
                </a:solidFill>
              </a:rPr>
              <a:t> pour l’impact des lois sur l’IDE</a:t>
            </a:r>
          </a:p>
        </p:txBody>
      </p:sp>
      <p:sp>
        <p:nvSpPr>
          <p:cNvPr id="11" name="Text Box 526"/>
          <p:cNvSpPr txBox="1">
            <a:spLocks noChangeArrowheads="1"/>
          </p:cNvSpPr>
          <p:nvPr/>
        </p:nvSpPr>
        <p:spPr bwMode="auto">
          <a:xfrm>
            <a:off x="467544" y="2348880"/>
            <a:ext cx="3312368" cy="648072"/>
          </a:xfrm>
          <a:prstGeom prst="rect">
            <a:avLst/>
          </a:prstGeom>
          <a:solidFill>
            <a:srgbClr val="00467F"/>
          </a:solidFill>
          <a:ln>
            <a:solidFill>
              <a:srgbClr val="FFFFFF"/>
            </a:solidFill>
            <a:headEnd/>
            <a:tailEnd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algn="just">
              <a:lnSpc>
                <a:spcPct val="90000"/>
              </a:lnSpc>
              <a:spcBef>
                <a:spcPct val="50000"/>
              </a:spcBef>
              <a:defRPr/>
            </a:pPr>
            <a:endParaRPr lang="fr-FR" b="1" dirty="0" smtClean="0">
              <a:solidFill>
                <a:srgbClr val="FFFFFF"/>
              </a:solidFill>
              <a:latin typeface="+mj-lt"/>
            </a:endParaRPr>
          </a:p>
          <a:p>
            <a:pPr algn="just">
              <a:lnSpc>
                <a:spcPct val="90000"/>
              </a:lnSpc>
              <a:spcBef>
                <a:spcPct val="50000"/>
              </a:spcBef>
              <a:defRPr/>
            </a:pPr>
            <a:r>
              <a:rPr lang="fr-FR" b="1" dirty="0" smtClean="0">
                <a:solidFill>
                  <a:schemeClr val="tx2"/>
                </a:solidFill>
                <a:latin typeface="+mj-lt"/>
              </a:rPr>
              <a:t>1</a:t>
            </a:r>
            <a:r>
              <a:rPr lang="fr-FR" b="1" baseline="30000" dirty="0" smtClean="0">
                <a:solidFill>
                  <a:schemeClr val="tx2"/>
                </a:solidFill>
                <a:latin typeface="+mj-lt"/>
              </a:rPr>
              <a:t>er</a:t>
            </a:r>
            <a:r>
              <a:rPr lang="fr-FR" b="1" dirty="0" smtClean="0">
                <a:solidFill>
                  <a:schemeClr val="tx2"/>
                </a:solidFill>
                <a:latin typeface="+mj-lt"/>
              </a:rPr>
              <a:t> exportateur industriel vers l’UE</a:t>
            </a:r>
            <a:endParaRPr lang="fr-FR" sz="1600" dirty="0" smtClean="0">
              <a:solidFill>
                <a:srgbClr val="FFFFFF"/>
              </a:solidFill>
              <a:latin typeface="+mj-lt"/>
            </a:endParaRPr>
          </a:p>
          <a:p>
            <a:pPr algn="just">
              <a:lnSpc>
                <a:spcPct val="90000"/>
              </a:lnSpc>
              <a:spcBef>
                <a:spcPct val="50000"/>
              </a:spcBef>
              <a:defRPr/>
            </a:pPr>
            <a:endParaRPr lang="en-US" sz="1400" dirty="0" smtClean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467544" y="4365104"/>
            <a:ext cx="3312368" cy="590931"/>
          </a:xfrm>
          <a:prstGeom prst="rect">
            <a:avLst/>
          </a:prstGeom>
          <a:solidFill>
            <a:srgbClr val="00467F"/>
          </a:solidFill>
        </p:spPr>
        <p:txBody>
          <a:bodyPr wrap="square">
            <a:spAutoFit/>
          </a:bodyPr>
          <a:lstStyle/>
          <a:p>
            <a:pPr algn="just">
              <a:lnSpc>
                <a:spcPct val="90000"/>
              </a:lnSpc>
              <a:spcBef>
                <a:spcPct val="50000"/>
              </a:spcBef>
              <a:defRPr/>
            </a:pPr>
            <a:r>
              <a:rPr lang="fr-FR" b="1" dirty="0" smtClean="0">
                <a:solidFill>
                  <a:schemeClr val="tx2"/>
                </a:solidFill>
              </a:rPr>
              <a:t>1</a:t>
            </a:r>
            <a:r>
              <a:rPr lang="fr-FR" b="1" baseline="30000" dirty="0" smtClean="0">
                <a:solidFill>
                  <a:schemeClr val="tx2"/>
                </a:solidFill>
              </a:rPr>
              <a:t>ER</a:t>
            </a:r>
            <a:r>
              <a:rPr lang="fr-FR" b="1" dirty="0" smtClean="0">
                <a:solidFill>
                  <a:schemeClr val="tx2"/>
                </a:solidFill>
              </a:rPr>
              <a:t> pour sa capacité d’innovation</a:t>
            </a:r>
          </a:p>
        </p:txBody>
      </p:sp>
      <p:sp>
        <p:nvSpPr>
          <p:cNvPr id="13" name="Espace réservé du pied de page 4"/>
          <p:cNvSpPr txBox="1">
            <a:spLocks/>
          </p:cNvSpPr>
          <p:nvPr/>
        </p:nvSpPr>
        <p:spPr>
          <a:xfrm>
            <a:off x="5292080" y="6209928"/>
            <a:ext cx="3851920" cy="648072"/>
          </a:xfrm>
          <a:prstGeom prst="rect">
            <a:avLst/>
          </a:prstGeom>
        </p:spPr>
        <p:txBody>
          <a:bodyPr/>
          <a:lstStyle>
            <a:lvl1pPr>
              <a:defRPr sz="1400" b="1">
                <a:solidFill>
                  <a:srgbClr val="C00000"/>
                </a:solidFill>
              </a:defRPr>
            </a:lvl1pPr>
          </a:lstStyle>
          <a:p>
            <a:pPr marL="0" marR="0" lvl="0" indent="0" algn="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  <a:defRPr/>
            </a:pPr>
            <a:r>
              <a:rPr lang="fr-FR" sz="1600" b="0" dirty="0" smtClean="0">
                <a:solidFill>
                  <a:schemeClr val="tx1"/>
                </a:solidFill>
                <a:latin typeface="+mn-lt"/>
              </a:rPr>
              <a:t>NEW </a:t>
            </a:r>
            <a:r>
              <a:rPr lang="fr-FR" sz="1600" dirty="0" smtClean="0">
                <a:solidFill>
                  <a:schemeClr val="tx1"/>
                </a:solidFill>
                <a:latin typeface="+mn-lt"/>
              </a:rPr>
              <a:t>TUNISIA </a:t>
            </a:r>
          </a:p>
          <a:p>
            <a:pPr marL="0" marR="0" lvl="0" indent="0" algn="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  <a:defRPr/>
            </a:pPr>
            <a:r>
              <a:rPr lang="fr-FR" sz="1600" b="0" dirty="0" smtClean="0">
                <a:solidFill>
                  <a:schemeClr val="tx1"/>
                </a:solidFill>
                <a:latin typeface="+mn-lt"/>
              </a:rPr>
              <a:t>NEW OPPORTUNITIES </a:t>
            </a:r>
            <a:endParaRPr lang="fr-FR" sz="1600" b="0" dirty="0">
              <a:solidFill>
                <a:schemeClr val="tx1"/>
              </a:solidFill>
              <a:latin typeface="+mn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e 66"/>
          <p:cNvGrpSpPr>
            <a:grpSpLocks/>
          </p:cNvGrpSpPr>
          <p:nvPr/>
        </p:nvGrpSpPr>
        <p:grpSpPr bwMode="auto">
          <a:xfrm>
            <a:off x="4211960" y="2276872"/>
            <a:ext cx="4248433" cy="2160147"/>
            <a:chOff x="4171047" y="2204913"/>
            <a:chExt cx="3132186" cy="1483576"/>
          </a:xfrm>
        </p:grpSpPr>
        <p:graphicFrame>
          <p:nvGraphicFramePr>
            <p:cNvPr id="47" name="Object 29"/>
            <p:cNvGraphicFramePr>
              <a:graphicFrameLocks/>
            </p:cNvGraphicFramePr>
            <p:nvPr>
              <p:custDataLst>
                <p:tags r:id="rId1"/>
              </p:custDataLst>
            </p:nvPr>
          </p:nvGraphicFramePr>
          <p:xfrm>
            <a:off x="4171047" y="2204913"/>
            <a:ext cx="3132186" cy="1483576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2"/>
            </a:graphicData>
          </a:graphic>
        </p:graphicFrame>
        <p:sp>
          <p:nvSpPr>
            <p:cNvPr id="29" name="Rectangle 30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5445168" y="2501609"/>
              <a:ext cx="183555" cy="14619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19050" tIns="0" rIns="19050" bIns="0" anchor="b"/>
            <a:lstStyle/>
            <a:p>
              <a:pPr algn="ctr" defTabSz="895350">
                <a:buClr>
                  <a:schemeClr val="tx2"/>
                </a:buClr>
                <a:defRPr/>
              </a:pPr>
              <a:r>
                <a:rPr lang="en-US" sz="1050" dirty="0">
                  <a:solidFill>
                    <a:srgbClr val="002060"/>
                  </a:solidFill>
                  <a:latin typeface="Century Gothic" pitchFamily="34" charset="0"/>
                  <a:cs typeface="Arial" charset="0"/>
                </a:rPr>
                <a:t>4,5</a:t>
              </a:r>
            </a:p>
          </p:txBody>
        </p:sp>
        <p:sp>
          <p:nvSpPr>
            <p:cNvPr id="30" name="Rectangle 31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5073550" y="2501609"/>
              <a:ext cx="182099" cy="11000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19050" tIns="0" rIns="19050" bIns="0" anchor="b"/>
            <a:lstStyle/>
            <a:p>
              <a:pPr algn="ctr" defTabSz="895350">
                <a:buClr>
                  <a:schemeClr val="tx2"/>
                </a:buClr>
                <a:defRPr/>
              </a:pPr>
              <a:r>
                <a:rPr lang="en-US" sz="1050" dirty="0" smtClean="0">
                  <a:solidFill>
                    <a:srgbClr val="002060"/>
                  </a:solidFill>
                  <a:latin typeface="Century Gothic" pitchFamily="34" charset="0"/>
                  <a:cs typeface="Arial" charset="0"/>
                </a:rPr>
                <a:t>4,5</a:t>
              </a:r>
              <a:endParaRPr lang="en-US" sz="1050" dirty="0">
                <a:solidFill>
                  <a:srgbClr val="002060"/>
                </a:solidFill>
                <a:latin typeface="Century Gothic" pitchFamily="34" charset="0"/>
                <a:cs typeface="Arial" charset="0"/>
              </a:endParaRPr>
            </a:p>
          </p:txBody>
        </p:sp>
        <p:sp>
          <p:nvSpPr>
            <p:cNvPr id="31" name="Rectangle 32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6241494" y="2501609"/>
              <a:ext cx="182098" cy="14619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19050" tIns="0" rIns="19050" bIns="0" anchor="b"/>
            <a:lstStyle/>
            <a:p>
              <a:pPr algn="ctr" defTabSz="895350">
                <a:buClr>
                  <a:schemeClr val="tx2"/>
                </a:buClr>
                <a:defRPr/>
              </a:pPr>
              <a:r>
                <a:rPr lang="en-US" sz="1050" dirty="0" smtClean="0">
                  <a:solidFill>
                    <a:srgbClr val="002060"/>
                  </a:solidFill>
                  <a:latin typeface="Century Gothic" pitchFamily="34" charset="0"/>
                  <a:cs typeface="Arial" charset="0"/>
                </a:rPr>
                <a:t>4,5</a:t>
              </a:r>
              <a:endParaRPr lang="en-US" sz="1050" dirty="0">
                <a:solidFill>
                  <a:srgbClr val="002060"/>
                </a:solidFill>
                <a:latin typeface="Century Gothic" pitchFamily="34" charset="0"/>
                <a:cs typeface="Arial" charset="0"/>
              </a:endParaRPr>
            </a:p>
          </p:txBody>
        </p:sp>
        <p:sp>
          <p:nvSpPr>
            <p:cNvPr id="32" name="Rectangle 33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5816787" y="2501609"/>
              <a:ext cx="180642" cy="14619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19050" tIns="0" rIns="19050" bIns="0" anchor="b"/>
            <a:lstStyle/>
            <a:p>
              <a:pPr algn="ctr" defTabSz="895350">
                <a:buClr>
                  <a:schemeClr val="tx2"/>
                </a:buClr>
                <a:defRPr/>
              </a:pPr>
              <a:r>
                <a:rPr lang="en-US" sz="1050" dirty="0" smtClean="0">
                  <a:solidFill>
                    <a:srgbClr val="002060"/>
                  </a:solidFill>
                  <a:latin typeface="Century Gothic" pitchFamily="34" charset="0"/>
                  <a:cs typeface="Arial" charset="0"/>
                </a:rPr>
                <a:t>4,5</a:t>
              </a:r>
              <a:endParaRPr lang="en-US" sz="1050" dirty="0">
                <a:solidFill>
                  <a:srgbClr val="002060"/>
                </a:solidFill>
                <a:latin typeface="Century Gothic" pitchFamily="34" charset="0"/>
                <a:cs typeface="Arial" charset="0"/>
              </a:endParaRPr>
            </a:p>
          </p:txBody>
        </p:sp>
        <p:sp>
          <p:nvSpPr>
            <p:cNvPr id="33" name="Rectangle 34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6984731" y="2551063"/>
              <a:ext cx="180642" cy="14619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19050" tIns="0" rIns="19050" bIns="0" anchor="b"/>
            <a:lstStyle/>
            <a:p>
              <a:pPr algn="ctr" defTabSz="895350">
                <a:buClr>
                  <a:schemeClr val="tx2"/>
                </a:buClr>
                <a:defRPr/>
              </a:pPr>
              <a:r>
                <a:rPr lang="en-US" sz="1050" dirty="0" smtClean="0">
                  <a:solidFill>
                    <a:srgbClr val="002060"/>
                  </a:solidFill>
                  <a:latin typeface="Century Gothic" pitchFamily="34" charset="0"/>
                  <a:cs typeface="Arial" charset="0"/>
                </a:rPr>
                <a:t>4,3</a:t>
              </a:r>
              <a:endParaRPr lang="en-US" sz="1050" dirty="0">
                <a:solidFill>
                  <a:srgbClr val="002060"/>
                </a:solidFill>
                <a:latin typeface="Century Gothic" pitchFamily="34" charset="0"/>
                <a:cs typeface="Arial" charset="0"/>
              </a:endParaRPr>
            </a:p>
          </p:txBody>
        </p:sp>
        <p:sp>
          <p:nvSpPr>
            <p:cNvPr id="34" name="Rectangle 35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6560024" y="2501609"/>
              <a:ext cx="182098" cy="14619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19050" tIns="0" rIns="19050" bIns="0" anchor="b"/>
            <a:lstStyle/>
            <a:p>
              <a:pPr algn="ctr" defTabSz="895350">
                <a:buClr>
                  <a:schemeClr val="tx2"/>
                </a:buClr>
                <a:defRPr/>
              </a:pPr>
              <a:r>
                <a:rPr lang="en-US" sz="1050" dirty="0" smtClean="0">
                  <a:solidFill>
                    <a:srgbClr val="002060"/>
                  </a:solidFill>
                  <a:latin typeface="Century Gothic" pitchFamily="34" charset="0"/>
                  <a:cs typeface="Arial" charset="0"/>
                </a:rPr>
                <a:t>4,5</a:t>
              </a:r>
              <a:endParaRPr lang="en-US" sz="1050" dirty="0">
                <a:solidFill>
                  <a:srgbClr val="002060"/>
                </a:solidFill>
                <a:latin typeface="Century Gothic" pitchFamily="34" charset="0"/>
                <a:cs typeface="Arial" charset="0"/>
              </a:endParaRPr>
            </a:p>
          </p:txBody>
        </p:sp>
        <p:sp>
          <p:nvSpPr>
            <p:cNvPr id="35" name="Rectangle 36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4713162" y="2303790"/>
              <a:ext cx="180704" cy="19781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19050" tIns="0" rIns="19050" bIns="0" anchor="b"/>
            <a:lstStyle/>
            <a:p>
              <a:pPr algn="ctr" defTabSz="895350">
                <a:buClr>
                  <a:schemeClr val="tx2"/>
                </a:buClr>
                <a:defRPr/>
              </a:pPr>
              <a:r>
                <a:rPr lang="en-US" sz="1050" dirty="0">
                  <a:solidFill>
                    <a:srgbClr val="002060"/>
                  </a:solidFill>
                  <a:latin typeface="Century Gothic" pitchFamily="34" charset="0"/>
                  <a:cs typeface="Arial" charset="0"/>
                </a:rPr>
                <a:t>5,3</a:t>
              </a:r>
            </a:p>
          </p:txBody>
        </p:sp>
        <p:sp>
          <p:nvSpPr>
            <p:cNvPr id="36" name="Rectangle 37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4291517" y="2254335"/>
              <a:ext cx="182099" cy="14619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19050" tIns="0" rIns="19050" bIns="0" anchor="b"/>
            <a:lstStyle/>
            <a:p>
              <a:pPr algn="ctr" defTabSz="895350">
                <a:buClr>
                  <a:schemeClr val="tx2"/>
                </a:buClr>
                <a:defRPr/>
              </a:pPr>
              <a:r>
                <a:rPr lang="en-US" sz="1050" b="1" dirty="0" smtClean="0">
                  <a:solidFill>
                    <a:srgbClr val="FFFFFF"/>
                  </a:solidFill>
                  <a:latin typeface="Century Gothic" pitchFamily="34" charset="0"/>
                  <a:cs typeface="Arial" charset="0"/>
                </a:rPr>
                <a:t>5,4</a:t>
              </a:r>
              <a:endParaRPr lang="en-US" sz="1050" b="1" dirty="0">
                <a:solidFill>
                  <a:srgbClr val="FFFFFF"/>
                </a:solidFill>
                <a:latin typeface="Century Gothic" pitchFamily="34" charset="0"/>
                <a:cs typeface="Arial" charset="0"/>
              </a:endParaRPr>
            </a:p>
          </p:txBody>
        </p:sp>
      </p:grpSp>
      <p:sp>
        <p:nvSpPr>
          <p:cNvPr id="38" name="Rectangle 37"/>
          <p:cNvSpPr>
            <a:spLocks noChangeArrowheads="1"/>
          </p:cNvSpPr>
          <p:nvPr/>
        </p:nvSpPr>
        <p:spPr bwMode="auto">
          <a:xfrm>
            <a:off x="7164288" y="2204864"/>
            <a:ext cx="1201739" cy="276999"/>
          </a:xfrm>
          <a:prstGeom prst="rect">
            <a:avLst/>
          </a:prstGeom>
          <a:solidFill>
            <a:srgbClr val="0077A9"/>
          </a:solidFill>
          <a:ln w="9525">
            <a:noFill/>
            <a:miter lim="800000"/>
            <a:headEnd/>
            <a:tailEnd/>
          </a:ln>
        </p:spPr>
        <p:txBody>
          <a:bodyPr wrap="none" lIns="12446" tIns="0" rIns="12446" bIns="0" anchor="b">
            <a:spAutoFit/>
          </a:bodyPr>
          <a:lstStyle/>
          <a:p>
            <a:pPr defTabSz="876300">
              <a:buClr>
                <a:schemeClr val="tx2"/>
              </a:buClr>
              <a:defRPr/>
            </a:pPr>
            <a:r>
              <a:rPr lang="fr-FR" sz="900" b="1" dirty="0">
                <a:solidFill>
                  <a:srgbClr val="FFFFFF"/>
                </a:solidFill>
                <a:latin typeface="Century Gothic" pitchFamily="34" charset="0"/>
              </a:rPr>
              <a:t>1 : faible disponibilité</a:t>
            </a:r>
          </a:p>
          <a:p>
            <a:pPr defTabSz="876300">
              <a:buClr>
                <a:schemeClr val="tx2"/>
              </a:buClr>
              <a:defRPr/>
            </a:pPr>
            <a:r>
              <a:rPr lang="fr-FR" sz="900" b="1" dirty="0">
                <a:solidFill>
                  <a:srgbClr val="FFFFFF"/>
                </a:solidFill>
                <a:latin typeface="Century Gothic" pitchFamily="34" charset="0"/>
              </a:rPr>
              <a:t>7 : large disponibilité</a:t>
            </a:r>
          </a:p>
        </p:txBody>
      </p:sp>
      <p:sp>
        <p:nvSpPr>
          <p:cNvPr id="39" name="McK 5. Source"/>
          <p:cNvSpPr>
            <a:spLocks noChangeArrowheads="1"/>
          </p:cNvSpPr>
          <p:nvPr/>
        </p:nvSpPr>
        <p:spPr bwMode="gray">
          <a:xfrm>
            <a:off x="4788024" y="4437065"/>
            <a:ext cx="395325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marL="596900" indent="-596900" algn="ctr" defTabSz="876300">
              <a:tabLst>
                <a:tab pos="600075" algn="l"/>
              </a:tabLst>
            </a:pPr>
            <a:r>
              <a:rPr lang="en-US" sz="900" dirty="0">
                <a:solidFill>
                  <a:srgbClr val="003366"/>
                </a:solidFill>
                <a:latin typeface="Century Gothic" pitchFamily="34" charset="0"/>
              </a:rPr>
              <a:t>France</a:t>
            </a:r>
          </a:p>
        </p:txBody>
      </p:sp>
      <p:sp>
        <p:nvSpPr>
          <p:cNvPr id="40" name="McK 5. Source"/>
          <p:cNvSpPr>
            <a:spLocks noChangeArrowheads="1"/>
          </p:cNvSpPr>
          <p:nvPr/>
        </p:nvSpPr>
        <p:spPr bwMode="gray">
          <a:xfrm>
            <a:off x="7308304" y="4437065"/>
            <a:ext cx="792088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marL="596900" indent="-596900" algn="ctr" defTabSz="876300">
              <a:tabLst>
                <a:tab pos="600075" algn="l"/>
              </a:tabLst>
            </a:pPr>
            <a:r>
              <a:rPr lang="fr-FR" sz="900" dirty="0" smtClean="0">
                <a:solidFill>
                  <a:srgbClr val="003366"/>
                </a:solidFill>
                <a:latin typeface="Century Gothic" pitchFamily="34" charset="0"/>
              </a:rPr>
              <a:t>R.tchèque</a:t>
            </a:r>
            <a:endParaRPr lang="fr-FR" sz="900" dirty="0">
              <a:solidFill>
                <a:srgbClr val="003366"/>
              </a:solidFill>
              <a:latin typeface="Century Gothic" pitchFamily="34" charset="0"/>
            </a:endParaRPr>
          </a:p>
        </p:txBody>
      </p:sp>
      <p:sp>
        <p:nvSpPr>
          <p:cNvPr id="41" name="McK 5. Source"/>
          <p:cNvSpPr>
            <a:spLocks noChangeArrowheads="1"/>
          </p:cNvSpPr>
          <p:nvPr/>
        </p:nvSpPr>
        <p:spPr bwMode="gray">
          <a:xfrm>
            <a:off x="4283968" y="4437065"/>
            <a:ext cx="432048" cy="14401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marL="596900" indent="-596900" algn="ctr" defTabSz="876300">
              <a:tabLst>
                <a:tab pos="600075" algn="l"/>
              </a:tabLst>
            </a:pPr>
            <a:r>
              <a:rPr lang="fr-FR" sz="900" b="1" dirty="0">
                <a:solidFill>
                  <a:srgbClr val="003366"/>
                </a:solidFill>
                <a:latin typeface="Century Gothic" pitchFamily="34" charset="0"/>
              </a:rPr>
              <a:t>Tunisie</a:t>
            </a:r>
          </a:p>
        </p:txBody>
      </p:sp>
      <p:sp>
        <p:nvSpPr>
          <p:cNvPr id="42" name="McK 5. Source"/>
          <p:cNvSpPr>
            <a:spLocks noChangeArrowheads="1"/>
          </p:cNvSpPr>
          <p:nvPr/>
        </p:nvSpPr>
        <p:spPr bwMode="gray">
          <a:xfrm>
            <a:off x="8028384" y="4437065"/>
            <a:ext cx="393583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marL="596900" indent="-596900" algn="ctr" defTabSz="876300">
              <a:tabLst>
                <a:tab pos="600075" algn="l"/>
              </a:tabLst>
            </a:pPr>
            <a:r>
              <a:rPr lang="fr-FR" sz="900" dirty="0">
                <a:solidFill>
                  <a:srgbClr val="003366"/>
                </a:solidFill>
                <a:latin typeface="Century Gothic" pitchFamily="34" charset="0"/>
              </a:rPr>
              <a:t>Italie</a:t>
            </a:r>
          </a:p>
        </p:txBody>
      </p:sp>
      <p:sp>
        <p:nvSpPr>
          <p:cNvPr id="43" name="McK 5. Source"/>
          <p:cNvSpPr>
            <a:spLocks noChangeArrowheads="1"/>
          </p:cNvSpPr>
          <p:nvPr/>
        </p:nvSpPr>
        <p:spPr bwMode="gray">
          <a:xfrm>
            <a:off x="5220072" y="4437065"/>
            <a:ext cx="55206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marL="596900" indent="-596900" algn="ctr" defTabSz="876300">
              <a:tabLst>
                <a:tab pos="600075" algn="l"/>
              </a:tabLst>
            </a:pPr>
            <a:r>
              <a:rPr lang="fr-FR" sz="900" dirty="0" smtClean="0">
                <a:solidFill>
                  <a:srgbClr val="003366"/>
                </a:solidFill>
                <a:latin typeface="Century Gothic" pitchFamily="34" charset="0"/>
              </a:rPr>
              <a:t>Turquie</a:t>
            </a:r>
            <a:endParaRPr lang="fr-FR" sz="900" dirty="0">
              <a:solidFill>
                <a:srgbClr val="003366"/>
              </a:solidFill>
              <a:latin typeface="Century Gothic" pitchFamily="34" charset="0"/>
            </a:endParaRPr>
          </a:p>
        </p:txBody>
      </p:sp>
      <p:sp>
        <p:nvSpPr>
          <p:cNvPr id="44" name="McK 5. Source"/>
          <p:cNvSpPr>
            <a:spLocks noChangeArrowheads="1"/>
          </p:cNvSpPr>
          <p:nvPr/>
        </p:nvSpPr>
        <p:spPr bwMode="gray">
          <a:xfrm>
            <a:off x="6300192" y="4437065"/>
            <a:ext cx="395325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marL="596900" indent="-596900" algn="ctr" defTabSz="876300">
              <a:tabLst>
                <a:tab pos="600075" algn="l"/>
              </a:tabLst>
            </a:pPr>
            <a:r>
              <a:rPr lang="fr-FR" sz="900" dirty="0">
                <a:solidFill>
                  <a:srgbClr val="003366"/>
                </a:solidFill>
                <a:latin typeface="Century Gothic" pitchFamily="34" charset="0"/>
              </a:rPr>
              <a:t>Egypte</a:t>
            </a:r>
          </a:p>
        </p:txBody>
      </p:sp>
      <p:sp>
        <p:nvSpPr>
          <p:cNvPr id="45" name="McK 5. Source"/>
          <p:cNvSpPr>
            <a:spLocks noChangeArrowheads="1"/>
          </p:cNvSpPr>
          <p:nvPr/>
        </p:nvSpPr>
        <p:spPr bwMode="gray">
          <a:xfrm>
            <a:off x="5796136" y="4437065"/>
            <a:ext cx="395325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marL="596900" indent="-596900" algn="ctr" defTabSz="876300">
              <a:tabLst>
                <a:tab pos="600075" algn="l"/>
              </a:tabLst>
            </a:pPr>
            <a:r>
              <a:rPr lang="fr-FR" sz="900" dirty="0">
                <a:solidFill>
                  <a:srgbClr val="003366"/>
                </a:solidFill>
                <a:latin typeface="Century Gothic" pitchFamily="34" charset="0"/>
              </a:rPr>
              <a:t>Maroc</a:t>
            </a:r>
          </a:p>
        </p:txBody>
      </p:sp>
      <p:sp>
        <p:nvSpPr>
          <p:cNvPr id="46" name="McK 5. Source"/>
          <p:cNvSpPr>
            <a:spLocks noChangeArrowheads="1"/>
          </p:cNvSpPr>
          <p:nvPr/>
        </p:nvSpPr>
        <p:spPr bwMode="gray">
          <a:xfrm>
            <a:off x="6732240" y="4437065"/>
            <a:ext cx="64807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marL="596900" indent="-596900" algn="ctr" defTabSz="876300">
              <a:tabLst>
                <a:tab pos="600075" algn="l"/>
              </a:tabLst>
            </a:pPr>
            <a:r>
              <a:rPr lang="fr-FR" sz="900" dirty="0" smtClean="0">
                <a:solidFill>
                  <a:srgbClr val="003366"/>
                </a:solidFill>
                <a:latin typeface="Century Gothic" pitchFamily="34" charset="0"/>
              </a:rPr>
              <a:t>Allemagne</a:t>
            </a:r>
            <a:endParaRPr lang="fr-FR" sz="900" dirty="0">
              <a:solidFill>
                <a:srgbClr val="003366"/>
              </a:solidFill>
              <a:latin typeface="Century Gothic" pitchFamily="34" charset="0"/>
            </a:endParaRPr>
          </a:p>
        </p:txBody>
      </p:sp>
      <p:sp>
        <p:nvSpPr>
          <p:cNvPr id="68" name="Rectangle 67"/>
          <p:cNvSpPr/>
          <p:nvPr/>
        </p:nvSpPr>
        <p:spPr>
          <a:xfrm>
            <a:off x="4283968" y="4653136"/>
            <a:ext cx="4248472" cy="5270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ts val="1400"/>
              </a:lnSpc>
              <a:spcAft>
                <a:spcPts val="0"/>
              </a:spcAft>
              <a:defRPr/>
            </a:pPr>
            <a:r>
              <a:rPr lang="fr-FR" sz="900" dirty="0">
                <a:solidFill>
                  <a:srgbClr val="000000"/>
                </a:solidFill>
                <a:latin typeface="Century Gothic" pitchFamily="34" charset="0"/>
                <a:cs typeface="Arial" charset="0"/>
              </a:rPr>
              <a:t>Source : Rapport sur la compétitivité globale </a:t>
            </a:r>
            <a:r>
              <a:rPr lang="fr-FR" sz="900" dirty="0" smtClean="0">
                <a:solidFill>
                  <a:srgbClr val="000000"/>
                </a:solidFill>
                <a:latin typeface="Century Gothic" pitchFamily="34" charset="0"/>
                <a:cs typeface="Arial" charset="0"/>
              </a:rPr>
              <a:t>2011-2012, </a:t>
            </a:r>
            <a:r>
              <a:rPr lang="fr-FR" sz="900" dirty="0">
                <a:solidFill>
                  <a:srgbClr val="000000"/>
                </a:solidFill>
                <a:latin typeface="Century Gothic" pitchFamily="34" charset="0"/>
                <a:cs typeface="Arial" charset="0"/>
              </a:rPr>
              <a:t>WEF </a:t>
            </a:r>
          </a:p>
          <a:p>
            <a:pPr algn="r">
              <a:spcBef>
                <a:spcPct val="50000"/>
              </a:spcBef>
              <a:defRPr/>
            </a:pPr>
            <a:endParaRPr lang="fr-FR" sz="1100" dirty="0">
              <a:solidFill>
                <a:schemeClr val="tx1">
                  <a:lumMod val="50000"/>
                </a:schemeClr>
              </a:solidFill>
              <a:latin typeface="Century Gothic" pitchFamily="34" charset="0"/>
              <a:cs typeface="Arial" charset="0"/>
            </a:endParaRPr>
          </a:p>
        </p:txBody>
      </p:sp>
      <p:sp>
        <p:nvSpPr>
          <p:cNvPr id="69" name="Text Box 526"/>
          <p:cNvSpPr txBox="1">
            <a:spLocks noChangeArrowheads="1"/>
          </p:cNvSpPr>
          <p:nvPr/>
        </p:nvSpPr>
        <p:spPr bwMode="auto">
          <a:xfrm>
            <a:off x="4283968" y="1052736"/>
            <a:ext cx="4032448" cy="1094489"/>
          </a:xfrm>
          <a:prstGeom prst="downArrowCallou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algn="ctr">
              <a:lnSpc>
                <a:spcPct val="90000"/>
              </a:lnSpc>
              <a:spcBef>
                <a:spcPct val="50000"/>
              </a:spcBef>
              <a:defRPr/>
            </a:pPr>
            <a:r>
              <a:rPr lang="fr-FR" sz="1600" b="1" dirty="0" smtClean="0">
                <a:solidFill>
                  <a:srgbClr val="FFFFFF"/>
                </a:solidFill>
                <a:latin typeface="Century Gothic" pitchFamily="34" charset="0"/>
              </a:rPr>
              <a:t>Des </a:t>
            </a:r>
            <a:r>
              <a:rPr lang="fr-FR" sz="1600" b="1" dirty="0">
                <a:solidFill>
                  <a:srgbClr val="FFFFFF"/>
                </a:solidFill>
                <a:latin typeface="Century Gothic" pitchFamily="34" charset="0"/>
              </a:rPr>
              <a:t>scientifiques </a:t>
            </a:r>
            <a:r>
              <a:rPr lang="fr-FR" sz="1600" b="1" dirty="0" smtClean="0">
                <a:solidFill>
                  <a:srgbClr val="FFFFFF"/>
                </a:solidFill>
                <a:latin typeface="Century Gothic" pitchFamily="34" charset="0"/>
              </a:rPr>
              <a:t>et des </a:t>
            </a:r>
            <a:r>
              <a:rPr lang="fr-FR" sz="1600" b="1" dirty="0">
                <a:solidFill>
                  <a:srgbClr val="FFFFFF"/>
                </a:solidFill>
                <a:latin typeface="Century Gothic" pitchFamily="34" charset="0"/>
              </a:rPr>
              <a:t>ingénieurs </a:t>
            </a:r>
            <a:r>
              <a:rPr lang="fr-FR" sz="1600" b="1" dirty="0" smtClean="0">
                <a:solidFill>
                  <a:srgbClr val="FFFFFF"/>
                </a:solidFill>
                <a:latin typeface="Century Gothic" pitchFamily="34" charset="0"/>
              </a:rPr>
              <a:t> disponibles sur </a:t>
            </a:r>
            <a:r>
              <a:rPr lang="fr-FR" sz="1600" b="1" dirty="0">
                <a:solidFill>
                  <a:srgbClr val="FFFFFF"/>
                </a:solidFill>
                <a:latin typeface="Century Gothic" pitchFamily="34" charset="0"/>
              </a:rPr>
              <a:t>le </a:t>
            </a:r>
            <a:r>
              <a:rPr lang="fr-FR" sz="1600" b="1" dirty="0" smtClean="0">
                <a:solidFill>
                  <a:srgbClr val="FFFFFF"/>
                </a:solidFill>
                <a:latin typeface="Century Gothic" pitchFamily="34" charset="0"/>
              </a:rPr>
              <a:t>marché du travail </a:t>
            </a:r>
            <a:endParaRPr lang="fr-FR" sz="1600" b="1" dirty="0">
              <a:solidFill>
                <a:srgbClr val="FFFFFF"/>
              </a:solidFill>
              <a:latin typeface="Century Gothic" pitchFamily="34" charset="0"/>
            </a:endParaRPr>
          </a:p>
        </p:txBody>
      </p:sp>
      <p:sp>
        <p:nvSpPr>
          <p:cNvPr id="70" name="Text Box 526"/>
          <p:cNvSpPr txBox="1">
            <a:spLocks noChangeArrowheads="1"/>
          </p:cNvSpPr>
          <p:nvPr/>
        </p:nvSpPr>
        <p:spPr bwMode="auto">
          <a:xfrm>
            <a:off x="683568" y="1124744"/>
            <a:ext cx="2520950" cy="576263"/>
          </a:xfrm>
          <a:prstGeom prst="rect">
            <a:avLst/>
          </a:prstGeom>
          <a:solidFill>
            <a:srgbClr val="00467F"/>
          </a:solidFill>
          <a:ln>
            <a:solidFill>
              <a:srgbClr val="FFFFFF"/>
            </a:solidFill>
            <a:headEnd/>
            <a:tailEnd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algn="ctr">
              <a:lnSpc>
                <a:spcPct val="90000"/>
              </a:lnSpc>
              <a:spcBef>
                <a:spcPct val="50000"/>
              </a:spcBef>
              <a:defRPr/>
            </a:pPr>
            <a:r>
              <a:rPr lang="fr-FR" sz="1400" b="1" dirty="0">
                <a:solidFill>
                  <a:srgbClr val="FFFFFF"/>
                </a:solidFill>
                <a:latin typeface="Century Gothic" pitchFamily="34" charset="0"/>
              </a:rPr>
              <a:t>97 % des jeunes scolarisés</a:t>
            </a:r>
            <a:endParaRPr lang="en-US" sz="1400" b="1" dirty="0">
              <a:solidFill>
                <a:srgbClr val="FFFFFF"/>
              </a:solidFill>
              <a:latin typeface="Century Gothic" pitchFamily="34" charset="0"/>
            </a:endParaRPr>
          </a:p>
        </p:txBody>
      </p:sp>
      <p:sp>
        <p:nvSpPr>
          <p:cNvPr id="71" name="Text Box 526"/>
          <p:cNvSpPr txBox="1">
            <a:spLocks noChangeArrowheads="1"/>
          </p:cNvSpPr>
          <p:nvPr/>
        </p:nvSpPr>
        <p:spPr bwMode="auto">
          <a:xfrm>
            <a:off x="683568" y="1773214"/>
            <a:ext cx="2520950" cy="574675"/>
          </a:xfrm>
          <a:prstGeom prst="rect">
            <a:avLst/>
          </a:prstGeom>
          <a:solidFill>
            <a:srgbClr val="00467F"/>
          </a:solidFill>
          <a:ln>
            <a:solidFill>
              <a:srgbClr val="FFFFFF"/>
            </a:solidFill>
            <a:headEnd/>
            <a:tailEnd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algn="ctr">
              <a:lnSpc>
                <a:spcPct val="90000"/>
              </a:lnSpc>
              <a:spcBef>
                <a:spcPct val="50000"/>
              </a:spcBef>
              <a:defRPr/>
            </a:pPr>
            <a:r>
              <a:rPr lang="fr-FR" sz="1400" b="1" dirty="0">
                <a:solidFill>
                  <a:srgbClr val="FFFFFF"/>
                </a:solidFill>
                <a:latin typeface="Century Gothic" pitchFamily="34" charset="0"/>
              </a:rPr>
              <a:t>365 000 </a:t>
            </a:r>
            <a:r>
              <a:rPr lang="fr-FR" sz="1200" b="1" dirty="0">
                <a:solidFill>
                  <a:srgbClr val="FFFFFF"/>
                </a:solidFill>
                <a:latin typeface="Century Gothic" pitchFamily="34" charset="0"/>
              </a:rPr>
              <a:t>étudiants dont 61 % de filles</a:t>
            </a:r>
            <a:endParaRPr lang="en-US" sz="1200" b="1" dirty="0">
              <a:solidFill>
                <a:srgbClr val="FFFFFF"/>
              </a:solidFill>
              <a:latin typeface="Century Gothic" pitchFamily="34" charset="0"/>
            </a:endParaRPr>
          </a:p>
        </p:txBody>
      </p:sp>
      <p:sp>
        <p:nvSpPr>
          <p:cNvPr id="72" name="Text Box 526"/>
          <p:cNvSpPr txBox="1">
            <a:spLocks noChangeArrowheads="1"/>
          </p:cNvSpPr>
          <p:nvPr/>
        </p:nvSpPr>
        <p:spPr bwMode="auto">
          <a:xfrm>
            <a:off x="683568" y="2420095"/>
            <a:ext cx="2520950" cy="576262"/>
          </a:xfrm>
          <a:prstGeom prst="rect">
            <a:avLst/>
          </a:prstGeom>
          <a:solidFill>
            <a:srgbClr val="00467F"/>
          </a:solidFill>
          <a:ln>
            <a:solidFill>
              <a:srgbClr val="FFFFFF"/>
            </a:solidFill>
            <a:headEnd/>
            <a:tailEnd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algn="ctr">
              <a:lnSpc>
                <a:spcPct val="90000"/>
              </a:lnSpc>
              <a:spcBef>
                <a:spcPct val="50000"/>
              </a:spcBef>
              <a:defRPr/>
            </a:pPr>
            <a:r>
              <a:rPr lang="fr-FR" sz="1400" b="1" dirty="0">
                <a:solidFill>
                  <a:srgbClr val="FFFFFF"/>
                </a:solidFill>
                <a:latin typeface="Century Gothic" pitchFamily="34" charset="0"/>
              </a:rPr>
              <a:t>65 000 </a:t>
            </a:r>
            <a:r>
              <a:rPr lang="fr-FR" sz="1200" b="1" dirty="0">
                <a:solidFill>
                  <a:srgbClr val="FFFFFF"/>
                </a:solidFill>
                <a:latin typeface="Century Gothic" pitchFamily="34" charset="0"/>
              </a:rPr>
              <a:t>nouveaux diplômés de l’enseignement supérieur par an</a:t>
            </a:r>
            <a:endParaRPr lang="en-US" sz="1200" b="1" dirty="0">
              <a:solidFill>
                <a:srgbClr val="FFFFFF"/>
              </a:solidFill>
              <a:latin typeface="Century Gothic" pitchFamily="34" charset="0"/>
            </a:endParaRPr>
          </a:p>
        </p:txBody>
      </p:sp>
      <p:sp>
        <p:nvSpPr>
          <p:cNvPr id="73" name="Text Box 526"/>
          <p:cNvSpPr txBox="1">
            <a:spLocks noChangeArrowheads="1"/>
          </p:cNvSpPr>
          <p:nvPr/>
        </p:nvSpPr>
        <p:spPr bwMode="auto">
          <a:xfrm>
            <a:off x="683568" y="3068563"/>
            <a:ext cx="2520950" cy="576262"/>
          </a:xfrm>
          <a:prstGeom prst="rect">
            <a:avLst/>
          </a:prstGeom>
          <a:solidFill>
            <a:srgbClr val="00467F"/>
          </a:solidFill>
          <a:ln>
            <a:solidFill>
              <a:srgbClr val="FFFFFF"/>
            </a:solidFill>
            <a:headEnd/>
            <a:tailEnd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algn="ctr">
              <a:lnSpc>
                <a:spcPct val="90000"/>
              </a:lnSpc>
              <a:spcBef>
                <a:spcPct val="50000"/>
              </a:spcBef>
              <a:defRPr/>
            </a:pPr>
            <a:r>
              <a:rPr lang="fr-FR" sz="1400" b="1" dirty="0">
                <a:solidFill>
                  <a:srgbClr val="FFFFFF"/>
                </a:solidFill>
                <a:latin typeface="Century Gothic" pitchFamily="34" charset="0"/>
              </a:rPr>
              <a:t>33 %</a:t>
            </a:r>
            <a:r>
              <a:rPr lang="fr-FR" sz="1200" b="1" dirty="0">
                <a:solidFill>
                  <a:srgbClr val="FFFFFF"/>
                </a:solidFill>
                <a:latin typeface="Century Gothic" pitchFamily="34" charset="0"/>
              </a:rPr>
              <a:t> des étudiants orientés vers les sciences de l’informatique</a:t>
            </a:r>
          </a:p>
        </p:txBody>
      </p:sp>
      <p:sp>
        <p:nvSpPr>
          <p:cNvPr id="74" name="Text Box 526"/>
          <p:cNvSpPr txBox="1">
            <a:spLocks noChangeArrowheads="1"/>
          </p:cNvSpPr>
          <p:nvPr/>
        </p:nvSpPr>
        <p:spPr bwMode="auto">
          <a:xfrm>
            <a:off x="683568" y="3717032"/>
            <a:ext cx="2520950" cy="576262"/>
          </a:xfrm>
          <a:prstGeom prst="rect">
            <a:avLst/>
          </a:prstGeom>
          <a:solidFill>
            <a:srgbClr val="00467F"/>
          </a:solidFill>
          <a:ln>
            <a:solidFill>
              <a:srgbClr val="FFFFFF"/>
            </a:solidFill>
            <a:headEnd/>
            <a:tailEnd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algn="ctr">
              <a:lnSpc>
                <a:spcPct val="90000"/>
              </a:lnSpc>
              <a:spcBef>
                <a:spcPct val="50000"/>
              </a:spcBef>
              <a:defRPr/>
            </a:pPr>
            <a:r>
              <a:rPr lang="fr-FR" sz="1400" b="1" dirty="0" smtClean="0">
                <a:solidFill>
                  <a:srgbClr val="FFFFFF"/>
                </a:solidFill>
                <a:latin typeface="Century Gothic" pitchFamily="34" charset="0"/>
              </a:rPr>
              <a:t>28 000 </a:t>
            </a:r>
            <a:r>
              <a:rPr lang="fr-FR" sz="1200" b="1" dirty="0" smtClean="0">
                <a:solidFill>
                  <a:srgbClr val="FFFFFF"/>
                </a:solidFill>
                <a:latin typeface="Century Gothic" pitchFamily="34" charset="0"/>
              </a:rPr>
              <a:t>chercheurs et </a:t>
            </a:r>
            <a:r>
              <a:rPr lang="fr-FR" sz="1400" b="1" dirty="0" smtClean="0">
                <a:solidFill>
                  <a:srgbClr val="FFFFFF"/>
                </a:solidFill>
                <a:latin typeface="Century Gothic" pitchFamily="34" charset="0"/>
              </a:rPr>
              <a:t>30 </a:t>
            </a:r>
            <a:r>
              <a:rPr lang="fr-FR" sz="1200" b="1" dirty="0" smtClean="0">
                <a:solidFill>
                  <a:srgbClr val="FFFFFF"/>
                </a:solidFill>
                <a:latin typeface="Century Gothic" pitchFamily="34" charset="0"/>
              </a:rPr>
              <a:t>centres R&amp;D</a:t>
            </a:r>
            <a:endParaRPr lang="fr-FR" sz="1200" b="1" dirty="0">
              <a:solidFill>
                <a:srgbClr val="FFFFFF"/>
              </a:solidFill>
              <a:latin typeface="Century Gothic" pitchFamily="34" charset="0"/>
            </a:endParaRPr>
          </a:p>
        </p:txBody>
      </p:sp>
      <p:sp>
        <p:nvSpPr>
          <p:cNvPr id="77" name="Rectangle 76"/>
          <p:cNvSpPr/>
          <p:nvPr/>
        </p:nvSpPr>
        <p:spPr>
          <a:xfrm>
            <a:off x="0" y="44624"/>
            <a:ext cx="6156176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fr-FR" sz="2800" b="1" dirty="0" smtClean="0">
                <a:solidFill>
                  <a:schemeClr val="tx2"/>
                </a:solidFill>
                <a:latin typeface="+mj-lt"/>
              </a:rPr>
              <a:t>Un vivier </a:t>
            </a:r>
            <a:r>
              <a:rPr lang="fr-FR" sz="2800" b="1" dirty="0">
                <a:solidFill>
                  <a:schemeClr val="tx2"/>
                </a:solidFill>
                <a:latin typeface="+mj-lt"/>
              </a:rPr>
              <a:t>de talents et de main d’œuvre qualifiée</a:t>
            </a:r>
          </a:p>
        </p:txBody>
      </p:sp>
      <p:sp>
        <p:nvSpPr>
          <p:cNvPr id="37" name="Down Arrow Callout 84"/>
          <p:cNvSpPr/>
          <p:nvPr/>
        </p:nvSpPr>
        <p:spPr>
          <a:xfrm rot="16200000">
            <a:off x="1835696" y="4005064"/>
            <a:ext cx="504056" cy="3096344"/>
          </a:xfrm>
          <a:prstGeom prst="downArrowCallout">
            <a:avLst>
              <a:gd name="adj1" fmla="val 50000"/>
              <a:gd name="adj2" fmla="val 32256"/>
              <a:gd name="adj3" fmla="val 150926"/>
              <a:gd name="adj4" fmla="val 64977"/>
            </a:avLst>
          </a:prstGeom>
          <a:solidFill>
            <a:schemeClr val="accent5">
              <a:lumMod val="75000"/>
            </a:schemeClr>
          </a:solidFill>
          <a:ln>
            <a:solidFill>
              <a:srgbClr val="FFFFFF"/>
            </a:solidFill>
            <a:headEnd/>
            <a:tailEnd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vert" lIns="36000" tIns="36000" rIns="36000" bIns="36000" anchor="ctr"/>
          <a:lstStyle/>
          <a:p>
            <a:pPr algn="ctr">
              <a:lnSpc>
                <a:spcPct val="90000"/>
              </a:lnSpc>
              <a:spcBef>
                <a:spcPct val="50000"/>
              </a:spcBef>
              <a:defRPr/>
            </a:pPr>
            <a:r>
              <a:rPr lang="fr-FR" sz="1600" b="1" dirty="0" smtClean="0">
                <a:solidFill>
                  <a:srgbClr val="FFFFFF"/>
                </a:solidFill>
                <a:latin typeface="Century Gothic" pitchFamily="34" charset="0"/>
              </a:rPr>
              <a:t>Une population jeune</a:t>
            </a:r>
            <a:endParaRPr lang="fr-FR" sz="1600" b="1" dirty="0">
              <a:solidFill>
                <a:srgbClr val="FFFFFF"/>
              </a:solidFill>
              <a:latin typeface="Century Gothic" pitchFamily="34" charset="0"/>
            </a:endParaRPr>
          </a:p>
        </p:txBody>
      </p:sp>
      <p:sp>
        <p:nvSpPr>
          <p:cNvPr id="48" name="Up Arrow Callout 85"/>
          <p:cNvSpPr/>
          <p:nvPr/>
        </p:nvSpPr>
        <p:spPr>
          <a:xfrm rot="16200000">
            <a:off x="6696236" y="4041068"/>
            <a:ext cx="648072" cy="3168352"/>
          </a:xfrm>
          <a:prstGeom prst="upArrowCallout">
            <a:avLst>
              <a:gd name="adj1" fmla="val 35836"/>
              <a:gd name="adj2" fmla="val 23645"/>
              <a:gd name="adj3" fmla="val 137200"/>
              <a:gd name="adj4" fmla="val 64977"/>
            </a:avLst>
          </a:prstGeom>
          <a:solidFill>
            <a:schemeClr val="accent5">
              <a:lumMod val="75000"/>
            </a:schemeClr>
          </a:solidFill>
          <a:ln>
            <a:solidFill>
              <a:srgbClr val="FFFFFF"/>
            </a:solidFill>
            <a:headEnd/>
            <a:tailEnd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vert" lIns="36000" tIns="36000" rIns="36000" bIns="36000" anchor="ctr"/>
          <a:lstStyle/>
          <a:p>
            <a:pPr algn="ctr">
              <a:lnSpc>
                <a:spcPct val="90000"/>
              </a:lnSpc>
              <a:spcBef>
                <a:spcPct val="50000"/>
              </a:spcBef>
              <a:defRPr/>
            </a:pPr>
            <a:r>
              <a:rPr lang="fr-FR" sz="1600" b="1" dirty="0">
                <a:solidFill>
                  <a:srgbClr val="FFFFFF"/>
                </a:solidFill>
                <a:latin typeface="Century Gothic" pitchFamily="34" charset="0"/>
              </a:rPr>
              <a:t>Une société énergique</a:t>
            </a:r>
          </a:p>
        </p:txBody>
      </p:sp>
      <p:graphicFrame>
        <p:nvGraphicFramePr>
          <p:cNvPr id="49" name="Chart 62"/>
          <p:cNvGraphicFramePr>
            <a:graphicFrameLocks/>
          </p:cNvGraphicFramePr>
          <p:nvPr/>
        </p:nvGraphicFramePr>
        <p:xfrm>
          <a:off x="3491880" y="4653136"/>
          <a:ext cx="2448272" cy="20673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50" name="Espace réservé du pied de page 4"/>
          <p:cNvSpPr txBox="1">
            <a:spLocks/>
          </p:cNvSpPr>
          <p:nvPr/>
        </p:nvSpPr>
        <p:spPr>
          <a:xfrm>
            <a:off x="5292080" y="6209928"/>
            <a:ext cx="3851920" cy="648072"/>
          </a:xfrm>
          <a:prstGeom prst="rect">
            <a:avLst/>
          </a:prstGeom>
        </p:spPr>
        <p:txBody>
          <a:bodyPr/>
          <a:lstStyle>
            <a:lvl1pPr>
              <a:defRPr sz="1400" b="1">
                <a:solidFill>
                  <a:srgbClr val="C00000"/>
                </a:solidFill>
              </a:defRPr>
            </a:lvl1pPr>
          </a:lstStyle>
          <a:p>
            <a:pPr marL="0" marR="0" lvl="0" indent="0" algn="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  <a:defRPr/>
            </a:pPr>
            <a:r>
              <a:rPr lang="fr-FR" sz="1600" b="0" dirty="0" smtClean="0">
                <a:solidFill>
                  <a:schemeClr val="tx1"/>
                </a:solidFill>
                <a:latin typeface="+mn-lt"/>
              </a:rPr>
              <a:t>NEW </a:t>
            </a:r>
            <a:r>
              <a:rPr lang="fr-FR" sz="1600" dirty="0" smtClean="0">
                <a:solidFill>
                  <a:schemeClr val="tx1"/>
                </a:solidFill>
                <a:latin typeface="+mn-lt"/>
              </a:rPr>
              <a:t>TUNISIA </a:t>
            </a:r>
          </a:p>
          <a:p>
            <a:pPr marL="0" marR="0" lvl="0" indent="0" algn="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  <a:defRPr/>
            </a:pPr>
            <a:r>
              <a:rPr lang="fr-FR" sz="1600" b="0" dirty="0" smtClean="0">
                <a:solidFill>
                  <a:schemeClr val="tx1"/>
                </a:solidFill>
                <a:latin typeface="+mn-lt"/>
              </a:rPr>
              <a:t>NEW OPPORTUNITIES </a:t>
            </a:r>
            <a:endParaRPr lang="fr-FR" sz="1600" b="0" dirty="0">
              <a:solidFill>
                <a:schemeClr val="tx1"/>
              </a:solidFill>
              <a:latin typeface="+mn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 txBox="1">
            <a:spLocks/>
          </p:cNvSpPr>
          <p:nvPr/>
        </p:nvSpPr>
        <p:spPr bwMode="auto">
          <a:xfrm>
            <a:off x="0" y="0"/>
            <a:ext cx="7596336" cy="10527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>
              <a:defRPr/>
            </a:pPr>
            <a:r>
              <a:rPr lang="fr-FR" sz="2700" b="1" dirty="0" smtClean="0">
                <a:solidFill>
                  <a:schemeClr val="tx2"/>
                </a:solidFill>
                <a:latin typeface="+mj-lt"/>
              </a:rPr>
              <a:t> </a:t>
            </a:r>
            <a:r>
              <a:rPr lang="fr-FR" sz="2400" b="1" dirty="0" smtClean="0">
                <a:solidFill>
                  <a:schemeClr val="tx2"/>
                </a:solidFill>
                <a:latin typeface="+mj-lt"/>
              </a:rPr>
              <a:t>Un positionnement </a:t>
            </a:r>
            <a:r>
              <a:rPr lang="fr-FR" sz="2400" b="1" dirty="0">
                <a:solidFill>
                  <a:schemeClr val="tx2"/>
                </a:solidFill>
                <a:latin typeface="+mj-lt"/>
              </a:rPr>
              <a:t>stratégique </a:t>
            </a:r>
            <a:r>
              <a:rPr lang="fr-FR" sz="2400" b="1" dirty="0" smtClean="0">
                <a:solidFill>
                  <a:schemeClr val="tx2"/>
                </a:solidFill>
                <a:latin typeface="+mj-lt"/>
              </a:rPr>
              <a:t/>
            </a:r>
            <a:br>
              <a:rPr lang="fr-FR" sz="2400" b="1" dirty="0" smtClean="0">
                <a:solidFill>
                  <a:schemeClr val="tx2"/>
                </a:solidFill>
                <a:latin typeface="+mj-lt"/>
              </a:rPr>
            </a:br>
            <a:r>
              <a:rPr lang="fr-FR" sz="2400" b="1" dirty="0" smtClean="0">
                <a:solidFill>
                  <a:schemeClr val="tx2"/>
                </a:solidFill>
                <a:latin typeface="+mj-lt"/>
              </a:rPr>
              <a:t> en Méditerranée et un cadre </a:t>
            </a:r>
            <a:br>
              <a:rPr lang="fr-FR" sz="2400" b="1" dirty="0" smtClean="0">
                <a:solidFill>
                  <a:schemeClr val="tx2"/>
                </a:solidFill>
                <a:latin typeface="+mj-lt"/>
              </a:rPr>
            </a:br>
            <a:r>
              <a:rPr lang="fr-FR" sz="2400" b="1" dirty="0" smtClean="0">
                <a:solidFill>
                  <a:schemeClr val="tx2"/>
                </a:solidFill>
                <a:latin typeface="+mj-lt"/>
              </a:rPr>
              <a:t>de vie agréable </a:t>
            </a:r>
            <a:endParaRPr lang="fr-FR" sz="2700" b="1" dirty="0">
              <a:solidFill>
                <a:schemeClr val="tx2"/>
              </a:solidFill>
              <a:latin typeface="+mj-lt"/>
            </a:endParaRPr>
          </a:p>
        </p:txBody>
      </p:sp>
      <p:grpSp>
        <p:nvGrpSpPr>
          <p:cNvPr id="2" name="Group 27"/>
          <p:cNvGrpSpPr>
            <a:grpSpLocks/>
          </p:cNvGrpSpPr>
          <p:nvPr/>
        </p:nvGrpSpPr>
        <p:grpSpPr bwMode="auto">
          <a:xfrm>
            <a:off x="4572000" y="1124744"/>
            <a:ext cx="4197622" cy="3743334"/>
            <a:chOff x="1682" y="822"/>
            <a:chExt cx="2850" cy="2868"/>
          </a:xfrm>
        </p:grpSpPr>
        <p:sp>
          <p:nvSpPr>
            <p:cNvPr id="14" name="Freeform 28"/>
            <p:cNvSpPr>
              <a:spLocks/>
            </p:cNvSpPr>
            <p:nvPr/>
          </p:nvSpPr>
          <p:spPr bwMode="auto">
            <a:xfrm>
              <a:off x="3253" y="2900"/>
              <a:ext cx="271" cy="308"/>
            </a:xfrm>
            <a:custGeom>
              <a:avLst/>
              <a:gdLst/>
              <a:ahLst/>
              <a:cxnLst>
                <a:cxn ang="0">
                  <a:pos x="20" y="279"/>
                </a:cxn>
                <a:cxn ang="0">
                  <a:pos x="57" y="322"/>
                </a:cxn>
                <a:cxn ang="0">
                  <a:pos x="64" y="306"/>
                </a:cxn>
                <a:cxn ang="0">
                  <a:pos x="51" y="282"/>
                </a:cxn>
                <a:cxn ang="0">
                  <a:pos x="67" y="262"/>
                </a:cxn>
                <a:cxn ang="0">
                  <a:pos x="77" y="269"/>
                </a:cxn>
                <a:cxn ang="0">
                  <a:pos x="101" y="262"/>
                </a:cxn>
                <a:cxn ang="0">
                  <a:pos x="118" y="285"/>
                </a:cxn>
                <a:cxn ang="0">
                  <a:pos x="138" y="312"/>
                </a:cxn>
                <a:cxn ang="0">
                  <a:pos x="148" y="316"/>
                </a:cxn>
                <a:cxn ang="0">
                  <a:pos x="158" y="295"/>
                </a:cxn>
                <a:cxn ang="0">
                  <a:pos x="172" y="299"/>
                </a:cxn>
                <a:cxn ang="0">
                  <a:pos x="202" y="292"/>
                </a:cxn>
                <a:cxn ang="0">
                  <a:pos x="219" y="289"/>
                </a:cxn>
                <a:cxn ang="0">
                  <a:pos x="239" y="272"/>
                </a:cxn>
                <a:cxn ang="0">
                  <a:pos x="235" y="259"/>
                </a:cxn>
                <a:cxn ang="0">
                  <a:pos x="246" y="252"/>
                </a:cxn>
                <a:cxn ang="0">
                  <a:pos x="262" y="242"/>
                </a:cxn>
                <a:cxn ang="0">
                  <a:pos x="266" y="228"/>
                </a:cxn>
                <a:cxn ang="0">
                  <a:pos x="249" y="215"/>
                </a:cxn>
                <a:cxn ang="0">
                  <a:pos x="235" y="208"/>
                </a:cxn>
                <a:cxn ang="0">
                  <a:pos x="225" y="191"/>
                </a:cxn>
                <a:cxn ang="0">
                  <a:pos x="229" y="168"/>
                </a:cxn>
                <a:cxn ang="0">
                  <a:pos x="246" y="151"/>
                </a:cxn>
                <a:cxn ang="0">
                  <a:pos x="229" y="138"/>
                </a:cxn>
                <a:cxn ang="0">
                  <a:pos x="229" y="124"/>
                </a:cxn>
                <a:cxn ang="0">
                  <a:pos x="209" y="131"/>
                </a:cxn>
                <a:cxn ang="0">
                  <a:pos x="202" y="124"/>
                </a:cxn>
                <a:cxn ang="0">
                  <a:pos x="178" y="111"/>
                </a:cxn>
                <a:cxn ang="0">
                  <a:pos x="175" y="97"/>
                </a:cxn>
                <a:cxn ang="0">
                  <a:pos x="172" y="77"/>
                </a:cxn>
                <a:cxn ang="0">
                  <a:pos x="141" y="50"/>
                </a:cxn>
                <a:cxn ang="0">
                  <a:pos x="135" y="30"/>
                </a:cxn>
                <a:cxn ang="0">
                  <a:pos x="111" y="0"/>
                </a:cxn>
                <a:cxn ang="0">
                  <a:pos x="81" y="3"/>
                </a:cxn>
                <a:cxn ang="0">
                  <a:pos x="61" y="20"/>
                </a:cxn>
                <a:cxn ang="0">
                  <a:pos x="41" y="30"/>
                </a:cxn>
                <a:cxn ang="0">
                  <a:pos x="34" y="47"/>
                </a:cxn>
                <a:cxn ang="0">
                  <a:pos x="44" y="54"/>
                </a:cxn>
                <a:cxn ang="0">
                  <a:pos x="44" y="64"/>
                </a:cxn>
                <a:cxn ang="0">
                  <a:pos x="51" y="70"/>
                </a:cxn>
                <a:cxn ang="0">
                  <a:pos x="61" y="74"/>
                </a:cxn>
                <a:cxn ang="0">
                  <a:pos x="47" y="80"/>
                </a:cxn>
                <a:cxn ang="0">
                  <a:pos x="51" y="97"/>
                </a:cxn>
                <a:cxn ang="0">
                  <a:pos x="57" y="97"/>
                </a:cxn>
                <a:cxn ang="0">
                  <a:pos x="57" y="121"/>
                </a:cxn>
                <a:cxn ang="0">
                  <a:pos x="61" y="144"/>
                </a:cxn>
                <a:cxn ang="0">
                  <a:pos x="64" y="161"/>
                </a:cxn>
                <a:cxn ang="0">
                  <a:pos x="44" y="161"/>
                </a:cxn>
                <a:cxn ang="0">
                  <a:pos x="64" y="181"/>
                </a:cxn>
                <a:cxn ang="0">
                  <a:pos x="57" y="188"/>
                </a:cxn>
                <a:cxn ang="0">
                  <a:pos x="41" y="198"/>
                </a:cxn>
                <a:cxn ang="0">
                  <a:pos x="37" y="208"/>
                </a:cxn>
                <a:cxn ang="0">
                  <a:pos x="24" y="211"/>
                </a:cxn>
                <a:cxn ang="0">
                  <a:pos x="10" y="225"/>
                </a:cxn>
                <a:cxn ang="0">
                  <a:pos x="0" y="238"/>
                </a:cxn>
                <a:cxn ang="0">
                  <a:pos x="10" y="269"/>
                </a:cxn>
              </a:cxnLst>
              <a:rect l="0" t="0" r="r" b="b"/>
              <a:pathLst>
                <a:path w="269" h="329">
                  <a:moveTo>
                    <a:pt x="10" y="269"/>
                  </a:moveTo>
                  <a:lnTo>
                    <a:pt x="10" y="269"/>
                  </a:lnTo>
                  <a:lnTo>
                    <a:pt x="14" y="269"/>
                  </a:lnTo>
                  <a:lnTo>
                    <a:pt x="14" y="269"/>
                  </a:lnTo>
                  <a:lnTo>
                    <a:pt x="17" y="279"/>
                  </a:lnTo>
                  <a:lnTo>
                    <a:pt x="17" y="279"/>
                  </a:lnTo>
                  <a:lnTo>
                    <a:pt x="17" y="279"/>
                  </a:lnTo>
                  <a:lnTo>
                    <a:pt x="17" y="279"/>
                  </a:lnTo>
                  <a:lnTo>
                    <a:pt x="20" y="279"/>
                  </a:lnTo>
                  <a:lnTo>
                    <a:pt x="20" y="275"/>
                  </a:lnTo>
                  <a:lnTo>
                    <a:pt x="24" y="275"/>
                  </a:lnTo>
                  <a:lnTo>
                    <a:pt x="24" y="275"/>
                  </a:lnTo>
                  <a:lnTo>
                    <a:pt x="24" y="292"/>
                  </a:lnTo>
                  <a:lnTo>
                    <a:pt x="24" y="292"/>
                  </a:lnTo>
                  <a:lnTo>
                    <a:pt x="30" y="292"/>
                  </a:lnTo>
                  <a:lnTo>
                    <a:pt x="34" y="299"/>
                  </a:lnTo>
                  <a:lnTo>
                    <a:pt x="34" y="299"/>
                  </a:lnTo>
                  <a:lnTo>
                    <a:pt x="57" y="322"/>
                  </a:lnTo>
                  <a:lnTo>
                    <a:pt x="57" y="326"/>
                  </a:lnTo>
                  <a:lnTo>
                    <a:pt x="57" y="326"/>
                  </a:lnTo>
                  <a:lnTo>
                    <a:pt x="61" y="322"/>
                  </a:lnTo>
                  <a:lnTo>
                    <a:pt x="61" y="322"/>
                  </a:lnTo>
                  <a:lnTo>
                    <a:pt x="64" y="319"/>
                  </a:lnTo>
                  <a:lnTo>
                    <a:pt x="64" y="319"/>
                  </a:lnTo>
                  <a:lnTo>
                    <a:pt x="64" y="312"/>
                  </a:lnTo>
                  <a:lnTo>
                    <a:pt x="64" y="312"/>
                  </a:lnTo>
                  <a:lnTo>
                    <a:pt x="64" y="306"/>
                  </a:lnTo>
                  <a:lnTo>
                    <a:pt x="64" y="306"/>
                  </a:lnTo>
                  <a:lnTo>
                    <a:pt x="61" y="299"/>
                  </a:lnTo>
                  <a:lnTo>
                    <a:pt x="61" y="299"/>
                  </a:lnTo>
                  <a:lnTo>
                    <a:pt x="57" y="292"/>
                  </a:lnTo>
                  <a:lnTo>
                    <a:pt x="57" y="292"/>
                  </a:lnTo>
                  <a:lnTo>
                    <a:pt x="54" y="289"/>
                  </a:lnTo>
                  <a:lnTo>
                    <a:pt x="54" y="289"/>
                  </a:lnTo>
                  <a:lnTo>
                    <a:pt x="51" y="282"/>
                  </a:lnTo>
                  <a:lnTo>
                    <a:pt x="51" y="282"/>
                  </a:lnTo>
                  <a:lnTo>
                    <a:pt x="54" y="279"/>
                  </a:lnTo>
                  <a:lnTo>
                    <a:pt x="57" y="279"/>
                  </a:lnTo>
                  <a:lnTo>
                    <a:pt x="57" y="279"/>
                  </a:lnTo>
                  <a:lnTo>
                    <a:pt x="57" y="272"/>
                  </a:lnTo>
                  <a:lnTo>
                    <a:pt x="57" y="272"/>
                  </a:lnTo>
                  <a:lnTo>
                    <a:pt x="64" y="269"/>
                  </a:lnTo>
                  <a:lnTo>
                    <a:pt x="64" y="269"/>
                  </a:lnTo>
                  <a:lnTo>
                    <a:pt x="67" y="262"/>
                  </a:lnTo>
                  <a:lnTo>
                    <a:pt x="67" y="262"/>
                  </a:lnTo>
                  <a:lnTo>
                    <a:pt x="67" y="259"/>
                  </a:lnTo>
                  <a:lnTo>
                    <a:pt x="71" y="259"/>
                  </a:lnTo>
                  <a:lnTo>
                    <a:pt x="71" y="259"/>
                  </a:lnTo>
                  <a:lnTo>
                    <a:pt x="74" y="259"/>
                  </a:lnTo>
                  <a:lnTo>
                    <a:pt x="74" y="259"/>
                  </a:lnTo>
                  <a:lnTo>
                    <a:pt x="77" y="262"/>
                  </a:lnTo>
                  <a:lnTo>
                    <a:pt x="77" y="265"/>
                  </a:lnTo>
                  <a:lnTo>
                    <a:pt x="77" y="265"/>
                  </a:lnTo>
                  <a:lnTo>
                    <a:pt x="77" y="269"/>
                  </a:lnTo>
                  <a:lnTo>
                    <a:pt x="77" y="272"/>
                  </a:lnTo>
                  <a:lnTo>
                    <a:pt x="77" y="272"/>
                  </a:lnTo>
                  <a:lnTo>
                    <a:pt x="84" y="272"/>
                  </a:lnTo>
                  <a:lnTo>
                    <a:pt x="84" y="272"/>
                  </a:lnTo>
                  <a:lnTo>
                    <a:pt x="91" y="269"/>
                  </a:lnTo>
                  <a:lnTo>
                    <a:pt x="91" y="269"/>
                  </a:lnTo>
                  <a:lnTo>
                    <a:pt x="98" y="265"/>
                  </a:lnTo>
                  <a:lnTo>
                    <a:pt x="98" y="265"/>
                  </a:lnTo>
                  <a:lnTo>
                    <a:pt x="101" y="262"/>
                  </a:lnTo>
                  <a:lnTo>
                    <a:pt x="101" y="262"/>
                  </a:lnTo>
                  <a:lnTo>
                    <a:pt x="104" y="262"/>
                  </a:lnTo>
                  <a:lnTo>
                    <a:pt x="104" y="265"/>
                  </a:lnTo>
                  <a:lnTo>
                    <a:pt x="108" y="272"/>
                  </a:lnTo>
                  <a:lnTo>
                    <a:pt x="108" y="272"/>
                  </a:lnTo>
                  <a:lnTo>
                    <a:pt x="111" y="279"/>
                  </a:lnTo>
                  <a:lnTo>
                    <a:pt x="111" y="279"/>
                  </a:lnTo>
                  <a:lnTo>
                    <a:pt x="118" y="285"/>
                  </a:lnTo>
                  <a:lnTo>
                    <a:pt x="118" y="285"/>
                  </a:lnTo>
                  <a:lnTo>
                    <a:pt x="125" y="289"/>
                  </a:lnTo>
                  <a:lnTo>
                    <a:pt x="125" y="289"/>
                  </a:lnTo>
                  <a:lnTo>
                    <a:pt x="128" y="292"/>
                  </a:lnTo>
                  <a:lnTo>
                    <a:pt x="128" y="292"/>
                  </a:lnTo>
                  <a:lnTo>
                    <a:pt x="131" y="302"/>
                  </a:lnTo>
                  <a:lnTo>
                    <a:pt x="131" y="302"/>
                  </a:lnTo>
                  <a:lnTo>
                    <a:pt x="138" y="309"/>
                  </a:lnTo>
                  <a:lnTo>
                    <a:pt x="138" y="309"/>
                  </a:lnTo>
                  <a:lnTo>
                    <a:pt x="138" y="312"/>
                  </a:lnTo>
                  <a:lnTo>
                    <a:pt x="135" y="316"/>
                  </a:lnTo>
                  <a:lnTo>
                    <a:pt x="135" y="316"/>
                  </a:lnTo>
                  <a:lnTo>
                    <a:pt x="135" y="326"/>
                  </a:lnTo>
                  <a:lnTo>
                    <a:pt x="135" y="326"/>
                  </a:lnTo>
                  <a:lnTo>
                    <a:pt x="138" y="329"/>
                  </a:lnTo>
                  <a:lnTo>
                    <a:pt x="145" y="326"/>
                  </a:lnTo>
                  <a:lnTo>
                    <a:pt x="145" y="326"/>
                  </a:lnTo>
                  <a:lnTo>
                    <a:pt x="148" y="322"/>
                  </a:lnTo>
                  <a:lnTo>
                    <a:pt x="148" y="316"/>
                  </a:lnTo>
                  <a:lnTo>
                    <a:pt x="148" y="316"/>
                  </a:lnTo>
                  <a:lnTo>
                    <a:pt x="151" y="309"/>
                  </a:lnTo>
                  <a:lnTo>
                    <a:pt x="151" y="309"/>
                  </a:lnTo>
                  <a:lnTo>
                    <a:pt x="155" y="302"/>
                  </a:lnTo>
                  <a:lnTo>
                    <a:pt x="155" y="302"/>
                  </a:lnTo>
                  <a:lnTo>
                    <a:pt x="155" y="299"/>
                  </a:lnTo>
                  <a:lnTo>
                    <a:pt x="155" y="299"/>
                  </a:lnTo>
                  <a:lnTo>
                    <a:pt x="158" y="295"/>
                  </a:lnTo>
                  <a:lnTo>
                    <a:pt x="158" y="295"/>
                  </a:lnTo>
                  <a:lnTo>
                    <a:pt x="162" y="295"/>
                  </a:lnTo>
                  <a:lnTo>
                    <a:pt x="162" y="295"/>
                  </a:lnTo>
                  <a:lnTo>
                    <a:pt x="165" y="295"/>
                  </a:lnTo>
                  <a:lnTo>
                    <a:pt x="165" y="299"/>
                  </a:lnTo>
                  <a:lnTo>
                    <a:pt x="165" y="299"/>
                  </a:lnTo>
                  <a:lnTo>
                    <a:pt x="168" y="299"/>
                  </a:lnTo>
                  <a:lnTo>
                    <a:pt x="168" y="299"/>
                  </a:lnTo>
                  <a:lnTo>
                    <a:pt x="172" y="299"/>
                  </a:lnTo>
                  <a:lnTo>
                    <a:pt x="172" y="299"/>
                  </a:lnTo>
                  <a:lnTo>
                    <a:pt x="175" y="292"/>
                  </a:lnTo>
                  <a:lnTo>
                    <a:pt x="175" y="292"/>
                  </a:lnTo>
                  <a:lnTo>
                    <a:pt x="178" y="289"/>
                  </a:lnTo>
                  <a:lnTo>
                    <a:pt x="178" y="289"/>
                  </a:lnTo>
                  <a:lnTo>
                    <a:pt x="185" y="292"/>
                  </a:lnTo>
                  <a:lnTo>
                    <a:pt x="185" y="292"/>
                  </a:lnTo>
                  <a:lnTo>
                    <a:pt x="192" y="292"/>
                  </a:lnTo>
                  <a:lnTo>
                    <a:pt x="192" y="292"/>
                  </a:lnTo>
                  <a:lnTo>
                    <a:pt x="202" y="292"/>
                  </a:lnTo>
                  <a:lnTo>
                    <a:pt x="202" y="292"/>
                  </a:lnTo>
                  <a:lnTo>
                    <a:pt x="205" y="289"/>
                  </a:lnTo>
                  <a:lnTo>
                    <a:pt x="205" y="289"/>
                  </a:lnTo>
                  <a:lnTo>
                    <a:pt x="209" y="285"/>
                  </a:lnTo>
                  <a:lnTo>
                    <a:pt x="209" y="285"/>
                  </a:lnTo>
                  <a:lnTo>
                    <a:pt x="212" y="285"/>
                  </a:lnTo>
                  <a:lnTo>
                    <a:pt x="212" y="285"/>
                  </a:lnTo>
                  <a:lnTo>
                    <a:pt x="219" y="289"/>
                  </a:lnTo>
                  <a:lnTo>
                    <a:pt x="219" y="289"/>
                  </a:lnTo>
                  <a:lnTo>
                    <a:pt x="225" y="285"/>
                  </a:lnTo>
                  <a:lnTo>
                    <a:pt x="225" y="285"/>
                  </a:lnTo>
                  <a:lnTo>
                    <a:pt x="235" y="285"/>
                  </a:lnTo>
                  <a:lnTo>
                    <a:pt x="235" y="285"/>
                  </a:lnTo>
                  <a:lnTo>
                    <a:pt x="239" y="279"/>
                  </a:lnTo>
                  <a:lnTo>
                    <a:pt x="239" y="279"/>
                  </a:lnTo>
                  <a:lnTo>
                    <a:pt x="239" y="275"/>
                  </a:lnTo>
                  <a:lnTo>
                    <a:pt x="239" y="275"/>
                  </a:lnTo>
                  <a:lnTo>
                    <a:pt x="239" y="272"/>
                  </a:lnTo>
                  <a:lnTo>
                    <a:pt x="239" y="272"/>
                  </a:lnTo>
                  <a:lnTo>
                    <a:pt x="235" y="269"/>
                  </a:lnTo>
                  <a:lnTo>
                    <a:pt x="235" y="269"/>
                  </a:lnTo>
                  <a:lnTo>
                    <a:pt x="235" y="269"/>
                  </a:lnTo>
                  <a:lnTo>
                    <a:pt x="232" y="265"/>
                  </a:lnTo>
                  <a:lnTo>
                    <a:pt x="235" y="265"/>
                  </a:lnTo>
                  <a:lnTo>
                    <a:pt x="235" y="265"/>
                  </a:lnTo>
                  <a:lnTo>
                    <a:pt x="235" y="259"/>
                  </a:lnTo>
                  <a:lnTo>
                    <a:pt x="235" y="259"/>
                  </a:lnTo>
                  <a:lnTo>
                    <a:pt x="235" y="255"/>
                  </a:lnTo>
                  <a:lnTo>
                    <a:pt x="232" y="252"/>
                  </a:lnTo>
                  <a:lnTo>
                    <a:pt x="232" y="252"/>
                  </a:lnTo>
                  <a:lnTo>
                    <a:pt x="235" y="252"/>
                  </a:lnTo>
                  <a:lnTo>
                    <a:pt x="235" y="252"/>
                  </a:lnTo>
                  <a:lnTo>
                    <a:pt x="239" y="248"/>
                  </a:lnTo>
                  <a:lnTo>
                    <a:pt x="239" y="248"/>
                  </a:lnTo>
                  <a:lnTo>
                    <a:pt x="242" y="248"/>
                  </a:lnTo>
                  <a:lnTo>
                    <a:pt x="246" y="252"/>
                  </a:lnTo>
                  <a:lnTo>
                    <a:pt x="246" y="252"/>
                  </a:lnTo>
                  <a:lnTo>
                    <a:pt x="249" y="252"/>
                  </a:lnTo>
                  <a:lnTo>
                    <a:pt x="249" y="252"/>
                  </a:lnTo>
                  <a:lnTo>
                    <a:pt x="252" y="248"/>
                  </a:lnTo>
                  <a:lnTo>
                    <a:pt x="252" y="248"/>
                  </a:lnTo>
                  <a:lnTo>
                    <a:pt x="259" y="245"/>
                  </a:lnTo>
                  <a:lnTo>
                    <a:pt x="259" y="245"/>
                  </a:lnTo>
                  <a:lnTo>
                    <a:pt x="262" y="242"/>
                  </a:lnTo>
                  <a:lnTo>
                    <a:pt x="262" y="242"/>
                  </a:lnTo>
                  <a:lnTo>
                    <a:pt x="266" y="238"/>
                  </a:lnTo>
                  <a:lnTo>
                    <a:pt x="266" y="238"/>
                  </a:lnTo>
                  <a:lnTo>
                    <a:pt x="269" y="235"/>
                  </a:lnTo>
                  <a:lnTo>
                    <a:pt x="269" y="232"/>
                  </a:lnTo>
                  <a:lnTo>
                    <a:pt x="269" y="232"/>
                  </a:lnTo>
                  <a:lnTo>
                    <a:pt x="269" y="232"/>
                  </a:lnTo>
                  <a:lnTo>
                    <a:pt x="269" y="232"/>
                  </a:lnTo>
                  <a:lnTo>
                    <a:pt x="266" y="228"/>
                  </a:lnTo>
                  <a:lnTo>
                    <a:pt x="266" y="228"/>
                  </a:lnTo>
                  <a:lnTo>
                    <a:pt x="262" y="228"/>
                  </a:lnTo>
                  <a:lnTo>
                    <a:pt x="262" y="228"/>
                  </a:lnTo>
                  <a:lnTo>
                    <a:pt x="256" y="225"/>
                  </a:lnTo>
                  <a:lnTo>
                    <a:pt x="256" y="225"/>
                  </a:lnTo>
                  <a:lnTo>
                    <a:pt x="252" y="222"/>
                  </a:lnTo>
                  <a:lnTo>
                    <a:pt x="252" y="222"/>
                  </a:lnTo>
                  <a:lnTo>
                    <a:pt x="252" y="218"/>
                  </a:lnTo>
                  <a:lnTo>
                    <a:pt x="252" y="218"/>
                  </a:lnTo>
                  <a:lnTo>
                    <a:pt x="249" y="215"/>
                  </a:lnTo>
                  <a:lnTo>
                    <a:pt x="249" y="215"/>
                  </a:lnTo>
                  <a:lnTo>
                    <a:pt x="246" y="215"/>
                  </a:lnTo>
                  <a:lnTo>
                    <a:pt x="246" y="215"/>
                  </a:lnTo>
                  <a:lnTo>
                    <a:pt x="242" y="211"/>
                  </a:lnTo>
                  <a:lnTo>
                    <a:pt x="242" y="211"/>
                  </a:lnTo>
                  <a:lnTo>
                    <a:pt x="239" y="211"/>
                  </a:lnTo>
                  <a:lnTo>
                    <a:pt x="239" y="211"/>
                  </a:lnTo>
                  <a:lnTo>
                    <a:pt x="235" y="208"/>
                  </a:lnTo>
                  <a:lnTo>
                    <a:pt x="235" y="208"/>
                  </a:lnTo>
                  <a:lnTo>
                    <a:pt x="232" y="208"/>
                  </a:lnTo>
                  <a:lnTo>
                    <a:pt x="232" y="205"/>
                  </a:lnTo>
                  <a:lnTo>
                    <a:pt x="232" y="205"/>
                  </a:lnTo>
                  <a:lnTo>
                    <a:pt x="232" y="201"/>
                  </a:lnTo>
                  <a:lnTo>
                    <a:pt x="232" y="201"/>
                  </a:lnTo>
                  <a:lnTo>
                    <a:pt x="229" y="195"/>
                  </a:lnTo>
                  <a:lnTo>
                    <a:pt x="229" y="195"/>
                  </a:lnTo>
                  <a:lnTo>
                    <a:pt x="225" y="191"/>
                  </a:lnTo>
                  <a:lnTo>
                    <a:pt x="225" y="191"/>
                  </a:lnTo>
                  <a:lnTo>
                    <a:pt x="225" y="185"/>
                  </a:lnTo>
                  <a:lnTo>
                    <a:pt x="225" y="181"/>
                  </a:lnTo>
                  <a:lnTo>
                    <a:pt x="225" y="181"/>
                  </a:lnTo>
                  <a:lnTo>
                    <a:pt x="225" y="178"/>
                  </a:lnTo>
                  <a:lnTo>
                    <a:pt x="229" y="175"/>
                  </a:lnTo>
                  <a:lnTo>
                    <a:pt x="229" y="175"/>
                  </a:lnTo>
                  <a:lnTo>
                    <a:pt x="229" y="171"/>
                  </a:lnTo>
                  <a:lnTo>
                    <a:pt x="229" y="168"/>
                  </a:lnTo>
                  <a:lnTo>
                    <a:pt x="229" y="168"/>
                  </a:lnTo>
                  <a:lnTo>
                    <a:pt x="232" y="164"/>
                  </a:lnTo>
                  <a:lnTo>
                    <a:pt x="232" y="164"/>
                  </a:lnTo>
                  <a:lnTo>
                    <a:pt x="235" y="164"/>
                  </a:lnTo>
                  <a:lnTo>
                    <a:pt x="235" y="164"/>
                  </a:lnTo>
                  <a:lnTo>
                    <a:pt x="235" y="161"/>
                  </a:lnTo>
                  <a:lnTo>
                    <a:pt x="235" y="158"/>
                  </a:lnTo>
                  <a:lnTo>
                    <a:pt x="235" y="158"/>
                  </a:lnTo>
                  <a:lnTo>
                    <a:pt x="246" y="151"/>
                  </a:lnTo>
                  <a:lnTo>
                    <a:pt x="246" y="151"/>
                  </a:lnTo>
                  <a:lnTo>
                    <a:pt x="246" y="148"/>
                  </a:lnTo>
                  <a:lnTo>
                    <a:pt x="246" y="144"/>
                  </a:lnTo>
                  <a:lnTo>
                    <a:pt x="242" y="144"/>
                  </a:lnTo>
                  <a:lnTo>
                    <a:pt x="242" y="144"/>
                  </a:lnTo>
                  <a:lnTo>
                    <a:pt x="239" y="144"/>
                  </a:lnTo>
                  <a:lnTo>
                    <a:pt x="235" y="141"/>
                  </a:lnTo>
                  <a:lnTo>
                    <a:pt x="235" y="141"/>
                  </a:lnTo>
                  <a:lnTo>
                    <a:pt x="229" y="141"/>
                  </a:lnTo>
                  <a:lnTo>
                    <a:pt x="229" y="138"/>
                  </a:lnTo>
                  <a:lnTo>
                    <a:pt x="229" y="134"/>
                  </a:lnTo>
                  <a:lnTo>
                    <a:pt x="229" y="134"/>
                  </a:lnTo>
                  <a:lnTo>
                    <a:pt x="232" y="134"/>
                  </a:lnTo>
                  <a:lnTo>
                    <a:pt x="232" y="134"/>
                  </a:lnTo>
                  <a:lnTo>
                    <a:pt x="235" y="134"/>
                  </a:lnTo>
                  <a:lnTo>
                    <a:pt x="235" y="131"/>
                  </a:lnTo>
                  <a:lnTo>
                    <a:pt x="235" y="131"/>
                  </a:lnTo>
                  <a:lnTo>
                    <a:pt x="235" y="127"/>
                  </a:lnTo>
                  <a:lnTo>
                    <a:pt x="229" y="124"/>
                  </a:lnTo>
                  <a:lnTo>
                    <a:pt x="229" y="124"/>
                  </a:lnTo>
                  <a:lnTo>
                    <a:pt x="225" y="117"/>
                  </a:lnTo>
                  <a:lnTo>
                    <a:pt x="222" y="114"/>
                  </a:lnTo>
                  <a:lnTo>
                    <a:pt x="222" y="114"/>
                  </a:lnTo>
                  <a:lnTo>
                    <a:pt x="215" y="117"/>
                  </a:lnTo>
                  <a:lnTo>
                    <a:pt x="212" y="124"/>
                  </a:lnTo>
                  <a:lnTo>
                    <a:pt x="212" y="124"/>
                  </a:lnTo>
                  <a:lnTo>
                    <a:pt x="209" y="127"/>
                  </a:lnTo>
                  <a:lnTo>
                    <a:pt x="209" y="131"/>
                  </a:lnTo>
                  <a:lnTo>
                    <a:pt x="209" y="134"/>
                  </a:lnTo>
                  <a:lnTo>
                    <a:pt x="209" y="134"/>
                  </a:lnTo>
                  <a:lnTo>
                    <a:pt x="209" y="138"/>
                  </a:lnTo>
                  <a:lnTo>
                    <a:pt x="205" y="134"/>
                  </a:lnTo>
                  <a:lnTo>
                    <a:pt x="205" y="127"/>
                  </a:lnTo>
                  <a:lnTo>
                    <a:pt x="205" y="127"/>
                  </a:lnTo>
                  <a:lnTo>
                    <a:pt x="202" y="124"/>
                  </a:lnTo>
                  <a:lnTo>
                    <a:pt x="202" y="124"/>
                  </a:lnTo>
                  <a:lnTo>
                    <a:pt x="202" y="124"/>
                  </a:lnTo>
                  <a:lnTo>
                    <a:pt x="198" y="121"/>
                  </a:lnTo>
                  <a:lnTo>
                    <a:pt x="192" y="117"/>
                  </a:lnTo>
                  <a:lnTo>
                    <a:pt x="192" y="117"/>
                  </a:lnTo>
                  <a:lnTo>
                    <a:pt x="188" y="114"/>
                  </a:lnTo>
                  <a:lnTo>
                    <a:pt x="185" y="111"/>
                  </a:lnTo>
                  <a:lnTo>
                    <a:pt x="185" y="111"/>
                  </a:lnTo>
                  <a:lnTo>
                    <a:pt x="182" y="114"/>
                  </a:lnTo>
                  <a:lnTo>
                    <a:pt x="178" y="111"/>
                  </a:lnTo>
                  <a:lnTo>
                    <a:pt x="178" y="111"/>
                  </a:lnTo>
                  <a:lnTo>
                    <a:pt x="175" y="111"/>
                  </a:lnTo>
                  <a:lnTo>
                    <a:pt x="175" y="104"/>
                  </a:lnTo>
                  <a:lnTo>
                    <a:pt x="175" y="104"/>
                  </a:lnTo>
                  <a:lnTo>
                    <a:pt x="178" y="104"/>
                  </a:lnTo>
                  <a:lnTo>
                    <a:pt x="182" y="101"/>
                  </a:lnTo>
                  <a:lnTo>
                    <a:pt x="185" y="97"/>
                  </a:lnTo>
                  <a:lnTo>
                    <a:pt x="185" y="97"/>
                  </a:lnTo>
                  <a:lnTo>
                    <a:pt x="178" y="97"/>
                  </a:lnTo>
                  <a:lnTo>
                    <a:pt x="175" y="97"/>
                  </a:lnTo>
                  <a:lnTo>
                    <a:pt x="175" y="97"/>
                  </a:lnTo>
                  <a:lnTo>
                    <a:pt x="178" y="94"/>
                  </a:lnTo>
                  <a:lnTo>
                    <a:pt x="182" y="90"/>
                  </a:lnTo>
                  <a:lnTo>
                    <a:pt x="182" y="90"/>
                  </a:lnTo>
                  <a:lnTo>
                    <a:pt x="175" y="84"/>
                  </a:lnTo>
                  <a:lnTo>
                    <a:pt x="175" y="84"/>
                  </a:lnTo>
                  <a:lnTo>
                    <a:pt x="175" y="80"/>
                  </a:lnTo>
                  <a:lnTo>
                    <a:pt x="172" y="77"/>
                  </a:lnTo>
                  <a:lnTo>
                    <a:pt x="172" y="77"/>
                  </a:lnTo>
                  <a:lnTo>
                    <a:pt x="172" y="77"/>
                  </a:lnTo>
                  <a:lnTo>
                    <a:pt x="165" y="74"/>
                  </a:lnTo>
                  <a:lnTo>
                    <a:pt x="162" y="70"/>
                  </a:lnTo>
                  <a:lnTo>
                    <a:pt x="162" y="70"/>
                  </a:lnTo>
                  <a:lnTo>
                    <a:pt x="151" y="60"/>
                  </a:lnTo>
                  <a:lnTo>
                    <a:pt x="151" y="60"/>
                  </a:lnTo>
                  <a:lnTo>
                    <a:pt x="148" y="54"/>
                  </a:lnTo>
                  <a:lnTo>
                    <a:pt x="148" y="54"/>
                  </a:lnTo>
                  <a:lnTo>
                    <a:pt x="141" y="50"/>
                  </a:lnTo>
                  <a:lnTo>
                    <a:pt x="141" y="47"/>
                  </a:lnTo>
                  <a:lnTo>
                    <a:pt x="138" y="40"/>
                  </a:lnTo>
                  <a:lnTo>
                    <a:pt x="138" y="40"/>
                  </a:lnTo>
                  <a:lnTo>
                    <a:pt x="138" y="30"/>
                  </a:lnTo>
                  <a:lnTo>
                    <a:pt x="138" y="27"/>
                  </a:lnTo>
                  <a:lnTo>
                    <a:pt x="138" y="27"/>
                  </a:lnTo>
                  <a:lnTo>
                    <a:pt x="135" y="27"/>
                  </a:lnTo>
                  <a:lnTo>
                    <a:pt x="135" y="30"/>
                  </a:lnTo>
                  <a:lnTo>
                    <a:pt x="135" y="30"/>
                  </a:lnTo>
                  <a:lnTo>
                    <a:pt x="131" y="30"/>
                  </a:lnTo>
                  <a:lnTo>
                    <a:pt x="128" y="27"/>
                  </a:lnTo>
                  <a:lnTo>
                    <a:pt x="128" y="20"/>
                  </a:lnTo>
                  <a:lnTo>
                    <a:pt x="128" y="20"/>
                  </a:lnTo>
                  <a:lnTo>
                    <a:pt x="121" y="17"/>
                  </a:lnTo>
                  <a:lnTo>
                    <a:pt x="118" y="13"/>
                  </a:lnTo>
                  <a:lnTo>
                    <a:pt x="118" y="13"/>
                  </a:lnTo>
                  <a:lnTo>
                    <a:pt x="111" y="0"/>
                  </a:lnTo>
                  <a:lnTo>
                    <a:pt x="111" y="0"/>
                  </a:lnTo>
                  <a:lnTo>
                    <a:pt x="108" y="0"/>
                  </a:lnTo>
                  <a:lnTo>
                    <a:pt x="108" y="0"/>
                  </a:lnTo>
                  <a:lnTo>
                    <a:pt x="101" y="3"/>
                  </a:lnTo>
                  <a:lnTo>
                    <a:pt x="101" y="3"/>
                  </a:lnTo>
                  <a:lnTo>
                    <a:pt x="94" y="3"/>
                  </a:lnTo>
                  <a:lnTo>
                    <a:pt x="91" y="3"/>
                  </a:lnTo>
                  <a:lnTo>
                    <a:pt x="91" y="3"/>
                  </a:lnTo>
                  <a:lnTo>
                    <a:pt x="88" y="3"/>
                  </a:lnTo>
                  <a:lnTo>
                    <a:pt x="81" y="3"/>
                  </a:lnTo>
                  <a:lnTo>
                    <a:pt x="81" y="3"/>
                  </a:lnTo>
                  <a:lnTo>
                    <a:pt x="77" y="3"/>
                  </a:lnTo>
                  <a:lnTo>
                    <a:pt x="74" y="6"/>
                  </a:lnTo>
                  <a:lnTo>
                    <a:pt x="74" y="6"/>
                  </a:lnTo>
                  <a:lnTo>
                    <a:pt x="71" y="10"/>
                  </a:lnTo>
                  <a:lnTo>
                    <a:pt x="67" y="13"/>
                  </a:lnTo>
                  <a:lnTo>
                    <a:pt x="67" y="13"/>
                  </a:lnTo>
                  <a:lnTo>
                    <a:pt x="61" y="20"/>
                  </a:lnTo>
                  <a:lnTo>
                    <a:pt x="61" y="20"/>
                  </a:lnTo>
                  <a:lnTo>
                    <a:pt x="57" y="20"/>
                  </a:lnTo>
                  <a:lnTo>
                    <a:pt x="54" y="20"/>
                  </a:lnTo>
                  <a:lnTo>
                    <a:pt x="54" y="20"/>
                  </a:lnTo>
                  <a:lnTo>
                    <a:pt x="54" y="20"/>
                  </a:lnTo>
                  <a:lnTo>
                    <a:pt x="51" y="23"/>
                  </a:lnTo>
                  <a:lnTo>
                    <a:pt x="47" y="27"/>
                  </a:lnTo>
                  <a:lnTo>
                    <a:pt x="47" y="27"/>
                  </a:lnTo>
                  <a:lnTo>
                    <a:pt x="44" y="27"/>
                  </a:lnTo>
                  <a:lnTo>
                    <a:pt x="41" y="30"/>
                  </a:lnTo>
                  <a:lnTo>
                    <a:pt x="41" y="30"/>
                  </a:lnTo>
                  <a:lnTo>
                    <a:pt x="30" y="37"/>
                  </a:lnTo>
                  <a:lnTo>
                    <a:pt x="30" y="37"/>
                  </a:lnTo>
                  <a:lnTo>
                    <a:pt x="34" y="40"/>
                  </a:lnTo>
                  <a:lnTo>
                    <a:pt x="34" y="40"/>
                  </a:lnTo>
                  <a:lnTo>
                    <a:pt x="34" y="40"/>
                  </a:lnTo>
                  <a:lnTo>
                    <a:pt x="34" y="40"/>
                  </a:lnTo>
                  <a:lnTo>
                    <a:pt x="37" y="43"/>
                  </a:lnTo>
                  <a:lnTo>
                    <a:pt x="34" y="47"/>
                  </a:lnTo>
                  <a:lnTo>
                    <a:pt x="34" y="47"/>
                  </a:lnTo>
                  <a:lnTo>
                    <a:pt x="34" y="50"/>
                  </a:lnTo>
                  <a:lnTo>
                    <a:pt x="34" y="54"/>
                  </a:lnTo>
                  <a:lnTo>
                    <a:pt x="34" y="54"/>
                  </a:lnTo>
                  <a:lnTo>
                    <a:pt x="37" y="54"/>
                  </a:lnTo>
                  <a:lnTo>
                    <a:pt x="37" y="54"/>
                  </a:lnTo>
                  <a:lnTo>
                    <a:pt x="41" y="54"/>
                  </a:lnTo>
                  <a:lnTo>
                    <a:pt x="41" y="54"/>
                  </a:lnTo>
                  <a:lnTo>
                    <a:pt x="44" y="54"/>
                  </a:lnTo>
                  <a:lnTo>
                    <a:pt x="44" y="54"/>
                  </a:lnTo>
                  <a:lnTo>
                    <a:pt x="44" y="57"/>
                  </a:lnTo>
                  <a:lnTo>
                    <a:pt x="44" y="57"/>
                  </a:lnTo>
                  <a:lnTo>
                    <a:pt x="44" y="57"/>
                  </a:lnTo>
                  <a:lnTo>
                    <a:pt x="41" y="60"/>
                  </a:lnTo>
                  <a:lnTo>
                    <a:pt x="41" y="60"/>
                  </a:lnTo>
                  <a:lnTo>
                    <a:pt x="41" y="60"/>
                  </a:lnTo>
                  <a:lnTo>
                    <a:pt x="41" y="60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1" y="64"/>
                  </a:lnTo>
                  <a:lnTo>
                    <a:pt x="41" y="64"/>
                  </a:lnTo>
                  <a:lnTo>
                    <a:pt x="41" y="64"/>
                  </a:lnTo>
                  <a:lnTo>
                    <a:pt x="44" y="67"/>
                  </a:lnTo>
                  <a:lnTo>
                    <a:pt x="44" y="67"/>
                  </a:lnTo>
                  <a:lnTo>
                    <a:pt x="47" y="67"/>
                  </a:lnTo>
                  <a:lnTo>
                    <a:pt x="47" y="67"/>
                  </a:lnTo>
                  <a:lnTo>
                    <a:pt x="51" y="70"/>
                  </a:lnTo>
                  <a:lnTo>
                    <a:pt x="51" y="70"/>
                  </a:lnTo>
                  <a:lnTo>
                    <a:pt x="54" y="74"/>
                  </a:lnTo>
                  <a:lnTo>
                    <a:pt x="54" y="74"/>
                  </a:lnTo>
                  <a:lnTo>
                    <a:pt x="57" y="70"/>
                  </a:lnTo>
                  <a:lnTo>
                    <a:pt x="61" y="70"/>
                  </a:lnTo>
                  <a:lnTo>
                    <a:pt x="61" y="70"/>
                  </a:lnTo>
                  <a:lnTo>
                    <a:pt x="61" y="74"/>
                  </a:lnTo>
                  <a:lnTo>
                    <a:pt x="61" y="74"/>
                  </a:lnTo>
                  <a:lnTo>
                    <a:pt x="61" y="74"/>
                  </a:lnTo>
                  <a:lnTo>
                    <a:pt x="61" y="74"/>
                  </a:lnTo>
                  <a:lnTo>
                    <a:pt x="57" y="74"/>
                  </a:lnTo>
                  <a:lnTo>
                    <a:pt x="57" y="74"/>
                  </a:lnTo>
                  <a:lnTo>
                    <a:pt x="54" y="77"/>
                  </a:lnTo>
                  <a:lnTo>
                    <a:pt x="54" y="77"/>
                  </a:lnTo>
                  <a:lnTo>
                    <a:pt x="47" y="77"/>
                  </a:lnTo>
                  <a:lnTo>
                    <a:pt x="47" y="77"/>
                  </a:lnTo>
                  <a:lnTo>
                    <a:pt x="47" y="80"/>
                  </a:lnTo>
                  <a:lnTo>
                    <a:pt x="47" y="80"/>
                  </a:lnTo>
                  <a:lnTo>
                    <a:pt x="47" y="80"/>
                  </a:lnTo>
                  <a:lnTo>
                    <a:pt x="47" y="80"/>
                  </a:lnTo>
                  <a:lnTo>
                    <a:pt x="47" y="84"/>
                  </a:lnTo>
                  <a:lnTo>
                    <a:pt x="47" y="87"/>
                  </a:lnTo>
                  <a:lnTo>
                    <a:pt x="47" y="87"/>
                  </a:lnTo>
                  <a:lnTo>
                    <a:pt x="47" y="94"/>
                  </a:lnTo>
                  <a:lnTo>
                    <a:pt x="47" y="97"/>
                  </a:lnTo>
                  <a:lnTo>
                    <a:pt x="51" y="97"/>
                  </a:lnTo>
                  <a:lnTo>
                    <a:pt x="51" y="97"/>
                  </a:lnTo>
                  <a:lnTo>
                    <a:pt x="51" y="97"/>
                  </a:lnTo>
                  <a:lnTo>
                    <a:pt x="54" y="97"/>
                  </a:lnTo>
                  <a:lnTo>
                    <a:pt x="54" y="97"/>
                  </a:lnTo>
                  <a:lnTo>
                    <a:pt x="51" y="101"/>
                  </a:lnTo>
                  <a:lnTo>
                    <a:pt x="51" y="104"/>
                  </a:lnTo>
                  <a:lnTo>
                    <a:pt x="51" y="104"/>
                  </a:lnTo>
                  <a:lnTo>
                    <a:pt x="54" y="101"/>
                  </a:lnTo>
                  <a:lnTo>
                    <a:pt x="57" y="97"/>
                  </a:lnTo>
                  <a:lnTo>
                    <a:pt x="57" y="97"/>
                  </a:lnTo>
                  <a:lnTo>
                    <a:pt x="61" y="101"/>
                  </a:lnTo>
                  <a:lnTo>
                    <a:pt x="67" y="101"/>
                  </a:lnTo>
                  <a:lnTo>
                    <a:pt x="67" y="101"/>
                  </a:lnTo>
                  <a:lnTo>
                    <a:pt x="64" y="111"/>
                  </a:lnTo>
                  <a:lnTo>
                    <a:pt x="64" y="111"/>
                  </a:lnTo>
                  <a:lnTo>
                    <a:pt x="57" y="114"/>
                  </a:lnTo>
                  <a:lnTo>
                    <a:pt x="57" y="114"/>
                  </a:lnTo>
                  <a:lnTo>
                    <a:pt x="57" y="121"/>
                  </a:lnTo>
                  <a:lnTo>
                    <a:pt x="57" y="121"/>
                  </a:lnTo>
                  <a:lnTo>
                    <a:pt x="57" y="127"/>
                  </a:lnTo>
                  <a:lnTo>
                    <a:pt x="57" y="127"/>
                  </a:lnTo>
                  <a:lnTo>
                    <a:pt x="54" y="131"/>
                  </a:lnTo>
                  <a:lnTo>
                    <a:pt x="54" y="134"/>
                  </a:lnTo>
                  <a:lnTo>
                    <a:pt x="54" y="134"/>
                  </a:lnTo>
                  <a:lnTo>
                    <a:pt x="57" y="138"/>
                  </a:lnTo>
                  <a:lnTo>
                    <a:pt x="57" y="138"/>
                  </a:lnTo>
                  <a:lnTo>
                    <a:pt x="61" y="144"/>
                  </a:lnTo>
                  <a:lnTo>
                    <a:pt x="61" y="144"/>
                  </a:lnTo>
                  <a:lnTo>
                    <a:pt x="61" y="148"/>
                  </a:lnTo>
                  <a:lnTo>
                    <a:pt x="61" y="148"/>
                  </a:lnTo>
                  <a:lnTo>
                    <a:pt x="64" y="151"/>
                  </a:lnTo>
                  <a:lnTo>
                    <a:pt x="64" y="151"/>
                  </a:lnTo>
                  <a:lnTo>
                    <a:pt x="67" y="158"/>
                  </a:lnTo>
                  <a:lnTo>
                    <a:pt x="67" y="158"/>
                  </a:lnTo>
                  <a:lnTo>
                    <a:pt x="64" y="161"/>
                  </a:lnTo>
                  <a:lnTo>
                    <a:pt x="64" y="161"/>
                  </a:lnTo>
                  <a:lnTo>
                    <a:pt x="64" y="161"/>
                  </a:lnTo>
                  <a:lnTo>
                    <a:pt x="57" y="164"/>
                  </a:lnTo>
                  <a:lnTo>
                    <a:pt x="57" y="164"/>
                  </a:lnTo>
                  <a:lnTo>
                    <a:pt x="54" y="164"/>
                  </a:lnTo>
                  <a:lnTo>
                    <a:pt x="54" y="164"/>
                  </a:lnTo>
                  <a:lnTo>
                    <a:pt x="51" y="161"/>
                  </a:lnTo>
                  <a:lnTo>
                    <a:pt x="51" y="161"/>
                  </a:lnTo>
                  <a:lnTo>
                    <a:pt x="47" y="161"/>
                  </a:lnTo>
                  <a:lnTo>
                    <a:pt x="44" y="158"/>
                  </a:lnTo>
                  <a:lnTo>
                    <a:pt x="44" y="161"/>
                  </a:lnTo>
                  <a:lnTo>
                    <a:pt x="44" y="161"/>
                  </a:lnTo>
                  <a:lnTo>
                    <a:pt x="51" y="168"/>
                  </a:lnTo>
                  <a:lnTo>
                    <a:pt x="51" y="168"/>
                  </a:lnTo>
                  <a:lnTo>
                    <a:pt x="54" y="175"/>
                  </a:lnTo>
                  <a:lnTo>
                    <a:pt x="54" y="175"/>
                  </a:lnTo>
                  <a:lnTo>
                    <a:pt x="57" y="178"/>
                  </a:lnTo>
                  <a:lnTo>
                    <a:pt x="57" y="178"/>
                  </a:lnTo>
                  <a:lnTo>
                    <a:pt x="64" y="181"/>
                  </a:lnTo>
                  <a:lnTo>
                    <a:pt x="64" y="181"/>
                  </a:lnTo>
                  <a:lnTo>
                    <a:pt x="67" y="181"/>
                  </a:lnTo>
                  <a:lnTo>
                    <a:pt x="67" y="181"/>
                  </a:lnTo>
                  <a:lnTo>
                    <a:pt x="67" y="188"/>
                  </a:lnTo>
                  <a:lnTo>
                    <a:pt x="67" y="188"/>
                  </a:lnTo>
                  <a:lnTo>
                    <a:pt x="67" y="188"/>
                  </a:lnTo>
                  <a:lnTo>
                    <a:pt x="64" y="191"/>
                  </a:lnTo>
                  <a:lnTo>
                    <a:pt x="61" y="191"/>
                  </a:lnTo>
                  <a:lnTo>
                    <a:pt x="61" y="191"/>
                  </a:lnTo>
                  <a:lnTo>
                    <a:pt x="57" y="188"/>
                  </a:lnTo>
                  <a:lnTo>
                    <a:pt x="57" y="188"/>
                  </a:lnTo>
                  <a:lnTo>
                    <a:pt x="54" y="188"/>
                  </a:lnTo>
                  <a:lnTo>
                    <a:pt x="47" y="188"/>
                  </a:lnTo>
                  <a:lnTo>
                    <a:pt x="47" y="188"/>
                  </a:lnTo>
                  <a:lnTo>
                    <a:pt x="47" y="191"/>
                  </a:lnTo>
                  <a:lnTo>
                    <a:pt x="47" y="195"/>
                  </a:lnTo>
                  <a:lnTo>
                    <a:pt x="47" y="195"/>
                  </a:lnTo>
                  <a:lnTo>
                    <a:pt x="41" y="198"/>
                  </a:lnTo>
                  <a:lnTo>
                    <a:pt x="41" y="198"/>
                  </a:lnTo>
                  <a:lnTo>
                    <a:pt x="37" y="201"/>
                  </a:lnTo>
                  <a:lnTo>
                    <a:pt x="37" y="201"/>
                  </a:lnTo>
                  <a:lnTo>
                    <a:pt x="34" y="198"/>
                  </a:lnTo>
                  <a:lnTo>
                    <a:pt x="34" y="198"/>
                  </a:lnTo>
                  <a:lnTo>
                    <a:pt x="34" y="198"/>
                  </a:lnTo>
                  <a:lnTo>
                    <a:pt x="30" y="198"/>
                  </a:lnTo>
                  <a:lnTo>
                    <a:pt x="30" y="201"/>
                  </a:lnTo>
                  <a:lnTo>
                    <a:pt x="30" y="201"/>
                  </a:lnTo>
                  <a:lnTo>
                    <a:pt x="37" y="208"/>
                  </a:lnTo>
                  <a:lnTo>
                    <a:pt x="37" y="208"/>
                  </a:lnTo>
                  <a:lnTo>
                    <a:pt x="37" y="211"/>
                  </a:lnTo>
                  <a:lnTo>
                    <a:pt x="37" y="211"/>
                  </a:lnTo>
                  <a:lnTo>
                    <a:pt x="37" y="215"/>
                  </a:lnTo>
                  <a:lnTo>
                    <a:pt x="34" y="218"/>
                  </a:lnTo>
                  <a:lnTo>
                    <a:pt x="34" y="218"/>
                  </a:lnTo>
                  <a:lnTo>
                    <a:pt x="30" y="215"/>
                  </a:lnTo>
                  <a:lnTo>
                    <a:pt x="30" y="215"/>
                  </a:lnTo>
                  <a:lnTo>
                    <a:pt x="24" y="211"/>
                  </a:lnTo>
                  <a:lnTo>
                    <a:pt x="24" y="211"/>
                  </a:lnTo>
                  <a:lnTo>
                    <a:pt x="20" y="211"/>
                  </a:lnTo>
                  <a:lnTo>
                    <a:pt x="17" y="215"/>
                  </a:lnTo>
                  <a:lnTo>
                    <a:pt x="17" y="215"/>
                  </a:lnTo>
                  <a:lnTo>
                    <a:pt x="10" y="215"/>
                  </a:lnTo>
                  <a:lnTo>
                    <a:pt x="10" y="215"/>
                  </a:lnTo>
                  <a:lnTo>
                    <a:pt x="14" y="222"/>
                  </a:lnTo>
                  <a:lnTo>
                    <a:pt x="14" y="222"/>
                  </a:lnTo>
                  <a:lnTo>
                    <a:pt x="10" y="225"/>
                  </a:lnTo>
                  <a:lnTo>
                    <a:pt x="10" y="228"/>
                  </a:lnTo>
                  <a:lnTo>
                    <a:pt x="10" y="228"/>
                  </a:lnTo>
                  <a:lnTo>
                    <a:pt x="10" y="228"/>
                  </a:lnTo>
                  <a:lnTo>
                    <a:pt x="7" y="232"/>
                  </a:lnTo>
                  <a:lnTo>
                    <a:pt x="7" y="232"/>
                  </a:lnTo>
                  <a:lnTo>
                    <a:pt x="4" y="232"/>
                  </a:lnTo>
                  <a:lnTo>
                    <a:pt x="4" y="232"/>
                  </a:lnTo>
                  <a:lnTo>
                    <a:pt x="4" y="235"/>
                  </a:lnTo>
                  <a:lnTo>
                    <a:pt x="0" y="238"/>
                  </a:lnTo>
                  <a:lnTo>
                    <a:pt x="0" y="238"/>
                  </a:lnTo>
                  <a:lnTo>
                    <a:pt x="0" y="245"/>
                  </a:lnTo>
                  <a:lnTo>
                    <a:pt x="0" y="245"/>
                  </a:lnTo>
                  <a:lnTo>
                    <a:pt x="4" y="252"/>
                  </a:lnTo>
                  <a:lnTo>
                    <a:pt x="4" y="252"/>
                  </a:lnTo>
                  <a:lnTo>
                    <a:pt x="7" y="255"/>
                  </a:lnTo>
                  <a:lnTo>
                    <a:pt x="7" y="255"/>
                  </a:lnTo>
                  <a:lnTo>
                    <a:pt x="10" y="265"/>
                  </a:lnTo>
                  <a:lnTo>
                    <a:pt x="10" y="269"/>
                  </a:lnTo>
                  <a:close/>
                </a:path>
              </a:pathLst>
            </a:custGeom>
            <a:solidFill>
              <a:srgbClr val="C0C0C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EYInterstate" pitchFamily="2" charset="0"/>
                <a:cs typeface="Arial" charset="0"/>
              </a:endParaRPr>
            </a:p>
          </p:txBody>
        </p:sp>
        <p:sp>
          <p:nvSpPr>
            <p:cNvPr id="15" name="Freeform 29"/>
            <p:cNvSpPr>
              <a:spLocks/>
            </p:cNvSpPr>
            <p:nvPr/>
          </p:nvSpPr>
          <p:spPr bwMode="auto">
            <a:xfrm>
              <a:off x="3995" y="2855"/>
              <a:ext cx="0" cy="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0C0C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EYInterstate" pitchFamily="2" charset="0"/>
                <a:cs typeface="Arial" charset="0"/>
              </a:endParaRPr>
            </a:p>
          </p:txBody>
        </p:sp>
        <p:sp>
          <p:nvSpPr>
            <p:cNvPr id="16" name="Freeform 30"/>
            <p:cNvSpPr>
              <a:spLocks/>
            </p:cNvSpPr>
            <p:nvPr/>
          </p:nvSpPr>
          <p:spPr bwMode="auto">
            <a:xfrm>
              <a:off x="4094" y="2855"/>
              <a:ext cx="3" cy="3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0" y="0"/>
                </a:cxn>
                <a:cxn ang="0">
                  <a:pos x="4" y="3"/>
                </a:cxn>
                <a:cxn ang="0">
                  <a:pos x="4" y="3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</a:cxnLst>
              <a:rect l="0" t="0" r="r" b="b"/>
              <a:pathLst>
                <a:path w="4" h="3">
                  <a:moveTo>
                    <a:pt x="4" y="0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C0C0C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EYInterstate" pitchFamily="2" charset="0"/>
                <a:cs typeface="Arial" charset="0"/>
              </a:endParaRPr>
            </a:p>
          </p:txBody>
        </p:sp>
        <p:sp>
          <p:nvSpPr>
            <p:cNvPr id="17" name="Freeform 31"/>
            <p:cNvSpPr>
              <a:spLocks/>
            </p:cNvSpPr>
            <p:nvPr/>
          </p:nvSpPr>
          <p:spPr bwMode="auto">
            <a:xfrm>
              <a:off x="3457" y="2423"/>
              <a:ext cx="863" cy="539"/>
            </a:xfrm>
            <a:custGeom>
              <a:avLst/>
              <a:gdLst/>
              <a:ahLst/>
              <a:cxnLst>
                <a:cxn ang="0">
                  <a:pos x="313" y="91"/>
                </a:cxn>
                <a:cxn ang="0">
                  <a:pos x="286" y="84"/>
                </a:cxn>
                <a:cxn ang="0">
                  <a:pos x="235" y="94"/>
                </a:cxn>
                <a:cxn ang="0">
                  <a:pos x="172" y="84"/>
                </a:cxn>
                <a:cxn ang="0">
                  <a:pos x="81" y="101"/>
                </a:cxn>
                <a:cxn ang="0">
                  <a:pos x="57" y="111"/>
                </a:cxn>
                <a:cxn ang="0">
                  <a:pos x="74" y="165"/>
                </a:cxn>
                <a:cxn ang="0">
                  <a:pos x="51" y="222"/>
                </a:cxn>
                <a:cxn ang="0">
                  <a:pos x="34" y="296"/>
                </a:cxn>
                <a:cxn ang="0">
                  <a:pos x="4" y="330"/>
                </a:cxn>
                <a:cxn ang="0">
                  <a:pos x="24" y="363"/>
                </a:cxn>
                <a:cxn ang="0">
                  <a:pos x="54" y="370"/>
                </a:cxn>
                <a:cxn ang="0">
                  <a:pos x="88" y="373"/>
                </a:cxn>
                <a:cxn ang="0">
                  <a:pos x="141" y="377"/>
                </a:cxn>
                <a:cxn ang="0">
                  <a:pos x="175" y="373"/>
                </a:cxn>
                <a:cxn ang="0">
                  <a:pos x="222" y="333"/>
                </a:cxn>
                <a:cxn ang="0">
                  <a:pos x="276" y="320"/>
                </a:cxn>
                <a:cxn ang="0">
                  <a:pos x="319" y="336"/>
                </a:cxn>
                <a:cxn ang="0">
                  <a:pos x="350" y="360"/>
                </a:cxn>
                <a:cxn ang="0">
                  <a:pos x="373" y="390"/>
                </a:cxn>
                <a:cxn ang="0">
                  <a:pos x="387" y="430"/>
                </a:cxn>
                <a:cxn ang="0">
                  <a:pos x="387" y="457"/>
                </a:cxn>
                <a:cxn ang="0">
                  <a:pos x="363" y="451"/>
                </a:cxn>
                <a:cxn ang="0">
                  <a:pos x="343" y="478"/>
                </a:cxn>
                <a:cxn ang="0">
                  <a:pos x="333" y="528"/>
                </a:cxn>
                <a:cxn ang="0">
                  <a:pos x="346" y="548"/>
                </a:cxn>
                <a:cxn ang="0">
                  <a:pos x="383" y="535"/>
                </a:cxn>
                <a:cxn ang="0">
                  <a:pos x="424" y="488"/>
                </a:cxn>
                <a:cxn ang="0">
                  <a:pos x="461" y="437"/>
                </a:cxn>
                <a:cxn ang="0">
                  <a:pos x="481" y="430"/>
                </a:cxn>
                <a:cxn ang="0">
                  <a:pos x="498" y="427"/>
                </a:cxn>
                <a:cxn ang="0">
                  <a:pos x="491" y="454"/>
                </a:cxn>
                <a:cxn ang="0">
                  <a:pos x="551" y="461"/>
                </a:cxn>
                <a:cxn ang="0">
                  <a:pos x="561" y="451"/>
                </a:cxn>
                <a:cxn ang="0">
                  <a:pos x="595" y="464"/>
                </a:cxn>
                <a:cxn ang="0">
                  <a:pos x="558" y="491"/>
                </a:cxn>
                <a:cxn ang="0">
                  <a:pos x="572" y="525"/>
                </a:cxn>
                <a:cxn ang="0">
                  <a:pos x="605" y="572"/>
                </a:cxn>
                <a:cxn ang="0">
                  <a:pos x="645" y="545"/>
                </a:cxn>
                <a:cxn ang="0">
                  <a:pos x="706" y="504"/>
                </a:cxn>
                <a:cxn ang="0">
                  <a:pos x="703" y="474"/>
                </a:cxn>
                <a:cxn ang="0">
                  <a:pos x="659" y="478"/>
                </a:cxn>
                <a:cxn ang="0">
                  <a:pos x="645" y="464"/>
                </a:cxn>
                <a:cxn ang="0">
                  <a:pos x="612" y="451"/>
                </a:cxn>
                <a:cxn ang="0">
                  <a:pos x="598" y="434"/>
                </a:cxn>
                <a:cxn ang="0">
                  <a:pos x="656" y="404"/>
                </a:cxn>
                <a:cxn ang="0">
                  <a:pos x="723" y="363"/>
                </a:cxn>
                <a:cxn ang="0">
                  <a:pos x="760" y="326"/>
                </a:cxn>
                <a:cxn ang="0">
                  <a:pos x="797" y="286"/>
                </a:cxn>
                <a:cxn ang="0">
                  <a:pos x="854" y="236"/>
                </a:cxn>
                <a:cxn ang="0">
                  <a:pos x="837" y="188"/>
                </a:cxn>
                <a:cxn ang="0">
                  <a:pos x="834" y="158"/>
                </a:cxn>
                <a:cxn ang="0">
                  <a:pos x="830" y="118"/>
                </a:cxn>
                <a:cxn ang="0">
                  <a:pos x="753" y="101"/>
                </a:cxn>
                <a:cxn ang="0">
                  <a:pos x="716" y="84"/>
                </a:cxn>
                <a:cxn ang="0">
                  <a:pos x="666" y="108"/>
                </a:cxn>
                <a:cxn ang="0">
                  <a:pos x="612" y="84"/>
                </a:cxn>
                <a:cxn ang="0">
                  <a:pos x="565" y="61"/>
                </a:cxn>
                <a:cxn ang="0">
                  <a:pos x="541" y="24"/>
                </a:cxn>
                <a:cxn ang="0">
                  <a:pos x="508" y="7"/>
                </a:cxn>
                <a:cxn ang="0">
                  <a:pos x="451" y="24"/>
                </a:cxn>
                <a:cxn ang="0">
                  <a:pos x="407" y="34"/>
                </a:cxn>
                <a:cxn ang="0">
                  <a:pos x="377" y="81"/>
                </a:cxn>
              </a:cxnLst>
              <a:rect l="0" t="0" r="r" b="b"/>
              <a:pathLst>
                <a:path w="861" h="575">
                  <a:moveTo>
                    <a:pt x="370" y="94"/>
                  </a:moveTo>
                  <a:lnTo>
                    <a:pt x="370" y="94"/>
                  </a:lnTo>
                  <a:lnTo>
                    <a:pt x="360" y="84"/>
                  </a:lnTo>
                  <a:lnTo>
                    <a:pt x="360" y="84"/>
                  </a:lnTo>
                  <a:lnTo>
                    <a:pt x="356" y="81"/>
                  </a:lnTo>
                  <a:lnTo>
                    <a:pt x="346" y="84"/>
                  </a:lnTo>
                  <a:lnTo>
                    <a:pt x="336" y="84"/>
                  </a:lnTo>
                  <a:lnTo>
                    <a:pt x="326" y="84"/>
                  </a:lnTo>
                  <a:lnTo>
                    <a:pt x="326" y="84"/>
                  </a:lnTo>
                  <a:lnTo>
                    <a:pt x="323" y="84"/>
                  </a:lnTo>
                  <a:lnTo>
                    <a:pt x="323" y="88"/>
                  </a:lnTo>
                  <a:lnTo>
                    <a:pt x="323" y="91"/>
                  </a:lnTo>
                  <a:lnTo>
                    <a:pt x="319" y="91"/>
                  </a:lnTo>
                  <a:lnTo>
                    <a:pt x="319" y="91"/>
                  </a:lnTo>
                  <a:lnTo>
                    <a:pt x="313" y="91"/>
                  </a:lnTo>
                  <a:lnTo>
                    <a:pt x="309" y="84"/>
                  </a:lnTo>
                  <a:lnTo>
                    <a:pt x="309" y="81"/>
                  </a:lnTo>
                  <a:lnTo>
                    <a:pt x="306" y="78"/>
                  </a:lnTo>
                  <a:lnTo>
                    <a:pt x="306" y="78"/>
                  </a:lnTo>
                  <a:lnTo>
                    <a:pt x="303" y="81"/>
                  </a:lnTo>
                  <a:lnTo>
                    <a:pt x="299" y="84"/>
                  </a:lnTo>
                  <a:lnTo>
                    <a:pt x="299" y="91"/>
                  </a:lnTo>
                  <a:lnTo>
                    <a:pt x="299" y="91"/>
                  </a:lnTo>
                  <a:lnTo>
                    <a:pt x="299" y="94"/>
                  </a:lnTo>
                  <a:lnTo>
                    <a:pt x="296" y="94"/>
                  </a:lnTo>
                  <a:lnTo>
                    <a:pt x="293" y="94"/>
                  </a:lnTo>
                  <a:lnTo>
                    <a:pt x="293" y="94"/>
                  </a:lnTo>
                  <a:lnTo>
                    <a:pt x="289" y="94"/>
                  </a:lnTo>
                  <a:lnTo>
                    <a:pt x="286" y="91"/>
                  </a:lnTo>
                  <a:lnTo>
                    <a:pt x="286" y="84"/>
                  </a:lnTo>
                  <a:lnTo>
                    <a:pt x="276" y="84"/>
                  </a:lnTo>
                  <a:lnTo>
                    <a:pt x="276" y="84"/>
                  </a:lnTo>
                  <a:lnTo>
                    <a:pt x="272" y="88"/>
                  </a:lnTo>
                  <a:lnTo>
                    <a:pt x="266" y="91"/>
                  </a:lnTo>
                  <a:lnTo>
                    <a:pt x="266" y="91"/>
                  </a:lnTo>
                  <a:lnTo>
                    <a:pt x="262" y="91"/>
                  </a:lnTo>
                  <a:lnTo>
                    <a:pt x="259" y="88"/>
                  </a:lnTo>
                  <a:lnTo>
                    <a:pt x="256" y="84"/>
                  </a:lnTo>
                  <a:lnTo>
                    <a:pt x="256" y="84"/>
                  </a:lnTo>
                  <a:lnTo>
                    <a:pt x="252" y="84"/>
                  </a:lnTo>
                  <a:lnTo>
                    <a:pt x="249" y="88"/>
                  </a:lnTo>
                  <a:lnTo>
                    <a:pt x="249" y="91"/>
                  </a:lnTo>
                  <a:lnTo>
                    <a:pt x="246" y="94"/>
                  </a:lnTo>
                  <a:lnTo>
                    <a:pt x="246" y="94"/>
                  </a:lnTo>
                  <a:lnTo>
                    <a:pt x="235" y="94"/>
                  </a:lnTo>
                  <a:lnTo>
                    <a:pt x="232" y="94"/>
                  </a:lnTo>
                  <a:lnTo>
                    <a:pt x="232" y="91"/>
                  </a:lnTo>
                  <a:lnTo>
                    <a:pt x="232" y="91"/>
                  </a:lnTo>
                  <a:lnTo>
                    <a:pt x="232" y="91"/>
                  </a:lnTo>
                  <a:lnTo>
                    <a:pt x="229" y="91"/>
                  </a:lnTo>
                  <a:lnTo>
                    <a:pt x="222" y="91"/>
                  </a:lnTo>
                  <a:lnTo>
                    <a:pt x="222" y="91"/>
                  </a:lnTo>
                  <a:lnTo>
                    <a:pt x="219" y="94"/>
                  </a:lnTo>
                  <a:lnTo>
                    <a:pt x="219" y="94"/>
                  </a:lnTo>
                  <a:lnTo>
                    <a:pt x="219" y="94"/>
                  </a:lnTo>
                  <a:lnTo>
                    <a:pt x="205" y="88"/>
                  </a:lnTo>
                  <a:lnTo>
                    <a:pt x="192" y="84"/>
                  </a:lnTo>
                  <a:lnTo>
                    <a:pt x="192" y="84"/>
                  </a:lnTo>
                  <a:lnTo>
                    <a:pt x="172" y="84"/>
                  </a:lnTo>
                  <a:lnTo>
                    <a:pt x="172" y="84"/>
                  </a:lnTo>
                  <a:lnTo>
                    <a:pt x="151" y="81"/>
                  </a:lnTo>
                  <a:lnTo>
                    <a:pt x="141" y="78"/>
                  </a:lnTo>
                  <a:lnTo>
                    <a:pt x="141" y="78"/>
                  </a:lnTo>
                  <a:lnTo>
                    <a:pt x="135" y="81"/>
                  </a:lnTo>
                  <a:lnTo>
                    <a:pt x="125" y="84"/>
                  </a:lnTo>
                  <a:lnTo>
                    <a:pt x="125" y="84"/>
                  </a:lnTo>
                  <a:lnTo>
                    <a:pt x="114" y="88"/>
                  </a:lnTo>
                  <a:lnTo>
                    <a:pt x="104" y="84"/>
                  </a:lnTo>
                  <a:lnTo>
                    <a:pt x="104" y="84"/>
                  </a:lnTo>
                  <a:lnTo>
                    <a:pt x="98" y="84"/>
                  </a:lnTo>
                  <a:lnTo>
                    <a:pt x="94" y="88"/>
                  </a:lnTo>
                  <a:lnTo>
                    <a:pt x="94" y="88"/>
                  </a:lnTo>
                  <a:lnTo>
                    <a:pt x="88" y="94"/>
                  </a:lnTo>
                  <a:lnTo>
                    <a:pt x="81" y="101"/>
                  </a:lnTo>
                  <a:lnTo>
                    <a:pt x="81" y="101"/>
                  </a:lnTo>
                  <a:lnTo>
                    <a:pt x="77" y="101"/>
                  </a:lnTo>
                  <a:lnTo>
                    <a:pt x="74" y="101"/>
                  </a:lnTo>
                  <a:lnTo>
                    <a:pt x="71" y="94"/>
                  </a:lnTo>
                  <a:lnTo>
                    <a:pt x="71" y="94"/>
                  </a:lnTo>
                  <a:lnTo>
                    <a:pt x="67" y="94"/>
                  </a:lnTo>
                  <a:lnTo>
                    <a:pt x="64" y="94"/>
                  </a:lnTo>
                  <a:lnTo>
                    <a:pt x="64" y="94"/>
                  </a:lnTo>
                  <a:lnTo>
                    <a:pt x="61" y="98"/>
                  </a:lnTo>
                  <a:lnTo>
                    <a:pt x="64" y="101"/>
                  </a:lnTo>
                  <a:lnTo>
                    <a:pt x="64" y="104"/>
                  </a:lnTo>
                  <a:lnTo>
                    <a:pt x="61" y="108"/>
                  </a:lnTo>
                  <a:lnTo>
                    <a:pt x="61" y="108"/>
                  </a:lnTo>
                  <a:lnTo>
                    <a:pt x="57" y="108"/>
                  </a:lnTo>
                  <a:lnTo>
                    <a:pt x="57" y="108"/>
                  </a:lnTo>
                  <a:lnTo>
                    <a:pt x="57" y="111"/>
                  </a:lnTo>
                  <a:lnTo>
                    <a:pt x="57" y="115"/>
                  </a:lnTo>
                  <a:lnTo>
                    <a:pt x="57" y="115"/>
                  </a:lnTo>
                  <a:lnTo>
                    <a:pt x="61" y="121"/>
                  </a:lnTo>
                  <a:lnTo>
                    <a:pt x="61" y="128"/>
                  </a:lnTo>
                  <a:lnTo>
                    <a:pt x="61" y="128"/>
                  </a:lnTo>
                  <a:lnTo>
                    <a:pt x="61" y="138"/>
                  </a:lnTo>
                  <a:lnTo>
                    <a:pt x="67" y="148"/>
                  </a:lnTo>
                  <a:lnTo>
                    <a:pt x="67" y="148"/>
                  </a:lnTo>
                  <a:lnTo>
                    <a:pt x="71" y="152"/>
                  </a:lnTo>
                  <a:lnTo>
                    <a:pt x="71" y="155"/>
                  </a:lnTo>
                  <a:lnTo>
                    <a:pt x="71" y="155"/>
                  </a:lnTo>
                  <a:lnTo>
                    <a:pt x="77" y="155"/>
                  </a:lnTo>
                  <a:lnTo>
                    <a:pt x="77" y="158"/>
                  </a:lnTo>
                  <a:lnTo>
                    <a:pt x="74" y="162"/>
                  </a:lnTo>
                  <a:lnTo>
                    <a:pt x="74" y="165"/>
                  </a:lnTo>
                  <a:lnTo>
                    <a:pt x="74" y="165"/>
                  </a:lnTo>
                  <a:lnTo>
                    <a:pt x="77" y="168"/>
                  </a:lnTo>
                  <a:lnTo>
                    <a:pt x="81" y="175"/>
                  </a:lnTo>
                  <a:lnTo>
                    <a:pt x="81" y="182"/>
                  </a:lnTo>
                  <a:lnTo>
                    <a:pt x="81" y="182"/>
                  </a:lnTo>
                  <a:lnTo>
                    <a:pt x="77" y="185"/>
                  </a:lnTo>
                  <a:lnTo>
                    <a:pt x="74" y="185"/>
                  </a:lnTo>
                  <a:lnTo>
                    <a:pt x="74" y="185"/>
                  </a:lnTo>
                  <a:lnTo>
                    <a:pt x="71" y="192"/>
                  </a:lnTo>
                  <a:lnTo>
                    <a:pt x="67" y="195"/>
                  </a:lnTo>
                  <a:lnTo>
                    <a:pt x="67" y="195"/>
                  </a:lnTo>
                  <a:lnTo>
                    <a:pt x="67" y="202"/>
                  </a:lnTo>
                  <a:lnTo>
                    <a:pt x="61" y="212"/>
                  </a:lnTo>
                  <a:lnTo>
                    <a:pt x="61" y="212"/>
                  </a:lnTo>
                  <a:lnTo>
                    <a:pt x="51" y="222"/>
                  </a:lnTo>
                  <a:lnTo>
                    <a:pt x="37" y="239"/>
                  </a:lnTo>
                  <a:lnTo>
                    <a:pt x="24" y="252"/>
                  </a:lnTo>
                  <a:lnTo>
                    <a:pt x="24" y="252"/>
                  </a:lnTo>
                  <a:lnTo>
                    <a:pt x="27" y="262"/>
                  </a:lnTo>
                  <a:lnTo>
                    <a:pt x="27" y="262"/>
                  </a:lnTo>
                  <a:lnTo>
                    <a:pt x="27" y="269"/>
                  </a:lnTo>
                  <a:lnTo>
                    <a:pt x="24" y="273"/>
                  </a:lnTo>
                  <a:lnTo>
                    <a:pt x="24" y="273"/>
                  </a:lnTo>
                  <a:lnTo>
                    <a:pt x="24" y="276"/>
                  </a:lnTo>
                  <a:lnTo>
                    <a:pt x="27" y="279"/>
                  </a:lnTo>
                  <a:lnTo>
                    <a:pt x="30" y="286"/>
                  </a:lnTo>
                  <a:lnTo>
                    <a:pt x="30" y="286"/>
                  </a:lnTo>
                  <a:lnTo>
                    <a:pt x="37" y="293"/>
                  </a:lnTo>
                  <a:lnTo>
                    <a:pt x="37" y="296"/>
                  </a:lnTo>
                  <a:lnTo>
                    <a:pt x="34" y="296"/>
                  </a:lnTo>
                  <a:lnTo>
                    <a:pt x="34" y="296"/>
                  </a:lnTo>
                  <a:lnTo>
                    <a:pt x="27" y="296"/>
                  </a:lnTo>
                  <a:lnTo>
                    <a:pt x="20" y="296"/>
                  </a:lnTo>
                  <a:lnTo>
                    <a:pt x="20" y="296"/>
                  </a:lnTo>
                  <a:lnTo>
                    <a:pt x="14" y="293"/>
                  </a:lnTo>
                  <a:lnTo>
                    <a:pt x="10" y="293"/>
                  </a:lnTo>
                  <a:lnTo>
                    <a:pt x="10" y="293"/>
                  </a:lnTo>
                  <a:lnTo>
                    <a:pt x="10" y="303"/>
                  </a:lnTo>
                  <a:lnTo>
                    <a:pt x="10" y="313"/>
                  </a:lnTo>
                  <a:lnTo>
                    <a:pt x="10" y="313"/>
                  </a:lnTo>
                  <a:lnTo>
                    <a:pt x="10" y="320"/>
                  </a:lnTo>
                  <a:lnTo>
                    <a:pt x="7" y="323"/>
                  </a:lnTo>
                  <a:lnTo>
                    <a:pt x="7" y="323"/>
                  </a:lnTo>
                  <a:lnTo>
                    <a:pt x="4" y="330"/>
                  </a:lnTo>
                  <a:lnTo>
                    <a:pt x="4" y="330"/>
                  </a:lnTo>
                  <a:lnTo>
                    <a:pt x="0" y="336"/>
                  </a:lnTo>
                  <a:lnTo>
                    <a:pt x="4" y="340"/>
                  </a:lnTo>
                  <a:lnTo>
                    <a:pt x="4" y="340"/>
                  </a:lnTo>
                  <a:lnTo>
                    <a:pt x="7" y="340"/>
                  </a:lnTo>
                  <a:lnTo>
                    <a:pt x="10" y="343"/>
                  </a:lnTo>
                  <a:lnTo>
                    <a:pt x="10" y="346"/>
                  </a:lnTo>
                  <a:lnTo>
                    <a:pt x="10" y="346"/>
                  </a:lnTo>
                  <a:lnTo>
                    <a:pt x="14" y="350"/>
                  </a:lnTo>
                  <a:lnTo>
                    <a:pt x="17" y="350"/>
                  </a:lnTo>
                  <a:lnTo>
                    <a:pt x="20" y="353"/>
                  </a:lnTo>
                  <a:lnTo>
                    <a:pt x="20" y="357"/>
                  </a:lnTo>
                  <a:lnTo>
                    <a:pt x="20" y="357"/>
                  </a:lnTo>
                  <a:lnTo>
                    <a:pt x="20" y="363"/>
                  </a:lnTo>
                  <a:lnTo>
                    <a:pt x="24" y="363"/>
                  </a:lnTo>
                  <a:lnTo>
                    <a:pt x="24" y="363"/>
                  </a:lnTo>
                  <a:lnTo>
                    <a:pt x="27" y="367"/>
                  </a:lnTo>
                  <a:lnTo>
                    <a:pt x="30" y="363"/>
                  </a:lnTo>
                  <a:lnTo>
                    <a:pt x="34" y="363"/>
                  </a:lnTo>
                  <a:lnTo>
                    <a:pt x="34" y="363"/>
                  </a:lnTo>
                  <a:lnTo>
                    <a:pt x="34" y="363"/>
                  </a:lnTo>
                  <a:lnTo>
                    <a:pt x="41" y="363"/>
                  </a:lnTo>
                  <a:lnTo>
                    <a:pt x="41" y="363"/>
                  </a:lnTo>
                  <a:lnTo>
                    <a:pt x="44" y="370"/>
                  </a:lnTo>
                  <a:lnTo>
                    <a:pt x="44" y="373"/>
                  </a:lnTo>
                  <a:lnTo>
                    <a:pt x="44" y="373"/>
                  </a:lnTo>
                  <a:lnTo>
                    <a:pt x="47" y="373"/>
                  </a:lnTo>
                  <a:lnTo>
                    <a:pt x="51" y="373"/>
                  </a:lnTo>
                  <a:lnTo>
                    <a:pt x="54" y="373"/>
                  </a:lnTo>
                  <a:lnTo>
                    <a:pt x="54" y="373"/>
                  </a:lnTo>
                  <a:lnTo>
                    <a:pt x="54" y="370"/>
                  </a:lnTo>
                  <a:lnTo>
                    <a:pt x="57" y="367"/>
                  </a:lnTo>
                  <a:lnTo>
                    <a:pt x="57" y="367"/>
                  </a:lnTo>
                  <a:lnTo>
                    <a:pt x="61" y="363"/>
                  </a:lnTo>
                  <a:lnTo>
                    <a:pt x="61" y="367"/>
                  </a:lnTo>
                  <a:lnTo>
                    <a:pt x="61" y="370"/>
                  </a:lnTo>
                  <a:lnTo>
                    <a:pt x="61" y="370"/>
                  </a:lnTo>
                  <a:lnTo>
                    <a:pt x="64" y="373"/>
                  </a:lnTo>
                  <a:lnTo>
                    <a:pt x="67" y="373"/>
                  </a:lnTo>
                  <a:lnTo>
                    <a:pt x="81" y="377"/>
                  </a:lnTo>
                  <a:lnTo>
                    <a:pt x="81" y="377"/>
                  </a:lnTo>
                  <a:lnTo>
                    <a:pt x="81" y="377"/>
                  </a:lnTo>
                  <a:lnTo>
                    <a:pt x="81" y="373"/>
                  </a:lnTo>
                  <a:lnTo>
                    <a:pt x="84" y="373"/>
                  </a:lnTo>
                  <a:lnTo>
                    <a:pt x="88" y="373"/>
                  </a:lnTo>
                  <a:lnTo>
                    <a:pt x="88" y="373"/>
                  </a:lnTo>
                  <a:lnTo>
                    <a:pt x="94" y="377"/>
                  </a:lnTo>
                  <a:lnTo>
                    <a:pt x="94" y="377"/>
                  </a:lnTo>
                  <a:lnTo>
                    <a:pt x="101" y="377"/>
                  </a:lnTo>
                  <a:lnTo>
                    <a:pt x="108" y="373"/>
                  </a:lnTo>
                  <a:lnTo>
                    <a:pt x="108" y="373"/>
                  </a:lnTo>
                  <a:lnTo>
                    <a:pt x="114" y="377"/>
                  </a:lnTo>
                  <a:lnTo>
                    <a:pt x="121" y="377"/>
                  </a:lnTo>
                  <a:lnTo>
                    <a:pt x="121" y="377"/>
                  </a:lnTo>
                  <a:lnTo>
                    <a:pt x="128" y="373"/>
                  </a:lnTo>
                  <a:lnTo>
                    <a:pt x="138" y="373"/>
                  </a:lnTo>
                  <a:lnTo>
                    <a:pt x="138" y="373"/>
                  </a:lnTo>
                  <a:lnTo>
                    <a:pt x="138" y="373"/>
                  </a:lnTo>
                  <a:lnTo>
                    <a:pt x="138" y="373"/>
                  </a:lnTo>
                  <a:lnTo>
                    <a:pt x="141" y="377"/>
                  </a:lnTo>
                  <a:lnTo>
                    <a:pt x="141" y="377"/>
                  </a:lnTo>
                  <a:lnTo>
                    <a:pt x="141" y="377"/>
                  </a:lnTo>
                  <a:lnTo>
                    <a:pt x="145" y="377"/>
                  </a:lnTo>
                  <a:lnTo>
                    <a:pt x="148" y="380"/>
                  </a:lnTo>
                  <a:lnTo>
                    <a:pt x="148" y="383"/>
                  </a:lnTo>
                  <a:lnTo>
                    <a:pt x="148" y="383"/>
                  </a:lnTo>
                  <a:lnTo>
                    <a:pt x="155" y="380"/>
                  </a:lnTo>
                  <a:lnTo>
                    <a:pt x="155" y="380"/>
                  </a:lnTo>
                  <a:lnTo>
                    <a:pt x="158" y="383"/>
                  </a:lnTo>
                  <a:lnTo>
                    <a:pt x="158" y="383"/>
                  </a:lnTo>
                  <a:lnTo>
                    <a:pt x="162" y="383"/>
                  </a:lnTo>
                  <a:lnTo>
                    <a:pt x="162" y="383"/>
                  </a:lnTo>
                  <a:lnTo>
                    <a:pt x="172" y="380"/>
                  </a:lnTo>
                  <a:lnTo>
                    <a:pt x="172" y="380"/>
                  </a:lnTo>
                  <a:lnTo>
                    <a:pt x="172" y="377"/>
                  </a:lnTo>
                  <a:lnTo>
                    <a:pt x="175" y="373"/>
                  </a:lnTo>
                  <a:lnTo>
                    <a:pt x="178" y="367"/>
                  </a:lnTo>
                  <a:lnTo>
                    <a:pt x="178" y="367"/>
                  </a:lnTo>
                  <a:lnTo>
                    <a:pt x="185" y="363"/>
                  </a:lnTo>
                  <a:lnTo>
                    <a:pt x="192" y="360"/>
                  </a:lnTo>
                  <a:lnTo>
                    <a:pt x="192" y="360"/>
                  </a:lnTo>
                  <a:lnTo>
                    <a:pt x="202" y="357"/>
                  </a:lnTo>
                  <a:lnTo>
                    <a:pt x="202" y="357"/>
                  </a:lnTo>
                  <a:lnTo>
                    <a:pt x="205" y="353"/>
                  </a:lnTo>
                  <a:lnTo>
                    <a:pt x="209" y="353"/>
                  </a:lnTo>
                  <a:lnTo>
                    <a:pt x="212" y="350"/>
                  </a:lnTo>
                  <a:lnTo>
                    <a:pt x="212" y="350"/>
                  </a:lnTo>
                  <a:lnTo>
                    <a:pt x="212" y="340"/>
                  </a:lnTo>
                  <a:lnTo>
                    <a:pt x="212" y="340"/>
                  </a:lnTo>
                  <a:lnTo>
                    <a:pt x="219" y="336"/>
                  </a:lnTo>
                  <a:lnTo>
                    <a:pt x="222" y="333"/>
                  </a:lnTo>
                  <a:lnTo>
                    <a:pt x="222" y="333"/>
                  </a:lnTo>
                  <a:lnTo>
                    <a:pt x="225" y="326"/>
                  </a:lnTo>
                  <a:lnTo>
                    <a:pt x="225" y="326"/>
                  </a:lnTo>
                  <a:lnTo>
                    <a:pt x="232" y="326"/>
                  </a:lnTo>
                  <a:lnTo>
                    <a:pt x="232" y="326"/>
                  </a:lnTo>
                  <a:lnTo>
                    <a:pt x="239" y="323"/>
                  </a:lnTo>
                  <a:lnTo>
                    <a:pt x="246" y="323"/>
                  </a:lnTo>
                  <a:lnTo>
                    <a:pt x="256" y="323"/>
                  </a:lnTo>
                  <a:lnTo>
                    <a:pt x="256" y="323"/>
                  </a:lnTo>
                  <a:lnTo>
                    <a:pt x="259" y="320"/>
                  </a:lnTo>
                  <a:lnTo>
                    <a:pt x="262" y="316"/>
                  </a:lnTo>
                  <a:lnTo>
                    <a:pt x="262" y="316"/>
                  </a:lnTo>
                  <a:lnTo>
                    <a:pt x="272" y="316"/>
                  </a:lnTo>
                  <a:lnTo>
                    <a:pt x="272" y="316"/>
                  </a:lnTo>
                  <a:lnTo>
                    <a:pt x="276" y="320"/>
                  </a:lnTo>
                  <a:lnTo>
                    <a:pt x="279" y="323"/>
                  </a:lnTo>
                  <a:lnTo>
                    <a:pt x="279" y="323"/>
                  </a:lnTo>
                  <a:lnTo>
                    <a:pt x="286" y="326"/>
                  </a:lnTo>
                  <a:lnTo>
                    <a:pt x="286" y="326"/>
                  </a:lnTo>
                  <a:lnTo>
                    <a:pt x="293" y="326"/>
                  </a:lnTo>
                  <a:lnTo>
                    <a:pt x="296" y="323"/>
                  </a:lnTo>
                  <a:lnTo>
                    <a:pt x="299" y="326"/>
                  </a:lnTo>
                  <a:lnTo>
                    <a:pt x="299" y="326"/>
                  </a:lnTo>
                  <a:lnTo>
                    <a:pt x="299" y="330"/>
                  </a:lnTo>
                  <a:lnTo>
                    <a:pt x="303" y="333"/>
                  </a:lnTo>
                  <a:lnTo>
                    <a:pt x="309" y="336"/>
                  </a:lnTo>
                  <a:lnTo>
                    <a:pt x="309" y="336"/>
                  </a:lnTo>
                  <a:lnTo>
                    <a:pt x="313" y="336"/>
                  </a:lnTo>
                  <a:lnTo>
                    <a:pt x="319" y="336"/>
                  </a:lnTo>
                  <a:lnTo>
                    <a:pt x="319" y="336"/>
                  </a:lnTo>
                  <a:lnTo>
                    <a:pt x="326" y="340"/>
                  </a:lnTo>
                  <a:lnTo>
                    <a:pt x="326" y="340"/>
                  </a:lnTo>
                  <a:lnTo>
                    <a:pt x="330" y="343"/>
                  </a:lnTo>
                  <a:lnTo>
                    <a:pt x="330" y="346"/>
                  </a:lnTo>
                  <a:lnTo>
                    <a:pt x="330" y="346"/>
                  </a:lnTo>
                  <a:lnTo>
                    <a:pt x="340" y="350"/>
                  </a:lnTo>
                  <a:lnTo>
                    <a:pt x="340" y="350"/>
                  </a:lnTo>
                  <a:lnTo>
                    <a:pt x="343" y="350"/>
                  </a:lnTo>
                  <a:lnTo>
                    <a:pt x="343" y="350"/>
                  </a:lnTo>
                  <a:lnTo>
                    <a:pt x="346" y="350"/>
                  </a:lnTo>
                  <a:lnTo>
                    <a:pt x="346" y="350"/>
                  </a:lnTo>
                  <a:lnTo>
                    <a:pt x="346" y="350"/>
                  </a:lnTo>
                  <a:lnTo>
                    <a:pt x="350" y="353"/>
                  </a:lnTo>
                  <a:lnTo>
                    <a:pt x="350" y="357"/>
                  </a:lnTo>
                  <a:lnTo>
                    <a:pt x="350" y="360"/>
                  </a:lnTo>
                  <a:lnTo>
                    <a:pt x="350" y="367"/>
                  </a:lnTo>
                  <a:lnTo>
                    <a:pt x="350" y="367"/>
                  </a:lnTo>
                  <a:lnTo>
                    <a:pt x="350" y="380"/>
                  </a:lnTo>
                  <a:lnTo>
                    <a:pt x="350" y="380"/>
                  </a:lnTo>
                  <a:lnTo>
                    <a:pt x="353" y="383"/>
                  </a:lnTo>
                  <a:lnTo>
                    <a:pt x="356" y="383"/>
                  </a:lnTo>
                  <a:lnTo>
                    <a:pt x="356" y="383"/>
                  </a:lnTo>
                  <a:lnTo>
                    <a:pt x="356" y="387"/>
                  </a:lnTo>
                  <a:lnTo>
                    <a:pt x="356" y="387"/>
                  </a:lnTo>
                  <a:lnTo>
                    <a:pt x="367" y="387"/>
                  </a:lnTo>
                  <a:lnTo>
                    <a:pt x="370" y="383"/>
                  </a:lnTo>
                  <a:lnTo>
                    <a:pt x="370" y="383"/>
                  </a:lnTo>
                  <a:lnTo>
                    <a:pt x="373" y="383"/>
                  </a:lnTo>
                  <a:lnTo>
                    <a:pt x="373" y="390"/>
                  </a:lnTo>
                  <a:lnTo>
                    <a:pt x="373" y="390"/>
                  </a:lnTo>
                  <a:lnTo>
                    <a:pt x="370" y="390"/>
                  </a:lnTo>
                  <a:lnTo>
                    <a:pt x="370" y="390"/>
                  </a:lnTo>
                  <a:lnTo>
                    <a:pt x="370" y="397"/>
                  </a:lnTo>
                  <a:lnTo>
                    <a:pt x="370" y="397"/>
                  </a:lnTo>
                  <a:lnTo>
                    <a:pt x="373" y="404"/>
                  </a:lnTo>
                  <a:lnTo>
                    <a:pt x="373" y="404"/>
                  </a:lnTo>
                  <a:lnTo>
                    <a:pt x="373" y="407"/>
                  </a:lnTo>
                  <a:lnTo>
                    <a:pt x="373" y="407"/>
                  </a:lnTo>
                  <a:lnTo>
                    <a:pt x="377" y="410"/>
                  </a:lnTo>
                  <a:lnTo>
                    <a:pt x="380" y="414"/>
                  </a:lnTo>
                  <a:lnTo>
                    <a:pt x="380" y="414"/>
                  </a:lnTo>
                  <a:lnTo>
                    <a:pt x="380" y="417"/>
                  </a:lnTo>
                  <a:lnTo>
                    <a:pt x="380" y="424"/>
                  </a:lnTo>
                  <a:lnTo>
                    <a:pt x="380" y="424"/>
                  </a:lnTo>
                  <a:lnTo>
                    <a:pt x="387" y="430"/>
                  </a:lnTo>
                  <a:lnTo>
                    <a:pt x="387" y="430"/>
                  </a:lnTo>
                  <a:lnTo>
                    <a:pt x="387" y="434"/>
                  </a:lnTo>
                  <a:lnTo>
                    <a:pt x="390" y="441"/>
                  </a:lnTo>
                  <a:lnTo>
                    <a:pt x="390" y="441"/>
                  </a:lnTo>
                  <a:lnTo>
                    <a:pt x="393" y="444"/>
                  </a:lnTo>
                  <a:lnTo>
                    <a:pt x="393" y="444"/>
                  </a:lnTo>
                  <a:lnTo>
                    <a:pt x="403" y="451"/>
                  </a:lnTo>
                  <a:lnTo>
                    <a:pt x="403" y="451"/>
                  </a:lnTo>
                  <a:lnTo>
                    <a:pt x="403" y="454"/>
                  </a:lnTo>
                  <a:lnTo>
                    <a:pt x="403" y="454"/>
                  </a:lnTo>
                  <a:lnTo>
                    <a:pt x="403" y="457"/>
                  </a:lnTo>
                  <a:lnTo>
                    <a:pt x="400" y="454"/>
                  </a:lnTo>
                  <a:lnTo>
                    <a:pt x="393" y="454"/>
                  </a:lnTo>
                  <a:lnTo>
                    <a:pt x="393" y="454"/>
                  </a:lnTo>
                  <a:lnTo>
                    <a:pt x="387" y="457"/>
                  </a:lnTo>
                  <a:lnTo>
                    <a:pt x="387" y="457"/>
                  </a:lnTo>
                  <a:lnTo>
                    <a:pt x="383" y="461"/>
                  </a:lnTo>
                  <a:lnTo>
                    <a:pt x="380" y="461"/>
                  </a:lnTo>
                  <a:lnTo>
                    <a:pt x="380" y="461"/>
                  </a:lnTo>
                  <a:lnTo>
                    <a:pt x="380" y="457"/>
                  </a:lnTo>
                  <a:lnTo>
                    <a:pt x="380" y="454"/>
                  </a:lnTo>
                  <a:lnTo>
                    <a:pt x="380" y="454"/>
                  </a:lnTo>
                  <a:lnTo>
                    <a:pt x="377" y="457"/>
                  </a:lnTo>
                  <a:lnTo>
                    <a:pt x="377" y="457"/>
                  </a:lnTo>
                  <a:lnTo>
                    <a:pt x="373" y="457"/>
                  </a:lnTo>
                  <a:lnTo>
                    <a:pt x="370" y="454"/>
                  </a:lnTo>
                  <a:lnTo>
                    <a:pt x="370" y="454"/>
                  </a:lnTo>
                  <a:lnTo>
                    <a:pt x="367" y="451"/>
                  </a:lnTo>
                  <a:lnTo>
                    <a:pt x="363" y="451"/>
                  </a:lnTo>
                  <a:lnTo>
                    <a:pt x="363" y="451"/>
                  </a:lnTo>
                  <a:lnTo>
                    <a:pt x="363" y="454"/>
                  </a:lnTo>
                  <a:lnTo>
                    <a:pt x="363" y="454"/>
                  </a:lnTo>
                  <a:lnTo>
                    <a:pt x="363" y="454"/>
                  </a:lnTo>
                  <a:lnTo>
                    <a:pt x="360" y="454"/>
                  </a:lnTo>
                  <a:lnTo>
                    <a:pt x="356" y="454"/>
                  </a:lnTo>
                  <a:lnTo>
                    <a:pt x="356" y="454"/>
                  </a:lnTo>
                  <a:lnTo>
                    <a:pt x="353" y="457"/>
                  </a:lnTo>
                  <a:lnTo>
                    <a:pt x="353" y="457"/>
                  </a:lnTo>
                  <a:lnTo>
                    <a:pt x="353" y="461"/>
                  </a:lnTo>
                  <a:lnTo>
                    <a:pt x="353" y="464"/>
                  </a:lnTo>
                  <a:lnTo>
                    <a:pt x="353" y="464"/>
                  </a:lnTo>
                  <a:lnTo>
                    <a:pt x="350" y="474"/>
                  </a:lnTo>
                  <a:lnTo>
                    <a:pt x="350" y="474"/>
                  </a:lnTo>
                  <a:lnTo>
                    <a:pt x="343" y="478"/>
                  </a:lnTo>
                  <a:lnTo>
                    <a:pt x="343" y="478"/>
                  </a:lnTo>
                  <a:lnTo>
                    <a:pt x="340" y="478"/>
                  </a:lnTo>
                  <a:lnTo>
                    <a:pt x="336" y="481"/>
                  </a:lnTo>
                  <a:lnTo>
                    <a:pt x="336" y="481"/>
                  </a:lnTo>
                  <a:lnTo>
                    <a:pt x="340" y="488"/>
                  </a:lnTo>
                  <a:lnTo>
                    <a:pt x="340" y="488"/>
                  </a:lnTo>
                  <a:lnTo>
                    <a:pt x="336" y="491"/>
                  </a:lnTo>
                  <a:lnTo>
                    <a:pt x="333" y="494"/>
                  </a:lnTo>
                  <a:lnTo>
                    <a:pt x="333" y="494"/>
                  </a:lnTo>
                  <a:lnTo>
                    <a:pt x="333" y="501"/>
                  </a:lnTo>
                  <a:lnTo>
                    <a:pt x="333" y="501"/>
                  </a:lnTo>
                  <a:lnTo>
                    <a:pt x="330" y="508"/>
                  </a:lnTo>
                  <a:lnTo>
                    <a:pt x="330" y="508"/>
                  </a:lnTo>
                  <a:lnTo>
                    <a:pt x="330" y="521"/>
                  </a:lnTo>
                  <a:lnTo>
                    <a:pt x="333" y="528"/>
                  </a:lnTo>
                  <a:lnTo>
                    <a:pt x="333" y="528"/>
                  </a:lnTo>
                  <a:lnTo>
                    <a:pt x="330" y="528"/>
                  </a:lnTo>
                  <a:lnTo>
                    <a:pt x="323" y="528"/>
                  </a:lnTo>
                  <a:lnTo>
                    <a:pt x="323" y="528"/>
                  </a:lnTo>
                  <a:lnTo>
                    <a:pt x="313" y="531"/>
                  </a:lnTo>
                  <a:lnTo>
                    <a:pt x="313" y="531"/>
                  </a:lnTo>
                  <a:lnTo>
                    <a:pt x="319" y="538"/>
                  </a:lnTo>
                  <a:lnTo>
                    <a:pt x="319" y="538"/>
                  </a:lnTo>
                  <a:lnTo>
                    <a:pt x="323" y="545"/>
                  </a:lnTo>
                  <a:lnTo>
                    <a:pt x="326" y="545"/>
                  </a:lnTo>
                  <a:lnTo>
                    <a:pt x="326" y="545"/>
                  </a:lnTo>
                  <a:lnTo>
                    <a:pt x="336" y="545"/>
                  </a:lnTo>
                  <a:lnTo>
                    <a:pt x="336" y="545"/>
                  </a:lnTo>
                  <a:lnTo>
                    <a:pt x="343" y="548"/>
                  </a:lnTo>
                  <a:lnTo>
                    <a:pt x="346" y="551"/>
                  </a:lnTo>
                  <a:lnTo>
                    <a:pt x="346" y="548"/>
                  </a:lnTo>
                  <a:lnTo>
                    <a:pt x="346" y="548"/>
                  </a:lnTo>
                  <a:lnTo>
                    <a:pt x="346" y="545"/>
                  </a:lnTo>
                  <a:lnTo>
                    <a:pt x="346" y="545"/>
                  </a:lnTo>
                  <a:lnTo>
                    <a:pt x="350" y="545"/>
                  </a:lnTo>
                  <a:lnTo>
                    <a:pt x="350" y="545"/>
                  </a:lnTo>
                  <a:lnTo>
                    <a:pt x="353" y="545"/>
                  </a:lnTo>
                  <a:lnTo>
                    <a:pt x="353" y="545"/>
                  </a:lnTo>
                  <a:lnTo>
                    <a:pt x="356" y="541"/>
                  </a:lnTo>
                  <a:lnTo>
                    <a:pt x="356" y="541"/>
                  </a:lnTo>
                  <a:lnTo>
                    <a:pt x="360" y="538"/>
                  </a:lnTo>
                  <a:lnTo>
                    <a:pt x="363" y="535"/>
                  </a:lnTo>
                  <a:lnTo>
                    <a:pt x="363" y="535"/>
                  </a:lnTo>
                  <a:lnTo>
                    <a:pt x="373" y="535"/>
                  </a:lnTo>
                  <a:lnTo>
                    <a:pt x="373" y="535"/>
                  </a:lnTo>
                  <a:lnTo>
                    <a:pt x="383" y="535"/>
                  </a:lnTo>
                  <a:lnTo>
                    <a:pt x="383" y="535"/>
                  </a:lnTo>
                  <a:lnTo>
                    <a:pt x="390" y="538"/>
                  </a:lnTo>
                  <a:lnTo>
                    <a:pt x="397" y="541"/>
                  </a:lnTo>
                  <a:lnTo>
                    <a:pt x="397" y="541"/>
                  </a:lnTo>
                  <a:lnTo>
                    <a:pt x="397" y="538"/>
                  </a:lnTo>
                  <a:lnTo>
                    <a:pt x="397" y="531"/>
                  </a:lnTo>
                  <a:lnTo>
                    <a:pt x="397" y="531"/>
                  </a:lnTo>
                  <a:lnTo>
                    <a:pt x="387" y="531"/>
                  </a:lnTo>
                  <a:lnTo>
                    <a:pt x="387" y="528"/>
                  </a:lnTo>
                  <a:lnTo>
                    <a:pt x="387" y="528"/>
                  </a:lnTo>
                  <a:lnTo>
                    <a:pt x="397" y="518"/>
                  </a:lnTo>
                  <a:lnTo>
                    <a:pt x="407" y="508"/>
                  </a:lnTo>
                  <a:lnTo>
                    <a:pt x="414" y="498"/>
                  </a:lnTo>
                  <a:lnTo>
                    <a:pt x="424" y="488"/>
                  </a:lnTo>
                  <a:lnTo>
                    <a:pt x="424" y="488"/>
                  </a:lnTo>
                  <a:lnTo>
                    <a:pt x="427" y="478"/>
                  </a:lnTo>
                  <a:lnTo>
                    <a:pt x="427" y="478"/>
                  </a:lnTo>
                  <a:lnTo>
                    <a:pt x="417" y="467"/>
                  </a:lnTo>
                  <a:lnTo>
                    <a:pt x="407" y="457"/>
                  </a:lnTo>
                  <a:lnTo>
                    <a:pt x="407" y="457"/>
                  </a:lnTo>
                  <a:lnTo>
                    <a:pt x="414" y="454"/>
                  </a:lnTo>
                  <a:lnTo>
                    <a:pt x="414" y="454"/>
                  </a:lnTo>
                  <a:lnTo>
                    <a:pt x="420" y="464"/>
                  </a:lnTo>
                  <a:lnTo>
                    <a:pt x="430" y="474"/>
                  </a:lnTo>
                  <a:lnTo>
                    <a:pt x="430" y="474"/>
                  </a:lnTo>
                  <a:lnTo>
                    <a:pt x="434" y="461"/>
                  </a:lnTo>
                  <a:lnTo>
                    <a:pt x="437" y="451"/>
                  </a:lnTo>
                  <a:lnTo>
                    <a:pt x="451" y="430"/>
                  </a:lnTo>
                  <a:lnTo>
                    <a:pt x="451" y="430"/>
                  </a:lnTo>
                  <a:lnTo>
                    <a:pt x="461" y="437"/>
                  </a:lnTo>
                  <a:lnTo>
                    <a:pt x="461" y="437"/>
                  </a:lnTo>
                  <a:lnTo>
                    <a:pt x="461" y="434"/>
                  </a:lnTo>
                  <a:lnTo>
                    <a:pt x="464" y="434"/>
                  </a:lnTo>
                  <a:lnTo>
                    <a:pt x="464" y="434"/>
                  </a:lnTo>
                  <a:lnTo>
                    <a:pt x="467" y="420"/>
                  </a:lnTo>
                  <a:lnTo>
                    <a:pt x="471" y="417"/>
                  </a:lnTo>
                  <a:lnTo>
                    <a:pt x="474" y="414"/>
                  </a:lnTo>
                  <a:lnTo>
                    <a:pt x="474" y="414"/>
                  </a:lnTo>
                  <a:lnTo>
                    <a:pt x="477" y="414"/>
                  </a:lnTo>
                  <a:lnTo>
                    <a:pt x="477" y="414"/>
                  </a:lnTo>
                  <a:lnTo>
                    <a:pt x="477" y="417"/>
                  </a:lnTo>
                  <a:lnTo>
                    <a:pt x="477" y="417"/>
                  </a:lnTo>
                  <a:lnTo>
                    <a:pt x="474" y="427"/>
                  </a:lnTo>
                  <a:lnTo>
                    <a:pt x="474" y="427"/>
                  </a:lnTo>
                  <a:lnTo>
                    <a:pt x="481" y="430"/>
                  </a:lnTo>
                  <a:lnTo>
                    <a:pt x="481" y="430"/>
                  </a:lnTo>
                  <a:lnTo>
                    <a:pt x="484" y="430"/>
                  </a:lnTo>
                  <a:lnTo>
                    <a:pt x="484" y="430"/>
                  </a:lnTo>
                  <a:lnTo>
                    <a:pt x="491" y="427"/>
                  </a:lnTo>
                  <a:lnTo>
                    <a:pt x="491" y="417"/>
                  </a:lnTo>
                  <a:lnTo>
                    <a:pt x="491" y="417"/>
                  </a:lnTo>
                  <a:lnTo>
                    <a:pt x="488" y="420"/>
                  </a:lnTo>
                  <a:lnTo>
                    <a:pt x="488" y="420"/>
                  </a:lnTo>
                  <a:lnTo>
                    <a:pt x="488" y="420"/>
                  </a:lnTo>
                  <a:lnTo>
                    <a:pt x="491" y="400"/>
                  </a:lnTo>
                  <a:lnTo>
                    <a:pt x="491" y="400"/>
                  </a:lnTo>
                  <a:lnTo>
                    <a:pt x="494" y="404"/>
                  </a:lnTo>
                  <a:lnTo>
                    <a:pt x="498" y="404"/>
                  </a:lnTo>
                  <a:lnTo>
                    <a:pt x="498" y="404"/>
                  </a:lnTo>
                  <a:lnTo>
                    <a:pt x="498" y="427"/>
                  </a:lnTo>
                  <a:lnTo>
                    <a:pt x="498" y="427"/>
                  </a:lnTo>
                  <a:lnTo>
                    <a:pt x="514" y="430"/>
                  </a:lnTo>
                  <a:lnTo>
                    <a:pt x="514" y="430"/>
                  </a:lnTo>
                  <a:lnTo>
                    <a:pt x="514" y="434"/>
                  </a:lnTo>
                  <a:lnTo>
                    <a:pt x="514" y="434"/>
                  </a:lnTo>
                  <a:lnTo>
                    <a:pt x="504" y="437"/>
                  </a:lnTo>
                  <a:lnTo>
                    <a:pt x="477" y="437"/>
                  </a:lnTo>
                  <a:lnTo>
                    <a:pt x="481" y="444"/>
                  </a:lnTo>
                  <a:lnTo>
                    <a:pt x="481" y="444"/>
                  </a:lnTo>
                  <a:lnTo>
                    <a:pt x="498" y="444"/>
                  </a:lnTo>
                  <a:lnTo>
                    <a:pt x="498" y="447"/>
                  </a:lnTo>
                  <a:lnTo>
                    <a:pt x="498" y="447"/>
                  </a:lnTo>
                  <a:lnTo>
                    <a:pt x="494" y="451"/>
                  </a:lnTo>
                  <a:lnTo>
                    <a:pt x="491" y="454"/>
                  </a:lnTo>
                  <a:lnTo>
                    <a:pt x="491" y="454"/>
                  </a:lnTo>
                  <a:lnTo>
                    <a:pt x="514" y="454"/>
                  </a:lnTo>
                  <a:lnTo>
                    <a:pt x="514" y="454"/>
                  </a:lnTo>
                  <a:lnTo>
                    <a:pt x="514" y="461"/>
                  </a:lnTo>
                  <a:lnTo>
                    <a:pt x="518" y="464"/>
                  </a:lnTo>
                  <a:lnTo>
                    <a:pt x="518" y="464"/>
                  </a:lnTo>
                  <a:lnTo>
                    <a:pt x="521" y="461"/>
                  </a:lnTo>
                  <a:lnTo>
                    <a:pt x="524" y="461"/>
                  </a:lnTo>
                  <a:lnTo>
                    <a:pt x="524" y="461"/>
                  </a:lnTo>
                  <a:lnTo>
                    <a:pt x="531" y="461"/>
                  </a:lnTo>
                  <a:lnTo>
                    <a:pt x="535" y="461"/>
                  </a:lnTo>
                  <a:lnTo>
                    <a:pt x="535" y="461"/>
                  </a:lnTo>
                  <a:lnTo>
                    <a:pt x="535" y="461"/>
                  </a:lnTo>
                  <a:lnTo>
                    <a:pt x="548" y="461"/>
                  </a:lnTo>
                  <a:lnTo>
                    <a:pt x="548" y="461"/>
                  </a:lnTo>
                  <a:lnTo>
                    <a:pt x="551" y="461"/>
                  </a:lnTo>
                  <a:lnTo>
                    <a:pt x="551" y="461"/>
                  </a:lnTo>
                  <a:lnTo>
                    <a:pt x="548" y="454"/>
                  </a:lnTo>
                  <a:lnTo>
                    <a:pt x="548" y="454"/>
                  </a:lnTo>
                  <a:lnTo>
                    <a:pt x="538" y="457"/>
                  </a:lnTo>
                  <a:lnTo>
                    <a:pt x="538" y="461"/>
                  </a:lnTo>
                  <a:lnTo>
                    <a:pt x="538" y="461"/>
                  </a:lnTo>
                  <a:lnTo>
                    <a:pt x="535" y="457"/>
                  </a:lnTo>
                  <a:lnTo>
                    <a:pt x="535" y="457"/>
                  </a:lnTo>
                  <a:lnTo>
                    <a:pt x="535" y="454"/>
                  </a:lnTo>
                  <a:lnTo>
                    <a:pt x="535" y="454"/>
                  </a:lnTo>
                  <a:lnTo>
                    <a:pt x="541" y="454"/>
                  </a:lnTo>
                  <a:lnTo>
                    <a:pt x="541" y="454"/>
                  </a:lnTo>
                  <a:lnTo>
                    <a:pt x="561" y="451"/>
                  </a:lnTo>
                  <a:lnTo>
                    <a:pt x="561" y="451"/>
                  </a:lnTo>
                  <a:lnTo>
                    <a:pt x="561" y="451"/>
                  </a:lnTo>
                  <a:lnTo>
                    <a:pt x="565" y="447"/>
                  </a:lnTo>
                  <a:lnTo>
                    <a:pt x="565" y="451"/>
                  </a:lnTo>
                  <a:lnTo>
                    <a:pt x="565" y="451"/>
                  </a:lnTo>
                  <a:lnTo>
                    <a:pt x="578" y="454"/>
                  </a:lnTo>
                  <a:lnTo>
                    <a:pt x="578" y="454"/>
                  </a:lnTo>
                  <a:lnTo>
                    <a:pt x="578" y="444"/>
                  </a:lnTo>
                  <a:lnTo>
                    <a:pt x="578" y="444"/>
                  </a:lnTo>
                  <a:lnTo>
                    <a:pt x="585" y="444"/>
                  </a:lnTo>
                  <a:lnTo>
                    <a:pt x="585" y="444"/>
                  </a:lnTo>
                  <a:lnTo>
                    <a:pt x="588" y="444"/>
                  </a:lnTo>
                  <a:lnTo>
                    <a:pt x="588" y="451"/>
                  </a:lnTo>
                  <a:lnTo>
                    <a:pt x="585" y="457"/>
                  </a:lnTo>
                  <a:lnTo>
                    <a:pt x="585" y="457"/>
                  </a:lnTo>
                  <a:lnTo>
                    <a:pt x="588" y="461"/>
                  </a:lnTo>
                  <a:lnTo>
                    <a:pt x="595" y="464"/>
                  </a:lnTo>
                  <a:lnTo>
                    <a:pt x="595" y="464"/>
                  </a:lnTo>
                  <a:lnTo>
                    <a:pt x="592" y="464"/>
                  </a:lnTo>
                  <a:lnTo>
                    <a:pt x="592" y="467"/>
                  </a:lnTo>
                  <a:lnTo>
                    <a:pt x="592" y="467"/>
                  </a:lnTo>
                  <a:lnTo>
                    <a:pt x="588" y="467"/>
                  </a:lnTo>
                  <a:lnTo>
                    <a:pt x="585" y="464"/>
                  </a:lnTo>
                  <a:lnTo>
                    <a:pt x="585" y="464"/>
                  </a:lnTo>
                  <a:lnTo>
                    <a:pt x="578" y="471"/>
                  </a:lnTo>
                  <a:lnTo>
                    <a:pt x="572" y="478"/>
                  </a:lnTo>
                  <a:lnTo>
                    <a:pt x="572" y="478"/>
                  </a:lnTo>
                  <a:lnTo>
                    <a:pt x="561" y="481"/>
                  </a:lnTo>
                  <a:lnTo>
                    <a:pt x="561" y="481"/>
                  </a:lnTo>
                  <a:lnTo>
                    <a:pt x="565" y="491"/>
                  </a:lnTo>
                  <a:lnTo>
                    <a:pt x="565" y="491"/>
                  </a:lnTo>
                  <a:lnTo>
                    <a:pt x="558" y="491"/>
                  </a:lnTo>
                  <a:lnTo>
                    <a:pt x="558" y="491"/>
                  </a:lnTo>
                  <a:lnTo>
                    <a:pt x="541" y="504"/>
                  </a:lnTo>
                  <a:lnTo>
                    <a:pt x="541" y="504"/>
                  </a:lnTo>
                  <a:lnTo>
                    <a:pt x="538" y="508"/>
                  </a:lnTo>
                  <a:lnTo>
                    <a:pt x="538" y="511"/>
                  </a:lnTo>
                  <a:lnTo>
                    <a:pt x="541" y="518"/>
                  </a:lnTo>
                  <a:lnTo>
                    <a:pt x="541" y="518"/>
                  </a:lnTo>
                  <a:lnTo>
                    <a:pt x="548" y="518"/>
                  </a:lnTo>
                  <a:lnTo>
                    <a:pt x="548" y="518"/>
                  </a:lnTo>
                  <a:lnTo>
                    <a:pt x="548" y="514"/>
                  </a:lnTo>
                  <a:lnTo>
                    <a:pt x="548" y="514"/>
                  </a:lnTo>
                  <a:lnTo>
                    <a:pt x="558" y="514"/>
                  </a:lnTo>
                  <a:lnTo>
                    <a:pt x="568" y="518"/>
                  </a:lnTo>
                  <a:lnTo>
                    <a:pt x="572" y="525"/>
                  </a:lnTo>
                  <a:lnTo>
                    <a:pt x="572" y="525"/>
                  </a:lnTo>
                  <a:lnTo>
                    <a:pt x="575" y="521"/>
                  </a:lnTo>
                  <a:lnTo>
                    <a:pt x="575" y="521"/>
                  </a:lnTo>
                  <a:lnTo>
                    <a:pt x="575" y="521"/>
                  </a:lnTo>
                  <a:lnTo>
                    <a:pt x="588" y="521"/>
                  </a:lnTo>
                  <a:lnTo>
                    <a:pt x="595" y="525"/>
                  </a:lnTo>
                  <a:lnTo>
                    <a:pt x="598" y="528"/>
                  </a:lnTo>
                  <a:lnTo>
                    <a:pt x="598" y="528"/>
                  </a:lnTo>
                  <a:lnTo>
                    <a:pt x="598" y="538"/>
                  </a:lnTo>
                  <a:lnTo>
                    <a:pt x="598" y="548"/>
                  </a:lnTo>
                  <a:lnTo>
                    <a:pt x="592" y="565"/>
                  </a:lnTo>
                  <a:lnTo>
                    <a:pt x="592" y="565"/>
                  </a:lnTo>
                  <a:lnTo>
                    <a:pt x="598" y="568"/>
                  </a:lnTo>
                  <a:lnTo>
                    <a:pt x="598" y="572"/>
                  </a:lnTo>
                  <a:lnTo>
                    <a:pt x="598" y="572"/>
                  </a:lnTo>
                  <a:lnTo>
                    <a:pt x="605" y="572"/>
                  </a:lnTo>
                  <a:lnTo>
                    <a:pt x="608" y="575"/>
                  </a:lnTo>
                  <a:lnTo>
                    <a:pt x="608" y="575"/>
                  </a:lnTo>
                  <a:lnTo>
                    <a:pt x="619" y="575"/>
                  </a:lnTo>
                  <a:lnTo>
                    <a:pt x="629" y="572"/>
                  </a:lnTo>
                  <a:lnTo>
                    <a:pt x="629" y="572"/>
                  </a:lnTo>
                  <a:lnTo>
                    <a:pt x="629" y="562"/>
                  </a:lnTo>
                  <a:lnTo>
                    <a:pt x="629" y="562"/>
                  </a:lnTo>
                  <a:lnTo>
                    <a:pt x="632" y="562"/>
                  </a:lnTo>
                  <a:lnTo>
                    <a:pt x="635" y="562"/>
                  </a:lnTo>
                  <a:lnTo>
                    <a:pt x="635" y="555"/>
                  </a:lnTo>
                  <a:lnTo>
                    <a:pt x="635" y="555"/>
                  </a:lnTo>
                  <a:lnTo>
                    <a:pt x="639" y="555"/>
                  </a:lnTo>
                  <a:lnTo>
                    <a:pt x="645" y="551"/>
                  </a:lnTo>
                  <a:lnTo>
                    <a:pt x="645" y="551"/>
                  </a:lnTo>
                  <a:lnTo>
                    <a:pt x="645" y="545"/>
                  </a:lnTo>
                  <a:lnTo>
                    <a:pt x="649" y="535"/>
                  </a:lnTo>
                  <a:lnTo>
                    <a:pt x="649" y="535"/>
                  </a:lnTo>
                  <a:lnTo>
                    <a:pt x="656" y="531"/>
                  </a:lnTo>
                  <a:lnTo>
                    <a:pt x="659" y="531"/>
                  </a:lnTo>
                  <a:lnTo>
                    <a:pt x="669" y="531"/>
                  </a:lnTo>
                  <a:lnTo>
                    <a:pt x="669" y="531"/>
                  </a:lnTo>
                  <a:lnTo>
                    <a:pt x="676" y="525"/>
                  </a:lnTo>
                  <a:lnTo>
                    <a:pt x="679" y="518"/>
                  </a:lnTo>
                  <a:lnTo>
                    <a:pt x="686" y="498"/>
                  </a:lnTo>
                  <a:lnTo>
                    <a:pt x="686" y="498"/>
                  </a:lnTo>
                  <a:lnTo>
                    <a:pt x="693" y="498"/>
                  </a:lnTo>
                  <a:lnTo>
                    <a:pt x="696" y="494"/>
                  </a:lnTo>
                  <a:lnTo>
                    <a:pt x="696" y="494"/>
                  </a:lnTo>
                  <a:lnTo>
                    <a:pt x="703" y="501"/>
                  </a:lnTo>
                  <a:lnTo>
                    <a:pt x="706" y="504"/>
                  </a:lnTo>
                  <a:lnTo>
                    <a:pt x="706" y="504"/>
                  </a:lnTo>
                  <a:lnTo>
                    <a:pt x="719" y="498"/>
                  </a:lnTo>
                  <a:lnTo>
                    <a:pt x="736" y="491"/>
                  </a:lnTo>
                  <a:lnTo>
                    <a:pt x="736" y="491"/>
                  </a:lnTo>
                  <a:lnTo>
                    <a:pt x="736" y="478"/>
                  </a:lnTo>
                  <a:lnTo>
                    <a:pt x="740" y="464"/>
                  </a:lnTo>
                  <a:lnTo>
                    <a:pt x="740" y="464"/>
                  </a:lnTo>
                  <a:lnTo>
                    <a:pt x="729" y="464"/>
                  </a:lnTo>
                  <a:lnTo>
                    <a:pt x="716" y="464"/>
                  </a:lnTo>
                  <a:lnTo>
                    <a:pt x="716" y="464"/>
                  </a:lnTo>
                  <a:lnTo>
                    <a:pt x="713" y="467"/>
                  </a:lnTo>
                  <a:lnTo>
                    <a:pt x="709" y="474"/>
                  </a:lnTo>
                  <a:lnTo>
                    <a:pt x="709" y="474"/>
                  </a:lnTo>
                  <a:lnTo>
                    <a:pt x="706" y="474"/>
                  </a:lnTo>
                  <a:lnTo>
                    <a:pt x="703" y="474"/>
                  </a:lnTo>
                  <a:lnTo>
                    <a:pt x="699" y="474"/>
                  </a:lnTo>
                  <a:lnTo>
                    <a:pt x="699" y="474"/>
                  </a:lnTo>
                  <a:lnTo>
                    <a:pt x="693" y="478"/>
                  </a:lnTo>
                  <a:lnTo>
                    <a:pt x="689" y="481"/>
                  </a:lnTo>
                  <a:lnTo>
                    <a:pt x="682" y="481"/>
                  </a:lnTo>
                  <a:lnTo>
                    <a:pt x="682" y="481"/>
                  </a:lnTo>
                  <a:lnTo>
                    <a:pt x="672" y="474"/>
                  </a:lnTo>
                  <a:lnTo>
                    <a:pt x="659" y="464"/>
                  </a:lnTo>
                  <a:lnTo>
                    <a:pt x="652" y="457"/>
                  </a:lnTo>
                  <a:lnTo>
                    <a:pt x="652" y="461"/>
                  </a:lnTo>
                  <a:lnTo>
                    <a:pt x="652" y="467"/>
                  </a:lnTo>
                  <a:lnTo>
                    <a:pt x="652" y="467"/>
                  </a:lnTo>
                  <a:lnTo>
                    <a:pt x="659" y="474"/>
                  </a:lnTo>
                  <a:lnTo>
                    <a:pt x="659" y="474"/>
                  </a:lnTo>
                  <a:lnTo>
                    <a:pt x="659" y="478"/>
                  </a:lnTo>
                  <a:lnTo>
                    <a:pt x="666" y="474"/>
                  </a:lnTo>
                  <a:lnTo>
                    <a:pt x="666" y="474"/>
                  </a:lnTo>
                  <a:lnTo>
                    <a:pt x="676" y="481"/>
                  </a:lnTo>
                  <a:lnTo>
                    <a:pt x="676" y="481"/>
                  </a:lnTo>
                  <a:lnTo>
                    <a:pt x="682" y="491"/>
                  </a:lnTo>
                  <a:lnTo>
                    <a:pt x="676" y="491"/>
                  </a:lnTo>
                  <a:lnTo>
                    <a:pt x="656" y="484"/>
                  </a:lnTo>
                  <a:lnTo>
                    <a:pt x="656" y="484"/>
                  </a:lnTo>
                  <a:lnTo>
                    <a:pt x="656" y="478"/>
                  </a:lnTo>
                  <a:lnTo>
                    <a:pt x="656" y="474"/>
                  </a:lnTo>
                  <a:lnTo>
                    <a:pt x="652" y="474"/>
                  </a:lnTo>
                  <a:lnTo>
                    <a:pt x="652" y="474"/>
                  </a:lnTo>
                  <a:lnTo>
                    <a:pt x="649" y="467"/>
                  </a:lnTo>
                  <a:lnTo>
                    <a:pt x="645" y="464"/>
                  </a:lnTo>
                  <a:lnTo>
                    <a:pt x="645" y="464"/>
                  </a:lnTo>
                  <a:lnTo>
                    <a:pt x="635" y="464"/>
                  </a:lnTo>
                  <a:lnTo>
                    <a:pt x="635" y="464"/>
                  </a:lnTo>
                  <a:lnTo>
                    <a:pt x="639" y="454"/>
                  </a:lnTo>
                  <a:lnTo>
                    <a:pt x="639" y="454"/>
                  </a:lnTo>
                  <a:lnTo>
                    <a:pt x="632" y="454"/>
                  </a:lnTo>
                  <a:lnTo>
                    <a:pt x="632" y="454"/>
                  </a:lnTo>
                  <a:lnTo>
                    <a:pt x="632" y="434"/>
                  </a:lnTo>
                  <a:lnTo>
                    <a:pt x="632" y="434"/>
                  </a:lnTo>
                  <a:lnTo>
                    <a:pt x="625" y="437"/>
                  </a:lnTo>
                  <a:lnTo>
                    <a:pt x="625" y="437"/>
                  </a:lnTo>
                  <a:lnTo>
                    <a:pt x="625" y="451"/>
                  </a:lnTo>
                  <a:lnTo>
                    <a:pt x="625" y="451"/>
                  </a:lnTo>
                  <a:lnTo>
                    <a:pt x="612" y="444"/>
                  </a:lnTo>
                  <a:lnTo>
                    <a:pt x="612" y="444"/>
                  </a:lnTo>
                  <a:lnTo>
                    <a:pt x="612" y="451"/>
                  </a:lnTo>
                  <a:lnTo>
                    <a:pt x="612" y="451"/>
                  </a:lnTo>
                  <a:lnTo>
                    <a:pt x="605" y="451"/>
                  </a:lnTo>
                  <a:lnTo>
                    <a:pt x="602" y="451"/>
                  </a:lnTo>
                  <a:lnTo>
                    <a:pt x="602" y="451"/>
                  </a:lnTo>
                  <a:lnTo>
                    <a:pt x="595" y="454"/>
                  </a:lnTo>
                  <a:lnTo>
                    <a:pt x="595" y="454"/>
                  </a:lnTo>
                  <a:lnTo>
                    <a:pt x="595" y="447"/>
                  </a:lnTo>
                  <a:lnTo>
                    <a:pt x="595" y="444"/>
                  </a:lnTo>
                  <a:lnTo>
                    <a:pt x="595" y="444"/>
                  </a:lnTo>
                  <a:lnTo>
                    <a:pt x="588" y="444"/>
                  </a:lnTo>
                  <a:lnTo>
                    <a:pt x="588" y="441"/>
                  </a:lnTo>
                  <a:lnTo>
                    <a:pt x="588" y="441"/>
                  </a:lnTo>
                  <a:lnTo>
                    <a:pt x="598" y="441"/>
                  </a:lnTo>
                  <a:lnTo>
                    <a:pt x="598" y="441"/>
                  </a:lnTo>
                  <a:lnTo>
                    <a:pt x="598" y="434"/>
                  </a:lnTo>
                  <a:lnTo>
                    <a:pt x="602" y="430"/>
                  </a:lnTo>
                  <a:lnTo>
                    <a:pt x="602" y="427"/>
                  </a:lnTo>
                  <a:lnTo>
                    <a:pt x="602" y="427"/>
                  </a:lnTo>
                  <a:lnTo>
                    <a:pt x="615" y="434"/>
                  </a:lnTo>
                  <a:lnTo>
                    <a:pt x="615" y="430"/>
                  </a:lnTo>
                  <a:lnTo>
                    <a:pt x="615" y="430"/>
                  </a:lnTo>
                  <a:lnTo>
                    <a:pt x="642" y="430"/>
                  </a:lnTo>
                  <a:lnTo>
                    <a:pt x="642" y="430"/>
                  </a:lnTo>
                  <a:lnTo>
                    <a:pt x="642" y="424"/>
                  </a:lnTo>
                  <a:lnTo>
                    <a:pt x="642" y="424"/>
                  </a:lnTo>
                  <a:lnTo>
                    <a:pt x="649" y="420"/>
                  </a:lnTo>
                  <a:lnTo>
                    <a:pt x="649" y="420"/>
                  </a:lnTo>
                  <a:lnTo>
                    <a:pt x="652" y="404"/>
                  </a:lnTo>
                  <a:lnTo>
                    <a:pt x="652" y="404"/>
                  </a:lnTo>
                  <a:lnTo>
                    <a:pt x="656" y="404"/>
                  </a:lnTo>
                  <a:lnTo>
                    <a:pt x="659" y="407"/>
                  </a:lnTo>
                  <a:lnTo>
                    <a:pt x="659" y="407"/>
                  </a:lnTo>
                  <a:lnTo>
                    <a:pt x="666" y="407"/>
                  </a:lnTo>
                  <a:lnTo>
                    <a:pt x="666" y="407"/>
                  </a:lnTo>
                  <a:lnTo>
                    <a:pt x="679" y="390"/>
                  </a:lnTo>
                  <a:lnTo>
                    <a:pt x="689" y="383"/>
                  </a:lnTo>
                  <a:lnTo>
                    <a:pt x="699" y="377"/>
                  </a:lnTo>
                  <a:lnTo>
                    <a:pt x="699" y="377"/>
                  </a:lnTo>
                  <a:lnTo>
                    <a:pt x="703" y="380"/>
                  </a:lnTo>
                  <a:lnTo>
                    <a:pt x="703" y="383"/>
                  </a:lnTo>
                  <a:lnTo>
                    <a:pt x="703" y="383"/>
                  </a:lnTo>
                  <a:lnTo>
                    <a:pt x="709" y="370"/>
                  </a:lnTo>
                  <a:lnTo>
                    <a:pt x="713" y="367"/>
                  </a:lnTo>
                  <a:lnTo>
                    <a:pt x="723" y="363"/>
                  </a:lnTo>
                  <a:lnTo>
                    <a:pt x="723" y="363"/>
                  </a:lnTo>
                  <a:lnTo>
                    <a:pt x="729" y="363"/>
                  </a:lnTo>
                  <a:lnTo>
                    <a:pt x="729" y="363"/>
                  </a:lnTo>
                  <a:lnTo>
                    <a:pt x="733" y="353"/>
                  </a:lnTo>
                  <a:lnTo>
                    <a:pt x="733" y="353"/>
                  </a:lnTo>
                  <a:lnTo>
                    <a:pt x="736" y="353"/>
                  </a:lnTo>
                  <a:lnTo>
                    <a:pt x="740" y="350"/>
                  </a:lnTo>
                  <a:lnTo>
                    <a:pt x="740" y="350"/>
                  </a:lnTo>
                  <a:lnTo>
                    <a:pt x="746" y="343"/>
                  </a:lnTo>
                  <a:lnTo>
                    <a:pt x="746" y="343"/>
                  </a:lnTo>
                  <a:lnTo>
                    <a:pt x="750" y="343"/>
                  </a:lnTo>
                  <a:lnTo>
                    <a:pt x="750" y="343"/>
                  </a:lnTo>
                  <a:lnTo>
                    <a:pt x="756" y="336"/>
                  </a:lnTo>
                  <a:lnTo>
                    <a:pt x="756" y="330"/>
                  </a:lnTo>
                  <a:lnTo>
                    <a:pt x="760" y="326"/>
                  </a:lnTo>
                  <a:lnTo>
                    <a:pt x="760" y="326"/>
                  </a:lnTo>
                  <a:lnTo>
                    <a:pt x="766" y="326"/>
                  </a:lnTo>
                  <a:lnTo>
                    <a:pt x="773" y="326"/>
                  </a:lnTo>
                  <a:lnTo>
                    <a:pt x="783" y="326"/>
                  </a:lnTo>
                  <a:lnTo>
                    <a:pt x="783" y="326"/>
                  </a:lnTo>
                  <a:lnTo>
                    <a:pt x="787" y="323"/>
                  </a:lnTo>
                  <a:lnTo>
                    <a:pt x="787" y="323"/>
                  </a:lnTo>
                  <a:lnTo>
                    <a:pt x="783" y="320"/>
                  </a:lnTo>
                  <a:lnTo>
                    <a:pt x="783" y="313"/>
                  </a:lnTo>
                  <a:lnTo>
                    <a:pt x="783" y="313"/>
                  </a:lnTo>
                  <a:lnTo>
                    <a:pt x="790" y="306"/>
                  </a:lnTo>
                  <a:lnTo>
                    <a:pt x="793" y="303"/>
                  </a:lnTo>
                  <a:lnTo>
                    <a:pt x="793" y="299"/>
                  </a:lnTo>
                  <a:lnTo>
                    <a:pt x="793" y="299"/>
                  </a:lnTo>
                  <a:lnTo>
                    <a:pt x="793" y="289"/>
                  </a:lnTo>
                  <a:lnTo>
                    <a:pt x="797" y="286"/>
                  </a:lnTo>
                  <a:lnTo>
                    <a:pt x="797" y="286"/>
                  </a:lnTo>
                  <a:lnTo>
                    <a:pt x="800" y="283"/>
                  </a:lnTo>
                  <a:lnTo>
                    <a:pt x="803" y="276"/>
                  </a:lnTo>
                  <a:lnTo>
                    <a:pt x="803" y="276"/>
                  </a:lnTo>
                  <a:lnTo>
                    <a:pt x="807" y="266"/>
                  </a:lnTo>
                  <a:lnTo>
                    <a:pt x="814" y="262"/>
                  </a:lnTo>
                  <a:lnTo>
                    <a:pt x="814" y="262"/>
                  </a:lnTo>
                  <a:lnTo>
                    <a:pt x="830" y="262"/>
                  </a:lnTo>
                  <a:lnTo>
                    <a:pt x="830" y="262"/>
                  </a:lnTo>
                  <a:lnTo>
                    <a:pt x="840" y="259"/>
                  </a:lnTo>
                  <a:lnTo>
                    <a:pt x="847" y="259"/>
                  </a:lnTo>
                  <a:lnTo>
                    <a:pt x="847" y="256"/>
                  </a:lnTo>
                  <a:lnTo>
                    <a:pt x="847" y="256"/>
                  </a:lnTo>
                  <a:lnTo>
                    <a:pt x="850" y="242"/>
                  </a:lnTo>
                  <a:lnTo>
                    <a:pt x="854" y="236"/>
                  </a:lnTo>
                  <a:lnTo>
                    <a:pt x="857" y="229"/>
                  </a:lnTo>
                  <a:lnTo>
                    <a:pt x="857" y="229"/>
                  </a:lnTo>
                  <a:lnTo>
                    <a:pt x="861" y="222"/>
                  </a:lnTo>
                  <a:lnTo>
                    <a:pt x="857" y="219"/>
                  </a:lnTo>
                  <a:lnTo>
                    <a:pt x="850" y="209"/>
                  </a:lnTo>
                  <a:lnTo>
                    <a:pt x="850" y="209"/>
                  </a:lnTo>
                  <a:lnTo>
                    <a:pt x="847" y="199"/>
                  </a:lnTo>
                  <a:lnTo>
                    <a:pt x="844" y="195"/>
                  </a:lnTo>
                  <a:lnTo>
                    <a:pt x="844" y="195"/>
                  </a:lnTo>
                  <a:lnTo>
                    <a:pt x="844" y="195"/>
                  </a:lnTo>
                  <a:lnTo>
                    <a:pt x="837" y="199"/>
                  </a:lnTo>
                  <a:lnTo>
                    <a:pt x="834" y="192"/>
                  </a:lnTo>
                  <a:lnTo>
                    <a:pt x="834" y="192"/>
                  </a:lnTo>
                  <a:lnTo>
                    <a:pt x="834" y="192"/>
                  </a:lnTo>
                  <a:lnTo>
                    <a:pt x="837" y="188"/>
                  </a:lnTo>
                  <a:lnTo>
                    <a:pt x="844" y="185"/>
                  </a:lnTo>
                  <a:lnTo>
                    <a:pt x="844" y="185"/>
                  </a:lnTo>
                  <a:lnTo>
                    <a:pt x="844" y="178"/>
                  </a:lnTo>
                  <a:lnTo>
                    <a:pt x="844" y="175"/>
                  </a:lnTo>
                  <a:lnTo>
                    <a:pt x="847" y="175"/>
                  </a:lnTo>
                  <a:lnTo>
                    <a:pt x="847" y="175"/>
                  </a:lnTo>
                  <a:lnTo>
                    <a:pt x="850" y="172"/>
                  </a:lnTo>
                  <a:lnTo>
                    <a:pt x="850" y="165"/>
                  </a:lnTo>
                  <a:lnTo>
                    <a:pt x="850" y="165"/>
                  </a:lnTo>
                  <a:lnTo>
                    <a:pt x="850" y="162"/>
                  </a:lnTo>
                  <a:lnTo>
                    <a:pt x="847" y="162"/>
                  </a:lnTo>
                  <a:lnTo>
                    <a:pt x="840" y="165"/>
                  </a:lnTo>
                  <a:lnTo>
                    <a:pt x="840" y="165"/>
                  </a:lnTo>
                  <a:lnTo>
                    <a:pt x="837" y="162"/>
                  </a:lnTo>
                  <a:lnTo>
                    <a:pt x="834" y="158"/>
                  </a:lnTo>
                  <a:lnTo>
                    <a:pt x="837" y="152"/>
                  </a:lnTo>
                  <a:lnTo>
                    <a:pt x="837" y="152"/>
                  </a:lnTo>
                  <a:lnTo>
                    <a:pt x="840" y="145"/>
                  </a:lnTo>
                  <a:lnTo>
                    <a:pt x="847" y="141"/>
                  </a:lnTo>
                  <a:lnTo>
                    <a:pt x="847" y="141"/>
                  </a:lnTo>
                  <a:lnTo>
                    <a:pt x="850" y="135"/>
                  </a:lnTo>
                  <a:lnTo>
                    <a:pt x="847" y="128"/>
                  </a:lnTo>
                  <a:lnTo>
                    <a:pt x="847" y="128"/>
                  </a:lnTo>
                  <a:lnTo>
                    <a:pt x="844" y="125"/>
                  </a:lnTo>
                  <a:lnTo>
                    <a:pt x="847" y="115"/>
                  </a:lnTo>
                  <a:lnTo>
                    <a:pt x="847" y="115"/>
                  </a:lnTo>
                  <a:lnTo>
                    <a:pt x="844" y="111"/>
                  </a:lnTo>
                  <a:lnTo>
                    <a:pt x="840" y="111"/>
                  </a:lnTo>
                  <a:lnTo>
                    <a:pt x="830" y="118"/>
                  </a:lnTo>
                  <a:lnTo>
                    <a:pt x="830" y="118"/>
                  </a:lnTo>
                  <a:lnTo>
                    <a:pt x="820" y="118"/>
                  </a:lnTo>
                  <a:lnTo>
                    <a:pt x="814" y="121"/>
                  </a:lnTo>
                  <a:lnTo>
                    <a:pt x="814" y="121"/>
                  </a:lnTo>
                  <a:lnTo>
                    <a:pt x="800" y="115"/>
                  </a:lnTo>
                  <a:lnTo>
                    <a:pt x="790" y="111"/>
                  </a:lnTo>
                  <a:lnTo>
                    <a:pt x="790" y="111"/>
                  </a:lnTo>
                  <a:lnTo>
                    <a:pt x="777" y="115"/>
                  </a:lnTo>
                  <a:lnTo>
                    <a:pt x="777" y="115"/>
                  </a:lnTo>
                  <a:lnTo>
                    <a:pt x="770" y="111"/>
                  </a:lnTo>
                  <a:lnTo>
                    <a:pt x="766" y="104"/>
                  </a:lnTo>
                  <a:lnTo>
                    <a:pt x="766" y="104"/>
                  </a:lnTo>
                  <a:lnTo>
                    <a:pt x="763" y="104"/>
                  </a:lnTo>
                  <a:lnTo>
                    <a:pt x="760" y="101"/>
                  </a:lnTo>
                  <a:lnTo>
                    <a:pt x="753" y="101"/>
                  </a:lnTo>
                  <a:lnTo>
                    <a:pt x="753" y="101"/>
                  </a:lnTo>
                  <a:lnTo>
                    <a:pt x="750" y="101"/>
                  </a:lnTo>
                  <a:lnTo>
                    <a:pt x="750" y="101"/>
                  </a:lnTo>
                  <a:lnTo>
                    <a:pt x="750" y="108"/>
                  </a:lnTo>
                  <a:lnTo>
                    <a:pt x="750" y="108"/>
                  </a:lnTo>
                  <a:lnTo>
                    <a:pt x="753" y="111"/>
                  </a:lnTo>
                  <a:lnTo>
                    <a:pt x="750" y="111"/>
                  </a:lnTo>
                  <a:lnTo>
                    <a:pt x="746" y="108"/>
                  </a:lnTo>
                  <a:lnTo>
                    <a:pt x="746" y="108"/>
                  </a:lnTo>
                  <a:lnTo>
                    <a:pt x="740" y="104"/>
                  </a:lnTo>
                  <a:lnTo>
                    <a:pt x="736" y="104"/>
                  </a:lnTo>
                  <a:lnTo>
                    <a:pt x="726" y="101"/>
                  </a:lnTo>
                  <a:lnTo>
                    <a:pt x="726" y="101"/>
                  </a:lnTo>
                  <a:lnTo>
                    <a:pt x="719" y="98"/>
                  </a:lnTo>
                  <a:lnTo>
                    <a:pt x="719" y="94"/>
                  </a:lnTo>
                  <a:lnTo>
                    <a:pt x="716" y="84"/>
                  </a:lnTo>
                  <a:lnTo>
                    <a:pt x="716" y="84"/>
                  </a:lnTo>
                  <a:lnTo>
                    <a:pt x="713" y="81"/>
                  </a:lnTo>
                  <a:lnTo>
                    <a:pt x="709" y="84"/>
                  </a:lnTo>
                  <a:lnTo>
                    <a:pt x="709" y="84"/>
                  </a:lnTo>
                  <a:lnTo>
                    <a:pt x="703" y="91"/>
                  </a:lnTo>
                  <a:lnTo>
                    <a:pt x="693" y="94"/>
                  </a:lnTo>
                  <a:lnTo>
                    <a:pt x="693" y="94"/>
                  </a:lnTo>
                  <a:lnTo>
                    <a:pt x="682" y="101"/>
                  </a:lnTo>
                  <a:lnTo>
                    <a:pt x="679" y="104"/>
                  </a:lnTo>
                  <a:lnTo>
                    <a:pt x="676" y="111"/>
                  </a:lnTo>
                  <a:lnTo>
                    <a:pt x="672" y="111"/>
                  </a:lnTo>
                  <a:lnTo>
                    <a:pt x="672" y="111"/>
                  </a:lnTo>
                  <a:lnTo>
                    <a:pt x="669" y="111"/>
                  </a:lnTo>
                  <a:lnTo>
                    <a:pt x="666" y="108"/>
                  </a:lnTo>
                  <a:lnTo>
                    <a:pt x="666" y="108"/>
                  </a:lnTo>
                  <a:lnTo>
                    <a:pt x="659" y="108"/>
                  </a:lnTo>
                  <a:lnTo>
                    <a:pt x="659" y="108"/>
                  </a:lnTo>
                  <a:lnTo>
                    <a:pt x="639" y="104"/>
                  </a:lnTo>
                  <a:lnTo>
                    <a:pt x="639" y="104"/>
                  </a:lnTo>
                  <a:lnTo>
                    <a:pt x="635" y="104"/>
                  </a:lnTo>
                  <a:lnTo>
                    <a:pt x="635" y="108"/>
                  </a:lnTo>
                  <a:lnTo>
                    <a:pt x="629" y="115"/>
                  </a:lnTo>
                  <a:lnTo>
                    <a:pt x="629" y="115"/>
                  </a:lnTo>
                  <a:lnTo>
                    <a:pt x="629" y="115"/>
                  </a:lnTo>
                  <a:lnTo>
                    <a:pt x="625" y="111"/>
                  </a:lnTo>
                  <a:lnTo>
                    <a:pt x="615" y="101"/>
                  </a:lnTo>
                  <a:lnTo>
                    <a:pt x="615" y="101"/>
                  </a:lnTo>
                  <a:lnTo>
                    <a:pt x="612" y="94"/>
                  </a:lnTo>
                  <a:lnTo>
                    <a:pt x="612" y="84"/>
                  </a:lnTo>
                  <a:lnTo>
                    <a:pt x="612" y="84"/>
                  </a:lnTo>
                  <a:lnTo>
                    <a:pt x="608" y="81"/>
                  </a:lnTo>
                  <a:lnTo>
                    <a:pt x="608" y="78"/>
                  </a:lnTo>
                  <a:lnTo>
                    <a:pt x="602" y="78"/>
                  </a:lnTo>
                  <a:lnTo>
                    <a:pt x="602" y="78"/>
                  </a:lnTo>
                  <a:lnTo>
                    <a:pt x="598" y="74"/>
                  </a:lnTo>
                  <a:lnTo>
                    <a:pt x="598" y="71"/>
                  </a:lnTo>
                  <a:lnTo>
                    <a:pt x="598" y="71"/>
                  </a:lnTo>
                  <a:lnTo>
                    <a:pt x="595" y="68"/>
                  </a:lnTo>
                  <a:lnTo>
                    <a:pt x="595" y="68"/>
                  </a:lnTo>
                  <a:lnTo>
                    <a:pt x="585" y="64"/>
                  </a:lnTo>
                  <a:lnTo>
                    <a:pt x="575" y="57"/>
                  </a:lnTo>
                  <a:lnTo>
                    <a:pt x="575" y="57"/>
                  </a:lnTo>
                  <a:lnTo>
                    <a:pt x="572" y="57"/>
                  </a:lnTo>
                  <a:lnTo>
                    <a:pt x="572" y="57"/>
                  </a:lnTo>
                  <a:lnTo>
                    <a:pt x="565" y="61"/>
                  </a:lnTo>
                  <a:lnTo>
                    <a:pt x="565" y="61"/>
                  </a:lnTo>
                  <a:lnTo>
                    <a:pt x="561" y="64"/>
                  </a:lnTo>
                  <a:lnTo>
                    <a:pt x="555" y="61"/>
                  </a:lnTo>
                  <a:lnTo>
                    <a:pt x="548" y="57"/>
                  </a:lnTo>
                  <a:lnTo>
                    <a:pt x="548" y="57"/>
                  </a:lnTo>
                  <a:lnTo>
                    <a:pt x="545" y="54"/>
                  </a:lnTo>
                  <a:lnTo>
                    <a:pt x="541" y="51"/>
                  </a:lnTo>
                  <a:lnTo>
                    <a:pt x="545" y="41"/>
                  </a:lnTo>
                  <a:lnTo>
                    <a:pt x="545" y="41"/>
                  </a:lnTo>
                  <a:lnTo>
                    <a:pt x="541" y="37"/>
                  </a:lnTo>
                  <a:lnTo>
                    <a:pt x="538" y="34"/>
                  </a:lnTo>
                  <a:lnTo>
                    <a:pt x="535" y="31"/>
                  </a:lnTo>
                  <a:lnTo>
                    <a:pt x="535" y="31"/>
                  </a:lnTo>
                  <a:lnTo>
                    <a:pt x="541" y="24"/>
                  </a:lnTo>
                  <a:lnTo>
                    <a:pt x="541" y="24"/>
                  </a:lnTo>
                  <a:lnTo>
                    <a:pt x="541" y="20"/>
                  </a:lnTo>
                  <a:lnTo>
                    <a:pt x="541" y="17"/>
                  </a:lnTo>
                  <a:lnTo>
                    <a:pt x="538" y="14"/>
                  </a:lnTo>
                  <a:lnTo>
                    <a:pt x="535" y="10"/>
                  </a:lnTo>
                  <a:lnTo>
                    <a:pt x="535" y="10"/>
                  </a:lnTo>
                  <a:lnTo>
                    <a:pt x="528" y="14"/>
                  </a:lnTo>
                  <a:lnTo>
                    <a:pt x="528" y="17"/>
                  </a:lnTo>
                  <a:lnTo>
                    <a:pt x="528" y="17"/>
                  </a:lnTo>
                  <a:lnTo>
                    <a:pt x="524" y="4"/>
                  </a:lnTo>
                  <a:lnTo>
                    <a:pt x="524" y="4"/>
                  </a:lnTo>
                  <a:lnTo>
                    <a:pt x="521" y="0"/>
                  </a:lnTo>
                  <a:lnTo>
                    <a:pt x="518" y="0"/>
                  </a:lnTo>
                  <a:lnTo>
                    <a:pt x="511" y="4"/>
                  </a:lnTo>
                  <a:lnTo>
                    <a:pt x="511" y="4"/>
                  </a:lnTo>
                  <a:lnTo>
                    <a:pt x="508" y="7"/>
                  </a:lnTo>
                  <a:lnTo>
                    <a:pt x="504" y="10"/>
                  </a:lnTo>
                  <a:lnTo>
                    <a:pt x="504" y="14"/>
                  </a:lnTo>
                  <a:lnTo>
                    <a:pt x="504" y="14"/>
                  </a:lnTo>
                  <a:lnTo>
                    <a:pt x="504" y="14"/>
                  </a:lnTo>
                  <a:lnTo>
                    <a:pt x="494" y="7"/>
                  </a:lnTo>
                  <a:lnTo>
                    <a:pt x="488" y="4"/>
                  </a:lnTo>
                  <a:lnTo>
                    <a:pt x="481" y="10"/>
                  </a:lnTo>
                  <a:lnTo>
                    <a:pt x="481" y="10"/>
                  </a:lnTo>
                  <a:lnTo>
                    <a:pt x="474" y="17"/>
                  </a:lnTo>
                  <a:lnTo>
                    <a:pt x="471" y="20"/>
                  </a:lnTo>
                  <a:lnTo>
                    <a:pt x="461" y="17"/>
                  </a:lnTo>
                  <a:lnTo>
                    <a:pt x="461" y="17"/>
                  </a:lnTo>
                  <a:lnTo>
                    <a:pt x="454" y="20"/>
                  </a:lnTo>
                  <a:lnTo>
                    <a:pt x="451" y="24"/>
                  </a:lnTo>
                  <a:lnTo>
                    <a:pt x="451" y="24"/>
                  </a:lnTo>
                  <a:lnTo>
                    <a:pt x="444" y="27"/>
                  </a:lnTo>
                  <a:lnTo>
                    <a:pt x="444" y="27"/>
                  </a:lnTo>
                  <a:lnTo>
                    <a:pt x="440" y="31"/>
                  </a:lnTo>
                  <a:lnTo>
                    <a:pt x="440" y="31"/>
                  </a:lnTo>
                  <a:lnTo>
                    <a:pt x="440" y="34"/>
                  </a:lnTo>
                  <a:lnTo>
                    <a:pt x="434" y="37"/>
                  </a:lnTo>
                  <a:lnTo>
                    <a:pt x="434" y="37"/>
                  </a:lnTo>
                  <a:lnTo>
                    <a:pt x="430" y="37"/>
                  </a:lnTo>
                  <a:lnTo>
                    <a:pt x="424" y="34"/>
                  </a:lnTo>
                  <a:lnTo>
                    <a:pt x="424" y="34"/>
                  </a:lnTo>
                  <a:lnTo>
                    <a:pt x="417" y="34"/>
                  </a:lnTo>
                  <a:lnTo>
                    <a:pt x="417" y="34"/>
                  </a:lnTo>
                  <a:lnTo>
                    <a:pt x="414" y="34"/>
                  </a:lnTo>
                  <a:lnTo>
                    <a:pt x="410" y="34"/>
                  </a:lnTo>
                  <a:lnTo>
                    <a:pt x="407" y="34"/>
                  </a:lnTo>
                  <a:lnTo>
                    <a:pt x="407" y="34"/>
                  </a:lnTo>
                  <a:lnTo>
                    <a:pt x="403" y="34"/>
                  </a:lnTo>
                  <a:lnTo>
                    <a:pt x="403" y="37"/>
                  </a:lnTo>
                  <a:lnTo>
                    <a:pt x="400" y="41"/>
                  </a:lnTo>
                  <a:lnTo>
                    <a:pt x="393" y="37"/>
                  </a:lnTo>
                  <a:lnTo>
                    <a:pt x="393" y="37"/>
                  </a:lnTo>
                  <a:lnTo>
                    <a:pt x="390" y="41"/>
                  </a:lnTo>
                  <a:lnTo>
                    <a:pt x="387" y="44"/>
                  </a:lnTo>
                  <a:lnTo>
                    <a:pt x="387" y="47"/>
                  </a:lnTo>
                  <a:lnTo>
                    <a:pt x="383" y="51"/>
                  </a:lnTo>
                  <a:lnTo>
                    <a:pt x="383" y="51"/>
                  </a:lnTo>
                  <a:lnTo>
                    <a:pt x="380" y="57"/>
                  </a:lnTo>
                  <a:lnTo>
                    <a:pt x="377" y="64"/>
                  </a:lnTo>
                  <a:lnTo>
                    <a:pt x="377" y="81"/>
                  </a:lnTo>
                  <a:lnTo>
                    <a:pt x="377" y="81"/>
                  </a:lnTo>
                  <a:lnTo>
                    <a:pt x="377" y="88"/>
                  </a:lnTo>
                  <a:lnTo>
                    <a:pt x="377" y="91"/>
                  </a:lnTo>
                  <a:lnTo>
                    <a:pt x="373" y="94"/>
                  </a:lnTo>
                  <a:lnTo>
                    <a:pt x="370" y="94"/>
                  </a:lnTo>
                  <a:close/>
                </a:path>
              </a:pathLst>
            </a:custGeom>
            <a:solidFill>
              <a:srgbClr val="C0C0C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EYInterstate" pitchFamily="2" charset="0"/>
                <a:cs typeface="Arial" charset="0"/>
              </a:endParaRPr>
            </a:p>
          </p:txBody>
        </p:sp>
        <p:sp>
          <p:nvSpPr>
            <p:cNvPr id="18" name="Freeform 32"/>
            <p:cNvSpPr>
              <a:spLocks/>
            </p:cNvSpPr>
            <p:nvPr/>
          </p:nvSpPr>
          <p:spPr bwMode="auto">
            <a:xfrm>
              <a:off x="2654" y="2761"/>
              <a:ext cx="233" cy="124"/>
            </a:xfrm>
            <a:custGeom>
              <a:avLst/>
              <a:gdLst/>
              <a:ahLst/>
              <a:cxnLst>
                <a:cxn ang="0">
                  <a:pos x="181" y="20"/>
                </a:cxn>
                <a:cxn ang="0">
                  <a:pos x="175" y="17"/>
                </a:cxn>
                <a:cxn ang="0">
                  <a:pos x="158" y="13"/>
                </a:cxn>
                <a:cxn ang="0">
                  <a:pos x="151" y="3"/>
                </a:cxn>
                <a:cxn ang="0">
                  <a:pos x="138" y="3"/>
                </a:cxn>
                <a:cxn ang="0">
                  <a:pos x="144" y="7"/>
                </a:cxn>
                <a:cxn ang="0">
                  <a:pos x="141" y="17"/>
                </a:cxn>
                <a:cxn ang="0">
                  <a:pos x="131" y="13"/>
                </a:cxn>
                <a:cxn ang="0">
                  <a:pos x="121" y="13"/>
                </a:cxn>
                <a:cxn ang="0">
                  <a:pos x="108" y="13"/>
                </a:cxn>
                <a:cxn ang="0">
                  <a:pos x="94" y="13"/>
                </a:cxn>
                <a:cxn ang="0">
                  <a:pos x="87" y="20"/>
                </a:cxn>
                <a:cxn ang="0">
                  <a:pos x="74" y="20"/>
                </a:cxn>
                <a:cxn ang="0">
                  <a:pos x="71" y="13"/>
                </a:cxn>
                <a:cxn ang="0">
                  <a:pos x="60" y="20"/>
                </a:cxn>
                <a:cxn ang="0">
                  <a:pos x="64" y="27"/>
                </a:cxn>
                <a:cxn ang="0">
                  <a:pos x="47" y="33"/>
                </a:cxn>
                <a:cxn ang="0">
                  <a:pos x="40" y="40"/>
                </a:cxn>
                <a:cxn ang="0">
                  <a:pos x="24" y="47"/>
                </a:cxn>
                <a:cxn ang="0">
                  <a:pos x="17" y="57"/>
                </a:cxn>
                <a:cxn ang="0">
                  <a:pos x="10" y="67"/>
                </a:cxn>
                <a:cxn ang="0">
                  <a:pos x="3" y="77"/>
                </a:cxn>
                <a:cxn ang="0">
                  <a:pos x="3" y="91"/>
                </a:cxn>
                <a:cxn ang="0">
                  <a:pos x="3" y="94"/>
                </a:cxn>
                <a:cxn ang="0">
                  <a:pos x="13" y="84"/>
                </a:cxn>
                <a:cxn ang="0">
                  <a:pos x="30" y="84"/>
                </a:cxn>
                <a:cxn ang="0">
                  <a:pos x="24" y="94"/>
                </a:cxn>
                <a:cxn ang="0">
                  <a:pos x="27" y="101"/>
                </a:cxn>
                <a:cxn ang="0">
                  <a:pos x="37" y="118"/>
                </a:cxn>
                <a:cxn ang="0">
                  <a:pos x="54" y="118"/>
                </a:cxn>
                <a:cxn ang="0">
                  <a:pos x="67" y="118"/>
                </a:cxn>
                <a:cxn ang="0">
                  <a:pos x="74" y="104"/>
                </a:cxn>
                <a:cxn ang="0">
                  <a:pos x="84" y="107"/>
                </a:cxn>
                <a:cxn ang="0">
                  <a:pos x="97" y="97"/>
                </a:cxn>
                <a:cxn ang="0">
                  <a:pos x="104" y="94"/>
                </a:cxn>
                <a:cxn ang="0">
                  <a:pos x="104" y="107"/>
                </a:cxn>
                <a:cxn ang="0">
                  <a:pos x="97" y="114"/>
                </a:cxn>
                <a:cxn ang="0">
                  <a:pos x="111" y="118"/>
                </a:cxn>
                <a:cxn ang="0">
                  <a:pos x="121" y="118"/>
                </a:cxn>
                <a:cxn ang="0">
                  <a:pos x="124" y="124"/>
                </a:cxn>
                <a:cxn ang="0">
                  <a:pos x="134" y="131"/>
                </a:cxn>
                <a:cxn ang="0">
                  <a:pos x="138" y="134"/>
                </a:cxn>
                <a:cxn ang="0">
                  <a:pos x="148" y="124"/>
                </a:cxn>
                <a:cxn ang="0">
                  <a:pos x="158" y="111"/>
                </a:cxn>
                <a:cxn ang="0">
                  <a:pos x="161" y="94"/>
                </a:cxn>
                <a:cxn ang="0">
                  <a:pos x="171" y="94"/>
                </a:cxn>
                <a:cxn ang="0">
                  <a:pos x="171" y="107"/>
                </a:cxn>
                <a:cxn ang="0">
                  <a:pos x="192" y="111"/>
                </a:cxn>
                <a:cxn ang="0">
                  <a:pos x="198" y="111"/>
                </a:cxn>
                <a:cxn ang="0">
                  <a:pos x="202" y="118"/>
                </a:cxn>
                <a:cxn ang="0">
                  <a:pos x="205" y="107"/>
                </a:cxn>
                <a:cxn ang="0">
                  <a:pos x="205" y="101"/>
                </a:cxn>
                <a:cxn ang="0">
                  <a:pos x="215" y="94"/>
                </a:cxn>
                <a:cxn ang="0">
                  <a:pos x="222" y="97"/>
                </a:cxn>
                <a:cxn ang="0">
                  <a:pos x="232" y="97"/>
                </a:cxn>
                <a:cxn ang="0">
                  <a:pos x="225" y="91"/>
                </a:cxn>
                <a:cxn ang="0">
                  <a:pos x="222" y="77"/>
                </a:cxn>
                <a:cxn ang="0">
                  <a:pos x="212" y="81"/>
                </a:cxn>
                <a:cxn ang="0">
                  <a:pos x="202" y="67"/>
                </a:cxn>
                <a:cxn ang="0">
                  <a:pos x="185" y="67"/>
                </a:cxn>
                <a:cxn ang="0">
                  <a:pos x="178" y="64"/>
                </a:cxn>
                <a:cxn ang="0">
                  <a:pos x="185" y="44"/>
                </a:cxn>
              </a:cxnLst>
              <a:rect l="0" t="0" r="r" b="b"/>
              <a:pathLst>
                <a:path w="232" h="134">
                  <a:moveTo>
                    <a:pt x="185" y="30"/>
                  </a:moveTo>
                  <a:lnTo>
                    <a:pt x="185" y="30"/>
                  </a:lnTo>
                  <a:lnTo>
                    <a:pt x="181" y="27"/>
                  </a:lnTo>
                  <a:lnTo>
                    <a:pt x="181" y="23"/>
                  </a:lnTo>
                  <a:lnTo>
                    <a:pt x="181" y="20"/>
                  </a:lnTo>
                  <a:lnTo>
                    <a:pt x="181" y="20"/>
                  </a:lnTo>
                  <a:lnTo>
                    <a:pt x="181" y="20"/>
                  </a:lnTo>
                  <a:lnTo>
                    <a:pt x="181" y="20"/>
                  </a:lnTo>
                  <a:lnTo>
                    <a:pt x="181" y="20"/>
                  </a:lnTo>
                  <a:lnTo>
                    <a:pt x="178" y="20"/>
                  </a:lnTo>
                  <a:lnTo>
                    <a:pt x="178" y="20"/>
                  </a:lnTo>
                  <a:lnTo>
                    <a:pt x="175" y="17"/>
                  </a:lnTo>
                  <a:lnTo>
                    <a:pt x="175" y="17"/>
                  </a:lnTo>
                  <a:lnTo>
                    <a:pt x="168" y="10"/>
                  </a:lnTo>
                  <a:lnTo>
                    <a:pt x="168" y="10"/>
                  </a:lnTo>
                  <a:lnTo>
                    <a:pt x="161" y="13"/>
                  </a:lnTo>
                  <a:lnTo>
                    <a:pt x="158" y="13"/>
                  </a:lnTo>
                  <a:lnTo>
                    <a:pt x="158" y="13"/>
                  </a:lnTo>
                  <a:lnTo>
                    <a:pt x="155" y="10"/>
                  </a:lnTo>
                  <a:lnTo>
                    <a:pt x="155" y="10"/>
                  </a:lnTo>
                  <a:lnTo>
                    <a:pt x="151" y="7"/>
                  </a:lnTo>
                  <a:lnTo>
                    <a:pt x="151" y="7"/>
                  </a:lnTo>
                  <a:lnTo>
                    <a:pt x="151" y="3"/>
                  </a:lnTo>
                  <a:lnTo>
                    <a:pt x="151" y="3"/>
                  </a:lnTo>
                  <a:lnTo>
                    <a:pt x="148" y="0"/>
                  </a:lnTo>
                  <a:lnTo>
                    <a:pt x="148" y="0"/>
                  </a:lnTo>
                  <a:lnTo>
                    <a:pt x="144" y="3"/>
                  </a:lnTo>
                  <a:lnTo>
                    <a:pt x="144" y="3"/>
                  </a:lnTo>
                  <a:lnTo>
                    <a:pt x="138" y="3"/>
                  </a:lnTo>
                  <a:lnTo>
                    <a:pt x="138" y="3"/>
                  </a:lnTo>
                  <a:lnTo>
                    <a:pt x="138" y="7"/>
                  </a:lnTo>
                  <a:lnTo>
                    <a:pt x="138" y="7"/>
                  </a:lnTo>
                  <a:lnTo>
                    <a:pt x="134" y="7"/>
                  </a:lnTo>
                  <a:lnTo>
                    <a:pt x="138" y="10"/>
                  </a:lnTo>
                  <a:lnTo>
                    <a:pt x="138" y="10"/>
                  </a:lnTo>
                  <a:lnTo>
                    <a:pt x="144" y="7"/>
                  </a:lnTo>
                  <a:lnTo>
                    <a:pt x="144" y="7"/>
                  </a:lnTo>
                  <a:lnTo>
                    <a:pt x="144" y="10"/>
                  </a:lnTo>
                  <a:lnTo>
                    <a:pt x="144" y="10"/>
                  </a:lnTo>
                  <a:lnTo>
                    <a:pt x="144" y="13"/>
                  </a:lnTo>
                  <a:lnTo>
                    <a:pt x="144" y="13"/>
                  </a:lnTo>
                  <a:lnTo>
                    <a:pt x="141" y="17"/>
                  </a:lnTo>
                  <a:lnTo>
                    <a:pt x="141" y="17"/>
                  </a:lnTo>
                  <a:lnTo>
                    <a:pt x="138" y="17"/>
                  </a:lnTo>
                  <a:lnTo>
                    <a:pt x="138" y="17"/>
                  </a:lnTo>
                  <a:lnTo>
                    <a:pt x="134" y="17"/>
                  </a:lnTo>
                  <a:lnTo>
                    <a:pt x="131" y="13"/>
                  </a:lnTo>
                  <a:lnTo>
                    <a:pt x="131" y="13"/>
                  </a:lnTo>
                  <a:lnTo>
                    <a:pt x="128" y="10"/>
                  </a:lnTo>
                  <a:lnTo>
                    <a:pt x="128" y="10"/>
                  </a:lnTo>
                  <a:lnTo>
                    <a:pt x="124" y="13"/>
                  </a:lnTo>
                  <a:lnTo>
                    <a:pt x="124" y="13"/>
                  </a:lnTo>
                  <a:lnTo>
                    <a:pt x="121" y="13"/>
                  </a:lnTo>
                  <a:lnTo>
                    <a:pt x="121" y="13"/>
                  </a:lnTo>
                  <a:lnTo>
                    <a:pt x="114" y="13"/>
                  </a:lnTo>
                  <a:lnTo>
                    <a:pt x="114" y="13"/>
                  </a:lnTo>
                  <a:lnTo>
                    <a:pt x="111" y="13"/>
                  </a:lnTo>
                  <a:lnTo>
                    <a:pt x="111" y="13"/>
                  </a:lnTo>
                  <a:lnTo>
                    <a:pt x="108" y="13"/>
                  </a:lnTo>
                  <a:lnTo>
                    <a:pt x="108" y="13"/>
                  </a:lnTo>
                  <a:lnTo>
                    <a:pt x="104" y="13"/>
                  </a:lnTo>
                  <a:lnTo>
                    <a:pt x="104" y="13"/>
                  </a:lnTo>
                  <a:lnTo>
                    <a:pt x="104" y="13"/>
                  </a:lnTo>
                  <a:lnTo>
                    <a:pt x="97" y="13"/>
                  </a:lnTo>
                  <a:lnTo>
                    <a:pt x="97" y="13"/>
                  </a:lnTo>
                  <a:lnTo>
                    <a:pt x="94" y="13"/>
                  </a:lnTo>
                  <a:lnTo>
                    <a:pt x="94" y="10"/>
                  </a:lnTo>
                  <a:lnTo>
                    <a:pt x="94" y="10"/>
                  </a:lnTo>
                  <a:lnTo>
                    <a:pt x="91" y="17"/>
                  </a:lnTo>
                  <a:lnTo>
                    <a:pt x="91" y="17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4" y="20"/>
                  </a:lnTo>
                  <a:lnTo>
                    <a:pt x="81" y="20"/>
                  </a:lnTo>
                  <a:lnTo>
                    <a:pt x="81" y="20"/>
                  </a:lnTo>
                  <a:lnTo>
                    <a:pt x="77" y="20"/>
                  </a:lnTo>
                  <a:lnTo>
                    <a:pt x="77" y="20"/>
                  </a:lnTo>
                  <a:lnTo>
                    <a:pt x="74" y="20"/>
                  </a:lnTo>
                  <a:lnTo>
                    <a:pt x="74" y="17"/>
                  </a:lnTo>
                  <a:lnTo>
                    <a:pt x="74" y="17"/>
                  </a:lnTo>
                  <a:lnTo>
                    <a:pt x="74" y="17"/>
                  </a:lnTo>
                  <a:lnTo>
                    <a:pt x="74" y="17"/>
                  </a:lnTo>
                  <a:lnTo>
                    <a:pt x="74" y="13"/>
                  </a:lnTo>
                  <a:lnTo>
                    <a:pt x="71" y="13"/>
                  </a:lnTo>
                  <a:lnTo>
                    <a:pt x="71" y="13"/>
                  </a:lnTo>
                  <a:lnTo>
                    <a:pt x="67" y="13"/>
                  </a:lnTo>
                  <a:lnTo>
                    <a:pt x="67" y="13"/>
                  </a:lnTo>
                  <a:lnTo>
                    <a:pt x="64" y="17"/>
                  </a:lnTo>
                  <a:lnTo>
                    <a:pt x="64" y="17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7" y="23"/>
                  </a:lnTo>
                  <a:lnTo>
                    <a:pt x="67" y="23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0" y="27"/>
                  </a:lnTo>
                  <a:lnTo>
                    <a:pt x="60" y="27"/>
                  </a:lnTo>
                  <a:lnTo>
                    <a:pt x="54" y="30"/>
                  </a:lnTo>
                  <a:lnTo>
                    <a:pt x="54" y="30"/>
                  </a:lnTo>
                  <a:lnTo>
                    <a:pt x="47" y="33"/>
                  </a:lnTo>
                  <a:lnTo>
                    <a:pt x="47" y="33"/>
                  </a:lnTo>
                  <a:lnTo>
                    <a:pt x="44" y="37"/>
                  </a:lnTo>
                  <a:lnTo>
                    <a:pt x="44" y="37"/>
                  </a:lnTo>
                  <a:lnTo>
                    <a:pt x="44" y="37"/>
                  </a:lnTo>
                  <a:lnTo>
                    <a:pt x="44" y="37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30" y="44"/>
                  </a:lnTo>
                  <a:lnTo>
                    <a:pt x="30" y="44"/>
                  </a:lnTo>
                  <a:lnTo>
                    <a:pt x="27" y="44"/>
                  </a:lnTo>
                  <a:lnTo>
                    <a:pt x="27" y="44"/>
                  </a:lnTo>
                  <a:lnTo>
                    <a:pt x="24" y="47"/>
                  </a:lnTo>
                  <a:lnTo>
                    <a:pt x="24" y="47"/>
                  </a:lnTo>
                  <a:lnTo>
                    <a:pt x="24" y="50"/>
                  </a:lnTo>
                  <a:lnTo>
                    <a:pt x="24" y="50"/>
                  </a:lnTo>
                  <a:lnTo>
                    <a:pt x="20" y="54"/>
                  </a:lnTo>
                  <a:lnTo>
                    <a:pt x="20" y="54"/>
                  </a:lnTo>
                  <a:lnTo>
                    <a:pt x="17" y="57"/>
                  </a:lnTo>
                  <a:lnTo>
                    <a:pt x="17" y="57"/>
                  </a:lnTo>
                  <a:lnTo>
                    <a:pt x="10" y="60"/>
                  </a:lnTo>
                  <a:lnTo>
                    <a:pt x="10" y="60"/>
                  </a:lnTo>
                  <a:lnTo>
                    <a:pt x="13" y="64"/>
                  </a:lnTo>
                  <a:lnTo>
                    <a:pt x="13" y="64"/>
                  </a:lnTo>
                  <a:lnTo>
                    <a:pt x="10" y="67"/>
                  </a:lnTo>
                  <a:lnTo>
                    <a:pt x="10" y="67"/>
                  </a:lnTo>
                  <a:lnTo>
                    <a:pt x="7" y="70"/>
                  </a:lnTo>
                  <a:lnTo>
                    <a:pt x="7" y="70"/>
                  </a:lnTo>
                  <a:lnTo>
                    <a:pt x="3" y="74"/>
                  </a:lnTo>
                  <a:lnTo>
                    <a:pt x="3" y="74"/>
                  </a:lnTo>
                  <a:lnTo>
                    <a:pt x="3" y="77"/>
                  </a:lnTo>
                  <a:lnTo>
                    <a:pt x="7" y="81"/>
                  </a:lnTo>
                  <a:lnTo>
                    <a:pt x="7" y="81"/>
                  </a:lnTo>
                  <a:lnTo>
                    <a:pt x="3" y="84"/>
                  </a:lnTo>
                  <a:lnTo>
                    <a:pt x="3" y="84"/>
                  </a:lnTo>
                  <a:lnTo>
                    <a:pt x="3" y="91"/>
                  </a:lnTo>
                  <a:lnTo>
                    <a:pt x="3" y="91"/>
                  </a:lnTo>
                  <a:lnTo>
                    <a:pt x="0" y="91"/>
                  </a:lnTo>
                  <a:lnTo>
                    <a:pt x="0" y="94"/>
                  </a:lnTo>
                  <a:lnTo>
                    <a:pt x="0" y="94"/>
                  </a:lnTo>
                  <a:lnTo>
                    <a:pt x="0" y="94"/>
                  </a:lnTo>
                  <a:lnTo>
                    <a:pt x="0" y="94"/>
                  </a:lnTo>
                  <a:lnTo>
                    <a:pt x="3" y="94"/>
                  </a:lnTo>
                  <a:lnTo>
                    <a:pt x="3" y="94"/>
                  </a:lnTo>
                  <a:lnTo>
                    <a:pt x="10" y="94"/>
                  </a:lnTo>
                  <a:lnTo>
                    <a:pt x="10" y="94"/>
                  </a:lnTo>
                  <a:lnTo>
                    <a:pt x="10" y="87"/>
                  </a:lnTo>
                  <a:lnTo>
                    <a:pt x="10" y="87"/>
                  </a:lnTo>
                  <a:lnTo>
                    <a:pt x="13" y="84"/>
                  </a:lnTo>
                  <a:lnTo>
                    <a:pt x="13" y="84"/>
                  </a:lnTo>
                  <a:lnTo>
                    <a:pt x="10" y="84"/>
                  </a:lnTo>
                  <a:lnTo>
                    <a:pt x="10" y="84"/>
                  </a:lnTo>
                  <a:lnTo>
                    <a:pt x="20" y="77"/>
                  </a:lnTo>
                  <a:lnTo>
                    <a:pt x="20" y="77"/>
                  </a:lnTo>
                  <a:lnTo>
                    <a:pt x="30" y="84"/>
                  </a:lnTo>
                  <a:lnTo>
                    <a:pt x="30" y="84"/>
                  </a:lnTo>
                  <a:lnTo>
                    <a:pt x="27" y="84"/>
                  </a:lnTo>
                  <a:lnTo>
                    <a:pt x="27" y="84"/>
                  </a:lnTo>
                  <a:lnTo>
                    <a:pt x="27" y="91"/>
                  </a:lnTo>
                  <a:lnTo>
                    <a:pt x="27" y="91"/>
                  </a:lnTo>
                  <a:lnTo>
                    <a:pt x="24" y="94"/>
                  </a:lnTo>
                  <a:lnTo>
                    <a:pt x="24" y="94"/>
                  </a:lnTo>
                  <a:lnTo>
                    <a:pt x="27" y="97"/>
                  </a:lnTo>
                  <a:lnTo>
                    <a:pt x="27" y="97"/>
                  </a:lnTo>
                  <a:lnTo>
                    <a:pt x="27" y="97"/>
                  </a:lnTo>
                  <a:lnTo>
                    <a:pt x="27" y="101"/>
                  </a:lnTo>
                  <a:lnTo>
                    <a:pt x="27" y="101"/>
                  </a:lnTo>
                  <a:lnTo>
                    <a:pt x="30" y="104"/>
                  </a:lnTo>
                  <a:lnTo>
                    <a:pt x="30" y="104"/>
                  </a:lnTo>
                  <a:lnTo>
                    <a:pt x="34" y="111"/>
                  </a:lnTo>
                  <a:lnTo>
                    <a:pt x="34" y="111"/>
                  </a:lnTo>
                  <a:lnTo>
                    <a:pt x="34" y="114"/>
                  </a:lnTo>
                  <a:lnTo>
                    <a:pt x="37" y="118"/>
                  </a:lnTo>
                  <a:lnTo>
                    <a:pt x="37" y="118"/>
                  </a:lnTo>
                  <a:lnTo>
                    <a:pt x="44" y="118"/>
                  </a:lnTo>
                  <a:lnTo>
                    <a:pt x="44" y="118"/>
                  </a:lnTo>
                  <a:lnTo>
                    <a:pt x="47" y="118"/>
                  </a:lnTo>
                  <a:lnTo>
                    <a:pt x="47" y="118"/>
                  </a:lnTo>
                  <a:lnTo>
                    <a:pt x="54" y="118"/>
                  </a:lnTo>
                  <a:lnTo>
                    <a:pt x="54" y="118"/>
                  </a:lnTo>
                  <a:lnTo>
                    <a:pt x="60" y="118"/>
                  </a:lnTo>
                  <a:lnTo>
                    <a:pt x="60" y="118"/>
                  </a:lnTo>
                  <a:lnTo>
                    <a:pt x="64" y="118"/>
                  </a:lnTo>
                  <a:lnTo>
                    <a:pt x="67" y="118"/>
                  </a:lnTo>
                  <a:lnTo>
                    <a:pt x="67" y="118"/>
                  </a:lnTo>
                  <a:lnTo>
                    <a:pt x="71" y="114"/>
                  </a:lnTo>
                  <a:lnTo>
                    <a:pt x="71" y="114"/>
                  </a:lnTo>
                  <a:lnTo>
                    <a:pt x="71" y="107"/>
                  </a:lnTo>
                  <a:lnTo>
                    <a:pt x="71" y="107"/>
                  </a:lnTo>
                  <a:lnTo>
                    <a:pt x="71" y="104"/>
                  </a:lnTo>
                  <a:lnTo>
                    <a:pt x="74" y="104"/>
                  </a:lnTo>
                  <a:lnTo>
                    <a:pt x="74" y="104"/>
                  </a:lnTo>
                  <a:lnTo>
                    <a:pt x="77" y="104"/>
                  </a:lnTo>
                  <a:lnTo>
                    <a:pt x="77" y="104"/>
                  </a:lnTo>
                  <a:lnTo>
                    <a:pt x="81" y="104"/>
                  </a:lnTo>
                  <a:lnTo>
                    <a:pt x="81" y="104"/>
                  </a:lnTo>
                  <a:lnTo>
                    <a:pt x="84" y="107"/>
                  </a:lnTo>
                  <a:lnTo>
                    <a:pt x="84" y="107"/>
                  </a:lnTo>
                  <a:lnTo>
                    <a:pt x="87" y="101"/>
                  </a:lnTo>
                  <a:lnTo>
                    <a:pt x="87" y="101"/>
                  </a:lnTo>
                  <a:lnTo>
                    <a:pt x="91" y="104"/>
                  </a:lnTo>
                  <a:lnTo>
                    <a:pt x="91" y="104"/>
                  </a:lnTo>
                  <a:lnTo>
                    <a:pt x="97" y="97"/>
                  </a:lnTo>
                  <a:lnTo>
                    <a:pt x="97" y="97"/>
                  </a:lnTo>
                  <a:lnTo>
                    <a:pt x="97" y="94"/>
                  </a:lnTo>
                  <a:lnTo>
                    <a:pt x="97" y="94"/>
                  </a:lnTo>
                  <a:lnTo>
                    <a:pt x="101" y="94"/>
                  </a:lnTo>
                  <a:lnTo>
                    <a:pt x="104" y="94"/>
                  </a:lnTo>
                  <a:lnTo>
                    <a:pt x="104" y="94"/>
                  </a:lnTo>
                  <a:lnTo>
                    <a:pt x="108" y="97"/>
                  </a:lnTo>
                  <a:lnTo>
                    <a:pt x="108" y="97"/>
                  </a:lnTo>
                  <a:lnTo>
                    <a:pt x="104" y="101"/>
                  </a:lnTo>
                  <a:lnTo>
                    <a:pt x="104" y="101"/>
                  </a:lnTo>
                  <a:lnTo>
                    <a:pt x="104" y="104"/>
                  </a:lnTo>
                  <a:lnTo>
                    <a:pt x="104" y="107"/>
                  </a:lnTo>
                  <a:lnTo>
                    <a:pt x="104" y="107"/>
                  </a:lnTo>
                  <a:lnTo>
                    <a:pt x="101" y="111"/>
                  </a:lnTo>
                  <a:lnTo>
                    <a:pt x="101" y="111"/>
                  </a:lnTo>
                  <a:lnTo>
                    <a:pt x="97" y="114"/>
                  </a:lnTo>
                  <a:lnTo>
                    <a:pt x="97" y="114"/>
                  </a:lnTo>
                  <a:lnTo>
                    <a:pt x="97" y="114"/>
                  </a:lnTo>
                  <a:lnTo>
                    <a:pt x="101" y="118"/>
                  </a:lnTo>
                  <a:lnTo>
                    <a:pt x="104" y="118"/>
                  </a:lnTo>
                  <a:lnTo>
                    <a:pt x="104" y="118"/>
                  </a:lnTo>
                  <a:lnTo>
                    <a:pt x="111" y="118"/>
                  </a:lnTo>
                  <a:lnTo>
                    <a:pt x="111" y="118"/>
                  </a:lnTo>
                  <a:lnTo>
                    <a:pt x="111" y="118"/>
                  </a:lnTo>
                  <a:lnTo>
                    <a:pt x="111" y="118"/>
                  </a:lnTo>
                  <a:lnTo>
                    <a:pt x="114" y="114"/>
                  </a:lnTo>
                  <a:lnTo>
                    <a:pt x="118" y="118"/>
                  </a:lnTo>
                  <a:lnTo>
                    <a:pt x="118" y="118"/>
                  </a:lnTo>
                  <a:lnTo>
                    <a:pt x="121" y="118"/>
                  </a:lnTo>
                  <a:lnTo>
                    <a:pt x="121" y="118"/>
                  </a:lnTo>
                  <a:lnTo>
                    <a:pt x="121" y="118"/>
                  </a:lnTo>
                  <a:lnTo>
                    <a:pt x="121" y="118"/>
                  </a:lnTo>
                  <a:lnTo>
                    <a:pt x="124" y="121"/>
                  </a:lnTo>
                  <a:lnTo>
                    <a:pt x="124" y="121"/>
                  </a:lnTo>
                  <a:lnTo>
                    <a:pt x="124" y="121"/>
                  </a:lnTo>
                  <a:lnTo>
                    <a:pt x="124" y="124"/>
                  </a:lnTo>
                  <a:lnTo>
                    <a:pt x="124" y="124"/>
                  </a:lnTo>
                  <a:lnTo>
                    <a:pt x="128" y="128"/>
                  </a:lnTo>
                  <a:lnTo>
                    <a:pt x="134" y="128"/>
                  </a:lnTo>
                  <a:lnTo>
                    <a:pt x="134" y="128"/>
                  </a:lnTo>
                  <a:lnTo>
                    <a:pt x="134" y="131"/>
                  </a:lnTo>
                  <a:lnTo>
                    <a:pt x="134" y="131"/>
                  </a:lnTo>
                  <a:lnTo>
                    <a:pt x="138" y="131"/>
                  </a:lnTo>
                  <a:lnTo>
                    <a:pt x="138" y="131"/>
                  </a:lnTo>
                  <a:lnTo>
                    <a:pt x="138" y="134"/>
                  </a:lnTo>
                  <a:lnTo>
                    <a:pt x="138" y="134"/>
                  </a:lnTo>
                  <a:lnTo>
                    <a:pt x="138" y="134"/>
                  </a:lnTo>
                  <a:lnTo>
                    <a:pt x="138" y="134"/>
                  </a:lnTo>
                  <a:lnTo>
                    <a:pt x="144" y="131"/>
                  </a:lnTo>
                  <a:lnTo>
                    <a:pt x="144" y="131"/>
                  </a:lnTo>
                  <a:lnTo>
                    <a:pt x="144" y="128"/>
                  </a:lnTo>
                  <a:lnTo>
                    <a:pt x="144" y="128"/>
                  </a:lnTo>
                  <a:lnTo>
                    <a:pt x="148" y="124"/>
                  </a:lnTo>
                  <a:lnTo>
                    <a:pt x="148" y="124"/>
                  </a:lnTo>
                  <a:lnTo>
                    <a:pt x="151" y="121"/>
                  </a:lnTo>
                  <a:lnTo>
                    <a:pt x="151" y="121"/>
                  </a:lnTo>
                  <a:lnTo>
                    <a:pt x="151" y="118"/>
                  </a:lnTo>
                  <a:lnTo>
                    <a:pt x="151" y="114"/>
                  </a:lnTo>
                  <a:lnTo>
                    <a:pt x="151" y="114"/>
                  </a:lnTo>
                  <a:lnTo>
                    <a:pt x="158" y="111"/>
                  </a:lnTo>
                  <a:lnTo>
                    <a:pt x="158" y="111"/>
                  </a:lnTo>
                  <a:lnTo>
                    <a:pt x="161" y="101"/>
                  </a:lnTo>
                  <a:lnTo>
                    <a:pt x="161" y="101"/>
                  </a:lnTo>
                  <a:lnTo>
                    <a:pt x="161" y="97"/>
                  </a:lnTo>
                  <a:lnTo>
                    <a:pt x="161" y="97"/>
                  </a:lnTo>
                  <a:lnTo>
                    <a:pt x="161" y="94"/>
                  </a:lnTo>
                  <a:lnTo>
                    <a:pt x="161" y="94"/>
                  </a:lnTo>
                  <a:lnTo>
                    <a:pt x="165" y="94"/>
                  </a:lnTo>
                  <a:lnTo>
                    <a:pt x="165" y="94"/>
                  </a:lnTo>
                  <a:lnTo>
                    <a:pt x="165" y="94"/>
                  </a:lnTo>
                  <a:lnTo>
                    <a:pt x="171" y="94"/>
                  </a:lnTo>
                  <a:lnTo>
                    <a:pt x="171" y="94"/>
                  </a:lnTo>
                  <a:lnTo>
                    <a:pt x="171" y="97"/>
                  </a:lnTo>
                  <a:lnTo>
                    <a:pt x="171" y="97"/>
                  </a:lnTo>
                  <a:lnTo>
                    <a:pt x="171" y="97"/>
                  </a:lnTo>
                  <a:lnTo>
                    <a:pt x="171" y="104"/>
                  </a:lnTo>
                  <a:lnTo>
                    <a:pt x="171" y="107"/>
                  </a:lnTo>
                  <a:lnTo>
                    <a:pt x="171" y="107"/>
                  </a:lnTo>
                  <a:lnTo>
                    <a:pt x="175" y="111"/>
                  </a:lnTo>
                  <a:lnTo>
                    <a:pt x="175" y="114"/>
                  </a:lnTo>
                  <a:lnTo>
                    <a:pt x="175" y="114"/>
                  </a:lnTo>
                  <a:lnTo>
                    <a:pt x="181" y="114"/>
                  </a:lnTo>
                  <a:lnTo>
                    <a:pt x="181" y="114"/>
                  </a:lnTo>
                  <a:lnTo>
                    <a:pt x="192" y="111"/>
                  </a:lnTo>
                  <a:lnTo>
                    <a:pt x="192" y="111"/>
                  </a:lnTo>
                  <a:lnTo>
                    <a:pt x="192" y="107"/>
                  </a:lnTo>
                  <a:lnTo>
                    <a:pt x="195" y="107"/>
                  </a:lnTo>
                  <a:lnTo>
                    <a:pt x="195" y="107"/>
                  </a:lnTo>
                  <a:lnTo>
                    <a:pt x="198" y="111"/>
                  </a:lnTo>
                  <a:lnTo>
                    <a:pt x="198" y="111"/>
                  </a:lnTo>
                  <a:lnTo>
                    <a:pt x="198" y="114"/>
                  </a:lnTo>
                  <a:lnTo>
                    <a:pt x="198" y="114"/>
                  </a:lnTo>
                  <a:lnTo>
                    <a:pt x="202" y="114"/>
                  </a:lnTo>
                  <a:lnTo>
                    <a:pt x="202" y="114"/>
                  </a:lnTo>
                  <a:lnTo>
                    <a:pt x="202" y="118"/>
                  </a:lnTo>
                  <a:lnTo>
                    <a:pt x="202" y="118"/>
                  </a:lnTo>
                  <a:lnTo>
                    <a:pt x="202" y="118"/>
                  </a:lnTo>
                  <a:lnTo>
                    <a:pt x="208" y="114"/>
                  </a:lnTo>
                  <a:lnTo>
                    <a:pt x="208" y="114"/>
                  </a:lnTo>
                  <a:lnTo>
                    <a:pt x="205" y="111"/>
                  </a:lnTo>
                  <a:lnTo>
                    <a:pt x="205" y="111"/>
                  </a:lnTo>
                  <a:lnTo>
                    <a:pt x="205" y="107"/>
                  </a:lnTo>
                  <a:lnTo>
                    <a:pt x="205" y="107"/>
                  </a:lnTo>
                  <a:lnTo>
                    <a:pt x="208" y="107"/>
                  </a:lnTo>
                  <a:lnTo>
                    <a:pt x="208" y="104"/>
                  </a:lnTo>
                  <a:lnTo>
                    <a:pt x="208" y="104"/>
                  </a:lnTo>
                  <a:lnTo>
                    <a:pt x="205" y="101"/>
                  </a:lnTo>
                  <a:lnTo>
                    <a:pt x="205" y="101"/>
                  </a:lnTo>
                  <a:lnTo>
                    <a:pt x="205" y="101"/>
                  </a:lnTo>
                  <a:lnTo>
                    <a:pt x="205" y="97"/>
                  </a:lnTo>
                  <a:lnTo>
                    <a:pt x="205" y="97"/>
                  </a:lnTo>
                  <a:lnTo>
                    <a:pt x="208" y="94"/>
                  </a:lnTo>
                  <a:lnTo>
                    <a:pt x="208" y="94"/>
                  </a:lnTo>
                  <a:lnTo>
                    <a:pt x="215" y="94"/>
                  </a:lnTo>
                  <a:lnTo>
                    <a:pt x="215" y="94"/>
                  </a:lnTo>
                  <a:lnTo>
                    <a:pt x="215" y="101"/>
                  </a:lnTo>
                  <a:lnTo>
                    <a:pt x="215" y="101"/>
                  </a:lnTo>
                  <a:lnTo>
                    <a:pt x="218" y="101"/>
                  </a:lnTo>
                  <a:lnTo>
                    <a:pt x="222" y="97"/>
                  </a:lnTo>
                  <a:lnTo>
                    <a:pt x="222" y="97"/>
                  </a:lnTo>
                  <a:lnTo>
                    <a:pt x="225" y="104"/>
                  </a:lnTo>
                  <a:lnTo>
                    <a:pt x="229" y="104"/>
                  </a:lnTo>
                  <a:lnTo>
                    <a:pt x="232" y="104"/>
                  </a:lnTo>
                  <a:lnTo>
                    <a:pt x="232" y="104"/>
                  </a:lnTo>
                  <a:lnTo>
                    <a:pt x="232" y="97"/>
                  </a:lnTo>
                  <a:lnTo>
                    <a:pt x="232" y="97"/>
                  </a:lnTo>
                  <a:lnTo>
                    <a:pt x="225" y="94"/>
                  </a:lnTo>
                  <a:lnTo>
                    <a:pt x="225" y="94"/>
                  </a:lnTo>
                  <a:lnTo>
                    <a:pt x="225" y="91"/>
                  </a:lnTo>
                  <a:lnTo>
                    <a:pt x="225" y="91"/>
                  </a:lnTo>
                  <a:lnTo>
                    <a:pt x="225" y="91"/>
                  </a:lnTo>
                  <a:lnTo>
                    <a:pt x="225" y="91"/>
                  </a:lnTo>
                  <a:lnTo>
                    <a:pt x="229" y="84"/>
                  </a:lnTo>
                  <a:lnTo>
                    <a:pt x="229" y="84"/>
                  </a:lnTo>
                  <a:lnTo>
                    <a:pt x="225" y="81"/>
                  </a:lnTo>
                  <a:lnTo>
                    <a:pt x="225" y="81"/>
                  </a:lnTo>
                  <a:lnTo>
                    <a:pt x="222" y="77"/>
                  </a:lnTo>
                  <a:lnTo>
                    <a:pt x="222" y="77"/>
                  </a:lnTo>
                  <a:lnTo>
                    <a:pt x="222" y="77"/>
                  </a:lnTo>
                  <a:lnTo>
                    <a:pt x="218" y="81"/>
                  </a:lnTo>
                  <a:lnTo>
                    <a:pt x="218" y="81"/>
                  </a:lnTo>
                  <a:lnTo>
                    <a:pt x="215" y="81"/>
                  </a:lnTo>
                  <a:lnTo>
                    <a:pt x="212" y="81"/>
                  </a:lnTo>
                  <a:lnTo>
                    <a:pt x="212" y="81"/>
                  </a:lnTo>
                  <a:lnTo>
                    <a:pt x="212" y="77"/>
                  </a:lnTo>
                  <a:lnTo>
                    <a:pt x="212" y="77"/>
                  </a:lnTo>
                  <a:lnTo>
                    <a:pt x="212" y="70"/>
                  </a:lnTo>
                  <a:lnTo>
                    <a:pt x="212" y="70"/>
                  </a:lnTo>
                  <a:lnTo>
                    <a:pt x="202" y="67"/>
                  </a:lnTo>
                  <a:lnTo>
                    <a:pt x="202" y="67"/>
                  </a:lnTo>
                  <a:lnTo>
                    <a:pt x="198" y="70"/>
                  </a:lnTo>
                  <a:lnTo>
                    <a:pt x="192" y="70"/>
                  </a:lnTo>
                  <a:lnTo>
                    <a:pt x="192" y="70"/>
                  </a:lnTo>
                  <a:lnTo>
                    <a:pt x="188" y="67"/>
                  </a:lnTo>
                  <a:lnTo>
                    <a:pt x="188" y="67"/>
                  </a:lnTo>
                  <a:lnTo>
                    <a:pt x="185" y="67"/>
                  </a:lnTo>
                  <a:lnTo>
                    <a:pt x="185" y="67"/>
                  </a:lnTo>
                  <a:lnTo>
                    <a:pt x="185" y="64"/>
                  </a:lnTo>
                  <a:lnTo>
                    <a:pt x="185" y="64"/>
                  </a:lnTo>
                  <a:lnTo>
                    <a:pt x="181" y="64"/>
                  </a:lnTo>
                  <a:lnTo>
                    <a:pt x="178" y="64"/>
                  </a:lnTo>
                  <a:lnTo>
                    <a:pt x="178" y="64"/>
                  </a:lnTo>
                  <a:lnTo>
                    <a:pt x="181" y="60"/>
                  </a:lnTo>
                  <a:lnTo>
                    <a:pt x="181" y="60"/>
                  </a:lnTo>
                  <a:lnTo>
                    <a:pt x="181" y="57"/>
                  </a:lnTo>
                  <a:lnTo>
                    <a:pt x="181" y="57"/>
                  </a:lnTo>
                  <a:lnTo>
                    <a:pt x="185" y="44"/>
                  </a:lnTo>
                  <a:lnTo>
                    <a:pt x="185" y="44"/>
                  </a:lnTo>
                  <a:lnTo>
                    <a:pt x="185" y="44"/>
                  </a:lnTo>
                  <a:lnTo>
                    <a:pt x="188" y="40"/>
                  </a:lnTo>
                  <a:lnTo>
                    <a:pt x="185" y="30"/>
                  </a:lnTo>
                  <a:lnTo>
                    <a:pt x="185" y="30"/>
                  </a:lnTo>
                  <a:close/>
                </a:path>
              </a:pathLst>
            </a:custGeom>
            <a:solidFill>
              <a:srgbClr val="C0C0C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EYInterstate" pitchFamily="2" charset="0"/>
                <a:cs typeface="Arial" charset="0"/>
              </a:endParaRPr>
            </a:p>
          </p:txBody>
        </p:sp>
        <p:sp>
          <p:nvSpPr>
            <p:cNvPr id="19" name="Freeform 33"/>
            <p:cNvSpPr>
              <a:spLocks noEditPoints="1"/>
            </p:cNvSpPr>
            <p:nvPr/>
          </p:nvSpPr>
          <p:spPr bwMode="auto">
            <a:xfrm>
              <a:off x="3001" y="1332"/>
              <a:ext cx="429" cy="935"/>
            </a:xfrm>
            <a:custGeom>
              <a:avLst/>
              <a:gdLst/>
              <a:ahLst/>
              <a:cxnLst>
                <a:cxn ang="0">
                  <a:pos x="10" y="776"/>
                </a:cxn>
                <a:cxn ang="0">
                  <a:pos x="20" y="810"/>
                </a:cxn>
                <a:cxn ang="0">
                  <a:pos x="34" y="874"/>
                </a:cxn>
                <a:cxn ang="0">
                  <a:pos x="54" y="904"/>
                </a:cxn>
                <a:cxn ang="0">
                  <a:pos x="51" y="934"/>
                </a:cxn>
                <a:cxn ang="0">
                  <a:pos x="57" y="978"/>
                </a:cxn>
                <a:cxn ang="0">
                  <a:pos x="101" y="998"/>
                </a:cxn>
                <a:cxn ang="0">
                  <a:pos x="124" y="951"/>
                </a:cxn>
                <a:cxn ang="0">
                  <a:pos x="168" y="948"/>
                </a:cxn>
                <a:cxn ang="0">
                  <a:pos x="198" y="897"/>
                </a:cxn>
                <a:cxn ang="0">
                  <a:pos x="219" y="894"/>
                </a:cxn>
                <a:cxn ang="0">
                  <a:pos x="219" y="867"/>
                </a:cxn>
                <a:cxn ang="0">
                  <a:pos x="209" y="834"/>
                </a:cxn>
                <a:cxn ang="0">
                  <a:pos x="212" y="800"/>
                </a:cxn>
                <a:cxn ang="0">
                  <a:pos x="222" y="756"/>
                </a:cxn>
                <a:cxn ang="0">
                  <a:pos x="276" y="719"/>
                </a:cxn>
                <a:cxn ang="0">
                  <a:pos x="289" y="709"/>
                </a:cxn>
                <a:cxn ang="0">
                  <a:pos x="282" y="689"/>
                </a:cxn>
                <a:cxn ang="0">
                  <a:pos x="296" y="666"/>
                </a:cxn>
                <a:cxn ang="0">
                  <a:pos x="269" y="629"/>
                </a:cxn>
                <a:cxn ang="0">
                  <a:pos x="245" y="619"/>
                </a:cxn>
                <a:cxn ang="0">
                  <a:pos x="239" y="538"/>
                </a:cxn>
                <a:cxn ang="0">
                  <a:pos x="242" y="491"/>
                </a:cxn>
                <a:cxn ang="0">
                  <a:pos x="266" y="454"/>
                </a:cxn>
                <a:cxn ang="0">
                  <a:pos x="296" y="414"/>
                </a:cxn>
                <a:cxn ang="0">
                  <a:pos x="333" y="383"/>
                </a:cxn>
                <a:cxn ang="0">
                  <a:pos x="370" y="329"/>
                </a:cxn>
                <a:cxn ang="0">
                  <a:pos x="356" y="306"/>
                </a:cxn>
                <a:cxn ang="0">
                  <a:pos x="373" y="272"/>
                </a:cxn>
                <a:cxn ang="0">
                  <a:pos x="373" y="249"/>
                </a:cxn>
                <a:cxn ang="0">
                  <a:pos x="403" y="229"/>
                </a:cxn>
                <a:cxn ang="0">
                  <a:pos x="430" y="225"/>
                </a:cxn>
                <a:cxn ang="0">
                  <a:pos x="414" y="138"/>
                </a:cxn>
                <a:cxn ang="0">
                  <a:pos x="403" y="114"/>
                </a:cxn>
                <a:cxn ang="0">
                  <a:pos x="397" y="64"/>
                </a:cxn>
                <a:cxn ang="0">
                  <a:pos x="366" y="37"/>
                </a:cxn>
                <a:cxn ang="0">
                  <a:pos x="329" y="0"/>
                </a:cxn>
                <a:cxn ang="0">
                  <a:pos x="323" y="37"/>
                </a:cxn>
                <a:cxn ang="0">
                  <a:pos x="286" y="44"/>
                </a:cxn>
                <a:cxn ang="0">
                  <a:pos x="256" y="67"/>
                </a:cxn>
                <a:cxn ang="0">
                  <a:pos x="215" y="101"/>
                </a:cxn>
                <a:cxn ang="0">
                  <a:pos x="205" y="124"/>
                </a:cxn>
                <a:cxn ang="0">
                  <a:pos x="192" y="161"/>
                </a:cxn>
                <a:cxn ang="0">
                  <a:pos x="158" y="212"/>
                </a:cxn>
                <a:cxn ang="0">
                  <a:pos x="145" y="272"/>
                </a:cxn>
                <a:cxn ang="0">
                  <a:pos x="131" y="333"/>
                </a:cxn>
                <a:cxn ang="0">
                  <a:pos x="101" y="356"/>
                </a:cxn>
                <a:cxn ang="0">
                  <a:pos x="57" y="393"/>
                </a:cxn>
                <a:cxn ang="0">
                  <a:pos x="54" y="440"/>
                </a:cxn>
                <a:cxn ang="0">
                  <a:pos x="64" y="531"/>
                </a:cxn>
                <a:cxn ang="0">
                  <a:pos x="51" y="575"/>
                </a:cxn>
                <a:cxn ang="0">
                  <a:pos x="44" y="635"/>
                </a:cxn>
                <a:cxn ang="0">
                  <a:pos x="24" y="662"/>
                </a:cxn>
                <a:cxn ang="0">
                  <a:pos x="14" y="716"/>
                </a:cxn>
                <a:cxn ang="0">
                  <a:pos x="20" y="793"/>
                </a:cxn>
                <a:cxn ang="0">
                  <a:pos x="306" y="807"/>
                </a:cxn>
                <a:cxn ang="0">
                  <a:pos x="262" y="844"/>
                </a:cxn>
                <a:cxn ang="0">
                  <a:pos x="282" y="867"/>
                </a:cxn>
                <a:cxn ang="0">
                  <a:pos x="296" y="830"/>
                </a:cxn>
                <a:cxn ang="0">
                  <a:pos x="309" y="807"/>
                </a:cxn>
              </a:cxnLst>
              <a:rect l="0" t="0" r="r" b="b"/>
              <a:pathLst>
                <a:path w="430" h="998">
                  <a:moveTo>
                    <a:pt x="7" y="709"/>
                  </a:moveTo>
                  <a:lnTo>
                    <a:pt x="7" y="709"/>
                  </a:lnTo>
                  <a:lnTo>
                    <a:pt x="3" y="736"/>
                  </a:lnTo>
                  <a:lnTo>
                    <a:pt x="7" y="760"/>
                  </a:lnTo>
                  <a:lnTo>
                    <a:pt x="7" y="763"/>
                  </a:lnTo>
                  <a:lnTo>
                    <a:pt x="7" y="763"/>
                  </a:lnTo>
                  <a:lnTo>
                    <a:pt x="3" y="763"/>
                  </a:lnTo>
                  <a:lnTo>
                    <a:pt x="0" y="770"/>
                  </a:lnTo>
                  <a:lnTo>
                    <a:pt x="0" y="770"/>
                  </a:lnTo>
                  <a:lnTo>
                    <a:pt x="10" y="773"/>
                  </a:lnTo>
                  <a:lnTo>
                    <a:pt x="10" y="776"/>
                  </a:lnTo>
                  <a:lnTo>
                    <a:pt x="10" y="776"/>
                  </a:lnTo>
                  <a:lnTo>
                    <a:pt x="17" y="776"/>
                  </a:lnTo>
                  <a:lnTo>
                    <a:pt x="20" y="773"/>
                  </a:lnTo>
                  <a:lnTo>
                    <a:pt x="20" y="773"/>
                  </a:lnTo>
                  <a:lnTo>
                    <a:pt x="7" y="783"/>
                  </a:lnTo>
                  <a:lnTo>
                    <a:pt x="7" y="783"/>
                  </a:lnTo>
                  <a:lnTo>
                    <a:pt x="10" y="800"/>
                  </a:lnTo>
                  <a:lnTo>
                    <a:pt x="10" y="800"/>
                  </a:lnTo>
                  <a:lnTo>
                    <a:pt x="20" y="800"/>
                  </a:lnTo>
                  <a:lnTo>
                    <a:pt x="20" y="800"/>
                  </a:lnTo>
                  <a:lnTo>
                    <a:pt x="20" y="810"/>
                  </a:lnTo>
                  <a:lnTo>
                    <a:pt x="20" y="820"/>
                  </a:lnTo>
                  <a:lnTo>
                    <a:pt x="17" y="830"/>
                  </a:lnTo>
                  <a:lnTo>
                    <a:pt x="17" y="830"/>
                  </a:lnTo>
                  <a:lnTo>
                    <a:pt x="20" y="850"/>
                  </a:lnTo>
                  <a:lnTo>
                    <a:pt x="20" y="850"/>
                  </a:lnTo>
                  <a:lnTo>
                    <a:pt x="30" y="850"/>
                  </a:lnTo>
                  <a:lnTo>
                    <a:pt x="30" y="850"/>
                  </a:lnTo>
                  <a:lnTo>
                    <a:pt x="27" y="854"/>
                  </a:lnTo>
                  <a:lnTo>
                    <a:pt x="30" y="864"/>
                  </a:lnTo>
                  <a:lnTo>
                    <a:pt x="34" y="874"/>
                  </a:lnTo>
                  <a:lnTo>
                    <a:pt x="34" y="874"/>
                  </a:lnTo>
                  <a:lnTo>
                    <a:pt x="34" y="884"/>
                  </a:lnTo>
                  <a:lnTo>
                    <a:pt x="34" y="884"/>
                  </a:lnTo>
                  <a:lnTo>
                    <a:pt x="40" y="887"/>
                  </a:lnTo>
                  <a:lnTo>
                    <a:pt x="44" y="891"/>
                  </a:lnTo>
                  <a:lnTo>
                    <a:pt x="44" y="891"/>
                  </a:lnTo>
                  <a:lnTo>
                    <a:pt x="47" y="897"/>
                  </a:lnTo>
                  <a:lnTo>
                    <a:pt x="47" y="904"/>
                  </a:lnTo>
                  <a:lnTo>
                    <a:pt x="47" y="904"/>
                  </a:lnTo>
                  <a:lnTo>
                    <a:pt x="51" y="904"/>
                  </a:lnTo>
                  <a:lnTo>
                    <a:pt x="54" y="904"/>
                  </a:lnTo>
                  <a:lnTo>
                    <a:pt x="54" y="904"/>
                  </a:lnTo>
                  <a:lnTo>
                    <a:pt x="57" y="904"/>
                  </a:lnTo>
                  <a:lnTo>
                    <a:pt x="57" y="904"/>
                  </a:lnTo>
                  <a:lnTo>
                    <a:pt x="57" y="908"/>
                  </a:lnTo>
                  <a:lnTo>
                    <a:pt x="57" y="908"/>
                  </a:lnTo>
                  <a:lnTo>
                    <a:pt x="57" y="918"/>
                  </a:lnTo>
                  <a:lnTo>
                    <a:pt x="57" y="918"/>
                  </a:lnTo>
                  <a:lnTo>
                    <a:pt x="51" y="918"/>
                  </a:lnTo>
                  <a:lnTo>
                    <a:pt x="47" y="918"/>
                  </a:lnTo>
                  <a:lnTo>
                    <a:pt x="47" y="918"/>
                  </a:lnTo>
                  <a:lnTo>
                    <a:pt x="47" y="924"/>
                  </a:lnTo>
                  <a:lnTo>
                    <a:pt x="51" y="934"/>
                  </a:lnTo>
                  <a:lnTo>
                    <a:pt x="51" y="934"/>
                  </a:lnTo>
                  <a:lnTo>
                    <a:pt x="40" y="931"/>
                  </a:lnTo>
                  <a:lnTo>
                    <a:pt x="40" y="931"/>
                  </a:lnTo>
                  <a:lnTo>
                    <a:pt x="40" y="938"/>
                  </a:lnTo>
                  <a:lnTo>
                    <a:pt x="44" y="948"/>
                  </a:lnTo>
                  <a:lnTo>
                    <a:pt x="44" y="948"/>
                  </a:lnTo>
                  <a:lnTo>
                    <a:pt x="51" y="955"/>
                  </a:lnTo>
                  <a:lnTo>
                    <a:pt x="57" y="961"/>
                  </a:lnTo>
                  <a:lnTo>
                    <a:pt x="57" y="961"/>
                  </a:lnTo>
                  <a:lnTo>
                    <a:pt x="57" y="968"/>
                  </a:lnTo>
                  <a:lnTo>
                    <a:pt x="57" y="978"/>
                  </a:lnTo>
                  <a:lnTo>
                    <a:pt x="51" y="995"/>
                  </a:lnTo>
                  <a:lnTo>
                    <a:pt x="51" y="995"/>
                  </a:lnTo>
                  <a:lnTo>
                    <a:pt x="67" y="998"/>
                  </a:lnTo>
                  <a:lnTo>
                    <a:pt x="81" y="998"/>
                  </a:lnTo>
                  <a:lnTo>
                    <a:pt x="81" y="998"/>
                  </a:lnTo>
                  <a:lnTo>
                    <a:pt x="84" y="998"/>
                  </a:lnTo>
                  <a:lnTo>
                    <a:pt x="94" y="998"/>
                  </a:lnTo>
                  <a:lnTo>
                    <a:pt x="94" y="998"/>
                  </a:lnTo>
                  <a:lnTo>
                    <a:pt x="98" y="998"/>
                  </a:lnTo>
                  <a:lnTo>
                    <a:pt x="101" y="998"/>
                  </a:lnTo>
                  <a:lnTo>
                    <a:pt x="101" y="998"/>
                  </a:lnTo>
                  <a:lnTo>
                    <a:pt x="104" y="995"/>
                  </a:lnTo>
                  <a:lnTo>
                    <a:pt x="104" y="995"/>
                  </a:lnTo>
                  <a:lnTo>
                    <a:pt x="111" y="985"/>
                  </a:lnTo>
                  <a:lnTo>
                    <a:pt x="108" y="981"/>
                  </a:lnTo>
                  <a:lnTo>
                    <a:pt x="108" y="975"/>
                  </a:lnTo>
                  <a:lnTo>
                    <a:pt x="108" y="965"/>
                  </a:lnTo>
                  <a:lnTo>
                    <a:pt x="108" y="965"/>
                  </a:lnTo>
                  <a:lnTo>
                    <a:pt x="118" y="955"/>
                  </a:lnTo>
                  <a:lnTo>
                    <a:pt x="118" y="955"/>
                  </a:lnTo>
                  <a:lnTo>
                    <a:pt x="124" y="951"/>
                  </a:lnTo>
                  <a:lnTo>
                    <a:pt x="124" y="951"/>
                  </a:lnTo>
                  <a:lnTo>
                    <a:pt x="128" y="948"/>
                  </a:lnTo>
                  <a:lnTo>
                    <a:pt x="131" y="944"/>
                  </a:lnTo>
                  <a:lnTo>
                    <a:pt x="131" y="944"/>
                  </a:lnTo>
                  <a:lnTo>
                    <a:pt x="141" y="941"/>
                  </a:lnTo>
                  <a:lnTo>
                    <a:pt x="148" y="944"/>
                  </a:lnTo>
                  <a:lnTo>
                    <a:pt x="155" y="944"/>
                  </a:lnTo>
                  <a:lnTo>
                    <a:pt x="161" y="944"/>
                  </a:lnTo>
                  <a:lnTo>
                    <a:pt x="161" y="944"/>
                  </a:lnTo>
                  <a:lnTo>
                    <a:pt x="161" y="944"/>
                  </a:lnTo>
                  <a:lnTo>
                    <a:pt x="165" y="944"/>
                  </a:lnTo>
                  <a:lnTo>
                    <a:pt x="168" y="948"/>
                  </a:lnTo>
                  <a:lnTo>
                    <a:pt x="168" y="948"/>
                  </a:lnTo>
                  <a:lnTo>
                    <a:pt x="175" y="948"/>
                  </a:lnTo>
                  <a:lnTo>
                    <a:pt x="175" y="948"/>
                  </a:lnTo>
                  <a:lnTo>
                    <a:pt x="185" y="931"/>
                  </a:lnTo>
                  <a:lnTo>
                    <a:pt x="185" y="931"/>
                  </a:lnTo>
                  <a:lnTo>
                    <a:pt x="192" y="931"/>
                  </a:lnTo>
                  <a:lnTo>
                    <a:pt x="192" y="931"/>
                  </a:lnTo>
                  <a:lnTo>
                    <a:pt x="195" y="911"/>
                  </a:lnTo>
                  <a:lnTo>
                    <a:pt x="195" y="911"/>
                  </a:lnTo>
                  <a:lnTo>
                    <a:pt x="198" y="897"/>
                  </a:lnTo>
                  <a:lnTo>
                    <a:pt x="198" y="897"/>
                  </a:lnTo>
                  <a:lnTo>
                    <a:pt x="205" y="894"/>
                  </a:lnTo>
                  <a:lnTo>
                    <a:pt x="205" y="894"/>
                  </a:lnTo>
                  <a:lnTo>
                    <a:pt x="198" y="914"/>
                  </a:lnTo>
                  <a:lnTo>
                    <a:pt x="195" y="938"/>
                  </a:lnTo>
                  <a:lnTo>
                    <a:pt x="202" y="938"/>
                  </a:lnTo>
                  <a:lnTo>
                    <a:pt x="202" y="938"/>
                  </a:lnTo>
                  <a:lnTo>
                    <a:pt x="205" y="921"/>
                  </a:lnTo>
                  <a:lnTo>
                    <a:pt x="209" y="901"/>
                  </a:lnTo>
                  <a:lnTo>
                    <a:pt x="209" y="901"/>
                  </a:lnTo>
                  <a:lnTo>
                    <a:pt x="219" y="894"/>
                  </a:lnTo>
                  <a:lnTo>
                    <a:pt x="219" y="894"/>
                  </a:lnTo>
                  <a:lnTo>
                    <a:pt x="219" y="884"/>
                  </a:lnTo>
                  <a:lnTo>
                    <a:pt x="222" y="874"/>
                  </a:lnTo>
                  <a:lnTo>
                    <a:pt x="225" y="871"/>
                  </a:lnTo>
                  <a:lnTo>
                    <a:pt x="225" y="871"/>
                  </a:lnTo>
                  <a:lnTo>
                    <a:pt x="229" y="857"/>
                  </a:lnTo>
                  <a:lnTo>
                    <a:pt x="229" y="857"/>
                  </a:lnTo>
                  <a:lnTo>
                    <a:pt x="222" y="860"/>
                  </a:lnTo>
                  <a:lnTo>
                    <a:pt x="222" y="860"/>
                  </a:lnTo>
                  <a:lnTo>
                    <a:pt x="219" y="860"/>
                  </a:lnTo>
                  <a:lnTo>
                    <a:pt x="219" y="860"/>
                  </a:lnTo>
                  <a:lnTo>
                    <a:pt x="219" y="867"/>
                  </a:lnTo>
                  <a:lnTo>
                    <a:pt x="219" y="867"/>
                  </a:lnTo>
                  <a:lnTo>
                    <a:pt x="212" y="881"/>
                  </a:lnTo>
                  <a:lnTo>
                    <a:pt x="205" y="894"/>
                  </a:lnTo>
                  <a:lnTo>
                    <a:pt x="205" y="894"/>
                  </a:lnTo>
                  <a:lnTo>
                    <a:pt x="202" y="877"/>
                  </a:lnTo>
                  <a:lnTo>
                    <a:pt x="205" y="860"/>
                  </a:lnTo>
                  <a:lnTo>
                    <a:pt x="205" y="860"/>
                  </a:lnTo>
                  <a:lnTo>
                    <a:pt x="212" y="850"/>
                  </a:lnTo>
                  <a:lnTo>
                    <a:pt x="212" y="850"/>
                  </a:lnTo>
                  <a:lnTo>
                    <a:pt x="212" y="840"/>
                  </a:lnTo>
                  <a:lnTo>
                    <a:pt x="209" y="834"/>
                  </a:lnTo>
                  <a:lnTo>
                    <a:pt x="209" y="834"/>
                  </a:lnTo>
                  <a:lnTo>
                    <a:pt x="212" y="830"/>
                  </a:lnTo>
                  <a:lnTo>
                    <a:pt x="212" y="827"/>
                  </a:lnTo>
                  <a:lnTo>
                    <a:pt x="212" y="824"/>
                  </a:lnTo>
                  <a:lnTo>
                    <a:pt x="212" y="824"/>
                  </a:lnTo>
                  <a:lnTo>
                    <a:pt x="209" y="820"/>
                  </a:lnTo>
                  <a:lnTo>
                    <a:pt x="205" y="817"/>
                  </a:lnTo>
                  <a:lnTo>
                    <a:pt x="209" y="817"/>
                  </a:lnTo>
                  <a:lnTo>
                    <a:pt x="209" y="817"/>
                  </a:lnTo>
                  <a:lnTo>
                    <a:pt x="212" y="810"/>
                  </a:lnTo>
                  <a:lnTo>
                    <a:pt x="212" y="800"/>
                  </a:lnTo>
                  <a:lnTo>
                    <a:pt x="212" y="783"/>
                  </a:lnTo>
                  <a:lnTo>
                    <a:pt x="212" y="783"/>
                  </a:lnTo>
                  <a:lnTo>
                    <a:pt x="219" y="773"/>
                  </a:lnTo>
                  <a:lnTo>
                    <a:pt x="219" y="770"/>
                  </a:lnTo>
                  <a:lnTo>
                    <a:pt x="219" y="770"/>
                  </a:lnTo>
                  <a:lnTo>
                    <a:pt x="212" y="760"/>
                  </a:lnTo>
                  <a:lnTo>
                    <a:pt x="212" y="760"/>
                  </a:lnTo>
                  <a:lnTo>
                    <a:pt x="222" y="760"/>
                  </a:lnTo>
                  <a:lnTo>
                    <a:pt x="222" y="760"/>
                  </a:lnTo>
                  <a:lnTo>
                    <a:pt x="222" y="756"/>
                  </a:lnTo>
                  <a:lnTo>
                    <a:pt x="222" y="756"/>
                  </a:lnTo>
                  <a:lnTo>
                    <a:pt x="242" y="750"/>
                  </a:lnTo>
                  <a:lnTo>
                    <a:pt x="242" y="750"/>
                  </a:lnTo>
                  <a:lnTo>
                    <a:pt x="242" y="743"/>
                  </a:lnTo>
                  <a:lnTo>
                    <a:pt x="245" y="743"/>
                  </a:lnTo>
                  <a:lnTo>
                    <a:pt x="245" y="743"/>
                  </a:lnTo>
                  <a:lnTo>
                    <a:pt x="249" y="736"/>
                  </a:lnTo>
                  <a:lnTo>
                    <a:pt x="249" y="736"/>
                  </a:lnTo>
                  <a:lnTo>
                    <a:pt x="259" y="739"/>
                  </a:lnTo>
                  <a:lnTo>
                    <a:pt x="259" y="739"/>
                  </a:lnTo>
                  <a:lnTo>
                    <a:pt x="266" y="729"/>
                  </a:lnTo>
                  <a:lnTo>
                    <a:pt x="276" y="719"/>
                  </a:lnTo>
                  <a:lnTo>
                    <a:pt x="276" y="719"/>
                  </a:lnTo>
                  <a:lnTo>
                    <a:pt x="276" y="716"/>
                  </a:lnTo>
                  <a:lnTo>
                    <a:pt x="276" y="716"/>
                  </a:lnTo>
                  <a:lnTo>
                    <a:pt x="276" y="716"/>
                  </a:lnTo>
                  <a:lnTo>
                    <a:pt x="276" y="713"/>
                  </a:lnTo>
                  <a:lnTo>
                    <a:pt x="276" y="713"/>
                  </a:lnTo>
                  <a:lnTo>
                    <a:pt x="279" y="713"/>
                  </a:lnTo>
                  <a:lnTo>
                    <a:pt x="282" y="713"/>
                  </a:lnTo>
                  <a:lnTo>
                    <a:pt x="282" y="713"/>
                  </a:lnTo>
                  <a:lnTo>
                    <a:pt x="289" y="709"/>
                  </a:lnTo>
                  <a:lnTo>
                    <a:pt x="289" y="709"/>
                  </a:lnTo>
                  <a:lnTo>
                    <a:pt x="286" y="699"/>
                  </a:lnTo>
                  <a:lnTo>
                    <a:pt x="286" y="699"/>
                  </a:lnTo>
                  <a:lnTo>
                    <a:pt x="282" y="699"/>
                  </a:lnTo>
                  <a:lnTo>
                    <a:pt x="276" y="699"/>
                  </a:lnTo>
                  <a:lnTo>
                    <a:pt x="276" y="703"/>
                  </a:lnTo>
                  <a:lnTo>
                    <a:pt x="276" y="703"/>
                  </a:lnTo>
                  <a:lnTo>
                    <a:pt x="272" y="699"/>
                  </a:lnTo>
                  <a:lnTo>
                    <a:pt x="276" y="696"/>
                  </a:lnTo>
                  <a:lnTo>
                    <a:pt x="276" y="696"/>
                  </a:lnTo>
                  <a:lnTo>
                    <a:pt x="282" y="689"/>
                  </a:lnTo>
                  <a:lnTo>
                    <a:pt x="282" y="689"/>
                  </a:lnTo>
                  <a:lnTo>
                    <a:pt x="286" y="686"/>
                  </a:lnTo>
                  <a:lnTo>
                    <a:pt x="289" y="679"/>
                  </a:lnTo>
                  <a:lnTo>
                    <a:pt x="289" y="679"/>
                  </a:lnTo>
                  <a:lnTo>
                    <a:pt x="293" y="679"/>
                  </a:lnTo>
                  <a:lnTo>
                    <a:pt x="296" y="676"/>
                  </a:lnTo>
                  <a:lnTo>
                    <a:pt x="296" y="676"/>
                  </a:lnTo>
                  <a:lnTo>
                    <a:pt x="296" y="672"/>
                  </a:lnTo>
                  <a:lnTo>
                    <a:pt x="293" y="672"/>
                  </a:lnTo>
                  <a:lnTo>
                    <a:pt x="293" y="666"/>
                  </a:lnTo>
                  <a:lnTo>
                    <a:pt x="293" y="666"/>
                  </a:lnTo>
                  <a:lnTo>
                    <a:pt x="296" y="666"/>
                  </a:lnTo>
                  <a:lnTo>
                    <a:pt x="296" y="659"/>
                  </a:lnTo>
                  <a:lnTo>
                    <a:pt x="296" y="659"/>
                  </a:lnTo>
                  <a:lnTo>
                    <a:pt x="289" y="645"/>
                  </a:lnTo>
                  <a:lnTo>
                    <a:pt x="289" y="645"/>
                  </a:lnTo>
                  <a:lnTo>
                    <a:pt x="286" y="649"/>
                  </a:lnTo>
                  <a:lnTo>
                    <a:pt x="279" y="649"/>
                  </a:lnTo>
                  <a:lnTo>
                    <a:pt x="279" y="649"/>
                  </a:lnTo>
                  <a:lnTo>
                    <a:pt x="276" y="642"/>
                  </a:lnTo>
                  <a:lnTo>
                    <a:pt x="276" y="635"/>
                  </a:lnTo>
                  <a:lnTo>
                    <a:pt x="276" y="635"/>
                  </a:lnTo>
                  <a:lnTo>
                    <a:pt x="269" y="629"/>
                  </a:lnTo>
                  <a:lnTo>
                    <a:pt x="262" y="622"/>
                  </a:lnTo>
                  <a:lnTo>
                    <a:pt x="262" y="622"/>
                  </a:lnTo>
                  <a:lnTo>
                    <a:pt x="259" y="612"/>
                  </a:lnTo>
                  <a:lnTo>
                    <a:pt x="259" y="612"/>
                  </a:lnTo>
                  <a:lnTo>
                    <a:pt x="256" y="612"/>
                  </a:lnTo>
                  <a:lnTo>
                    <a:pt x="256" y="612"/>
                  </a:lnTo>
                  <a:lnTo>
                    <a:pt x="252" y="615"/>
                  </a:lnTo>
                  <a:lnTo>
                    <a:pt x="252" y="615"/>
                  </a:lnTo>
                  <a:lnTo>
                    <a:pt x="249" y="619"/>
                  </a:lnTo>
                  <a:lnTo>
                    <a:pt x="245" y="619"/>
                  </a:lnTo>
                  <a:lnTo>
                    <a:pt x="245" y="619"/>
                  </a:lnTo>
                  <a:lnTo>
                    <a:pt x="245" y="615"/>
                  </a:lnTo>
                  <a:lnTo>
                    <a:pt x="245" y="612"/>
                  </a:lnTo>
                  <a:lnTo>
                    <a:pt x="245" y="612"/>
                  </a:lnTo>
                  <a:lnTo>
                    <a:pt x="235" y="608"/>
                  </a:lnTo>
                  <a:lnTo>
                    <a:pt x="235" y="608"/>
                  </a:lnTo>
                  <a:lnTo>
                    <a:pt x="235" y="582"/>
                  </a:lnTo>
                  <a:lnTo>
                    <a:pt x="235" y="582"/>
                  </a:lnTo>
                  <a:lnTo>
                    <a:pt x="235" y="534"/>
                  </a:lnTo>
                  <a:lnTo>
                    <a:pt x="235" y="534"/>
                  </a:lnTo>
                  <a:lnTo>
                    <a:pt x="239" y="534"/>
                  </a:lnTo>
                  <a:lnTo>
                    <a:pt x="239" y="538"/>
                  </a:lnTo>
                  <a:lnTo>
                    <a:pt x="239" y="538"/>
                  </a:lnTo>
                  <a:lnTo>
                    <a:pt x="242" y="538"/>
                  </a:lnTo>
                  <a:lnTo>
                    <a:pt x="245" y="534"/>
                  </a:lnTo>
                  <a:lnTo>
                    <a:pt x="245" y="534"/>
                  </a:lnTo>
                  <a:lnTo>
                    <a:pt x="242" y="524"/>
                  </a:lnTo>
                  <a:lnTo>
                    <a:pt x="239" y="511"/>
                  </a:lnTo>
                  <a:lnTo>
                    <a:pt x="239" y="511"/>
                  </a:lnTo>
                  <a:lnTo>
                    <a:pt x="242" y="501"/>
                  </a:lnTo>
                  <a:lnTo>
                    <a:pt x="245" y="498"/>
                  </a:lnTo>
                  <a:lnTo>
                    <a:pt x="245" y="491"/>
                  </a:lnTo>
                  <a:lnTo>
                    <a:pt x="242" y="491"/>
                  </a:lnTo>
                  <a:lnTo>
                    <a:pt x="242" y="491"/>
                  </a:lnTo>
                  <a:lnTo>
                    <a:pt x="235" y="474"/>
                  </a:lnTo>
                  <a:lnTo>
                    <a:pt x="235" y="474"/>
                  </a:lnTo>
                  <a:lnTo>
                    <a:pt x="245" y="474"/>
                  </a:lnTo>
                  <a:lnTo>
                    <a:pt x="256" y="474"/>
                  </a:lnTo>
                  <a:lnTo>
                    <a:pt x="256" y="474"/>
                  </a:lnTo>
                  <a:lnTo>
                    <a:pt x="262" y="471"/>
                  </a:lnTo>
                  <a:lnTo>
                    <a:pt x="262" y="471"/>
                  </a:lnTo>
                  <a:lnTo>
                    <a:pt x="266" y="464"/>
                  </a:lnTo>
                  <a:lnTo>
                    <a:pt x="262" y="457"/>
                  </a:lnTo>
                  <a:lnTo>
                    <a:pt x="266" y="454"/>
                  </a:lnTo>
                  <a:lnTo>
                    <a:pt x="276" y="447"/>
                  </a:lnTo>
                  <a:lnTo>
                    <a:pt x="276" y="447"/>
                  </a:lnTo>
                  <a:lnTo>
                    <a:pt x="272" y="437"/>
                  </a:lnTo>
                  <a:lnTo>
                    <a:pt x="276" y="427"/>
                  </a:lnTo>
                  <a:lnTo>
                    <a:pt x="276" y="427"/>
                  </a:lnTo>
                  <a:lnTo>
                    <a:pt x="279" y="424"/>
                  </a:lnTo>
                  <a:lnTo>
                    <a:pt x="286" y="424"/>
                  </a:lnTo>
                  <a:lnTo>
                    <a:pt x="293" y="424"/>
                  </a:lnTo>
                  <a:lnTo>
                    <a:pt x="293" y="424"/>
                  </a:lnTo>
                  <a:lnTo>
                    <a:pt x="293" y="420"/>
                  </a:lnTo>
                  <a:lnTo>
                    <a:pt x="296" y="414"/>
                  </a:lnTo>
                  <a:lnTo>
                    <a:pt x="299" y="407"/>
                  </a:lnTo>
                  <a:lnTo>
                    <a:pt x="299" y="407"/>
                  </a:lnTo>
                  <a:lnTo>
                    <a:pt x="306" y="403"/>
                  </a:lnTo>
                  <a:lnTo>
                    <a:pt x="313" y="403"/>
                  </a:lnTo>
                  <a:lnTo>
                    <a:pt x="313" y="403"/>
                  </a:lnTo>
                  <a:lnTo>
                    <a:pt x="316" y="393"/>
                  </a:lnTo>
                  <a:lnTo>
                    <a:pt x="316" y="393"/>
                  </a:lnTo>
                  <a:lnTo>
                    <a:pt x="319" y="390"/>
                  </a:lnTo>
                  <a:lnTo>
                    <a:pt x="323" y="387"/>
                  </a:lnTo>
                  <a:lnTo>
                    <a:pt x="333" y="383"/>
                  </a:lnTo>
                  <a:lnTo>
                    <a:pt x="333" y="383"/>
                  </a:lnTo>
                  <a:lnTo>
                    <a:pt x="336" y="377"/>
                  </a:lnTo>
                  <a:lnTo>
                    <a:pt x="346" y="373"/>
                  </a:lnTo>
                  <a:lnTo>
                    <a:pt x="346" y="373"/>
                  </a:lnTo>
                  <a:lnTo>
                    <a:pt x="346" y="373"/>
                  </a:lnTo>
                  <a:lnTo>
                    <a:pt x="350" y="366"/>
                  </a:lnTo>
                  <a:lnTo>
                    <a:pt x="350" y="363"/>
                  </a:lnTo>
                  <a:lnTo>
                    <a:pt x="350" y="353"/>
                  </a:lnTo>
                  <a:lnTo>
                    <a:pt x="350" y="353"/>
                  </a:lnTo>
                  <a:lnTo>
                    <a:pt x="360" y="340"/>
                  </a:lnTo>
                  <a:lnTo>
                    <a:pt x="370" y="329"/>
                  </a:lnTo>
                  <a:lnTo>
                    <a:pt x="370" y="329"/>
                  </a:lnTo>
                  <a:lnTo>
                    <a:pt x="366" y="323"/>
                  </a:lnTo>
                  <a:lnTo>
                    <a:pt x="363" y="316"/>
                  </a:lnTo>
                  <a:lnTo>
                    <a:pt x="363" y="316"/>
                  </a:lnTo>
                  <a:lnTo>
                    <a:pt x="363" y="316"/>
                  </a:lnTo>
                  <a:lnTo>
                    <a:pt x="363" y="316"/>
                  </a:lnTo>
                  <a:lnTo>
                    <a:pt x="360" y="316"/>
                  </a:lnTo>
                  <a:lnTo>
                    <a:pt x="360" y="316"/>
                  </a:lnTo>
                  <a:lnTo>
                    <a:pt x="356" y="313"/>
                  </a:lnTo>
                  <a:lnTo>
                    <a:pt x="356" y="313"/>
                  </a:lnTo>
                  <a:lnTo>
                    <a:pt x="356" y="309"/>
                  </a:lnTo>
                  <a:lnTo>
                    <a:pt x="356" y="306"/>
                  </a:lnTo>
                  <a:lnTo>
                    <a:pt x="356" y="306"/>
                  </a:lnTo>
                  <a:lnTo>
                    <a:pt x="353" y="303"/>
                  </a:lnTo>
                  <a:lnTo>
                    <a:pt x="353" y="299"/>
                  </a:lnTo>
                  <a:lnTo>
                    <a:pt x="353" y="299"/>
                  </a:lnTo>
                  <a:lnTo>
                    <a:pt x="356" y="296"/>
                  </a:lnTo>
                  <a:lnTo>
                    <a:pt x="360" y="289"/>
                  </a:lnTo>
                  <a:lnTo>
                    <a:pt x="360" y="289"/>
                  </a:lnTo>
                  <a:lnTo>
                    <a:pt x="363" y="282"/>
                  </a:lnTo>
                  <a:lnTo>
                    <a:pt x="363" y="272"/>
                  </a:lnTo>
                  <a:lnTo>
                    <a:pt x="363" y="272"/>
                  </a:lnTo>
                  <a:lnTo>
                    <a:pt x="373" y="272"/>
                  </a:lnTo>
                  <a:lnTo>
                    <a:pt x="373" y="272"/>
                  </a:lnTo>
                  <a:lnTo>
                    <a:pt x="370" y="266"/>
                  </a:lnTo>
                  <a:lnTo>
                    <a:pt x="370" y="266"/>
                  </a:lnTo>
                  <a:lnTo>
                    <a:pt x="370" y="259"/>
                  </a:lnTo>
                  <a:lnTo>
                    <a:pt x="370" y="259"/>
                  </a:lnTo>
                  <a:lnTo>
                    <a:pt x="373" y="256"/>
                  </a:lnTo>
                  <a:lnTo>
                    <a:pt x="377" y="256"/>
                  </a:lnTo>
                  <a:lnTo>
                    <a:pt x="377" y="256"/>
                  </a:lnTo>
                  <a:lnTo>
                    <a:pt x="377" y="252"/>
                  </a:lnTo>
                  <a:lnTo>
                    <a:pt x="373" y="249"/>
                  </a:lnTo>
                  <a:lnTo>
                    <a:pt x="373" y="249"/>
                  </a:lnTo>
                  <a:lnTo>
                    <a:pt x="387" y="242"/>
                  </a:lnTo>
                  <a:lnTo>
                    <a:pt x="387" y="242"/>
                  </a:lnTo>
                  <a:lnTo>
                    <a:pt x="387" y="229"/>
                  </a:lnTo>
                  <a:lnTo>
                    <a:pt x="387" y="229"/>
                  </a:lnTo>
                  <a:lnTo>
                    <a:pt x="393" y="229"/>
                  </a:lnTo>
                  <a:lnTo>
                    <a:pt x="397" y="229"/>
                  </a:lnTo>
                  <a:lnTo>
                    <a:pt x="397" y="229"/>
                  </a:lnTo>
                  <a:lnTo>
                    <a:pt x="400" y="225"/>
                  </a:lnTo>
                  <a:lnTo>
                    <a:pt x="400" y="225"/>
                  </a:lnTo>
                  <a:lnTo>
                    <a:pt x="403" y="229"/>
                  </a:lnTo>
                  <a:lnTo>
                    <a:pt x="403" y="229"/>
                  </a:lnTo>
                  <a:lnTo>
                    <a:pt x="407" y="229"/>
                  </a:lnTo>
                  <a:lnTo>
                    <a:pt x="407" y="229"/>
                  </a:lnTo>
                  <a:lnTo>
                    <a:pt x="407" y="229"/>
                  </a:lnTo>
                  <a:lnTo>
                    <a:pt x="410" y="225"/>
                  </a:lnTo>
                  <a:lnTo>
                    <a:pt x="410" y="225"/>
                  </a:lnTo>
                  <a:lnTo>
                    <a:pt x="414" y="229"/>
                  </a:lnTo>
                  <a:lnTo>
                    <a:pt x="420" y="229"/>
                  </a:lnTo>
                  <a:lnTo>
                    <a:pt x="420" y="229"/>
                  </a:lnTo>
                  <a:lnTo>
                    <a:pt x="420" y="225"/>
                  </a:lnTo>
                  <a:lnTo>
                    <a:pt x="420" y="225"/>
                  </a:lnTo>
                  <a:lnTo>
                    <a:pt x="430" y="225"/>
                  </a:lnTo>
                  <a:lnTo>
                    <a:pt x="427" y="215"/>
                  </a:lnTo>
                  <a:lnTo>
                    <a:pt x="427" y="212"/>
                  </a:lnTo>
                  <a:lnTo>
                    <a:pt x="424" y="198"/>
                  </a:lnTo>
                  <a:lnTo>
                    <a:pt x="417" y="192"/>
                  </a:lnTo>
                  <a:lnTo>
                    <a:pt x="410" y="185"/>
                  </a:lnTo>
                  <a:lnTo>
                    <a:pt x="410" y="172"/>
                  </a:lnTo>
                  <a:lnTo>
                    <a:pt x="414" y="165"/>
                  </a:lnTo>
                  <a:lnTo>
                    <a:pt x="417" y="155"/>
                  </a:lnTo>
                  <a:lnTo>
                    <a:pt x="414" y="148"/>
                  </a:lnTo>
                  <a:lnTo>
                    <a:pt x="410" y="138"/>
                  </a:lnTo>
                  <a:lnTo>
                    <a:pt x="414" y="138"/>
                  </a:lnTo>
                  <a:lnTo>
                    <a:pt x="414" y="138"/>
                  </a:lnTo>
                  <a:lnTo>
                    <a:pt x="414" y="131"/>
                  </a:lnTo>
                  <a:lnTo>
                    <a:pt x="417" y="128"/>
                  </a:lnTo>
                  <a:lnTo>
                    <a:pt x="417" y="128"/>
                  </a:lnTo>
                  <a:lnTo>
                    <a:pt x="414" y="124"/>
                  </a:lnTo>
                  <a:lnTo>
                    <a:pt x="414" y="121"/>
                  </a:lnTo>
                  <a:lnTo>
                    <a:pt x="414" y="121"/>
                  </a:lnTo>
                  <a:lnTo>
                    <a:pt x="410" y="118"/>
                  </a:lnTo>
                  <a:lnTo>
                    <a:pt x="407" y="118"/>
                  </a:lnTo>
                  <a:lnTo>
                    <a:pt x="407" y="118"/>
                  </a:lnTo>
                  <a:lnTo>
                    <a:pt x="403" y="114"/>
                  </a:lnTo>
                  <a:lnTo>
                    <a:pt x="403" y="114"/>
                  </a:lnTo>
                  <a:lnTo>
                    <a:pt x="403" y="104"/>
                  </a:lnTo>
                  <a:lnTo>
                    <a:pt x="400" y="98"/>
                  </a:lnTo>
                  <a:lnTo>
                    <a:pt x="400" y="98"/>
                  </a:lnTo>
                  <a:lnTo>
                    <a:pt x="400" y="94"/>
                  </a:lnTo>
                  <a:lnTo>
                    <a:pt x="400" y="94"/>
                  </a:lnTo>
                  <a:lnTo>
                    <a:pt x="400" y="94"/>
                  </a:lnTo>
                  <a:lnTo>
                    <a:pt x="397" y="84"/>
                  </a:lnTo>
                  <a:lnTo>
                    <a:pt x="397" y="84"/>
                  </a:lnTo>
                  <a:lnTo>
                    <a:pt x="397" y="74"/>
                  </a:lnTo>
                  <a:lnTo>
                    <a:pt x="397" y="64"/>
                  </a:lnTo>
                  <a:lnTo>
                    <a:pt x="397" y="64"/>
                  </a:lnTo>
                  <a:lnTo>
                    <a:pt x="393" y="57"/>
                  </a:lnTo>
                  <a:lnTo>
                    <a:pt x="387" y="51"/>
                  </a:lnTo>
                  <a:lnTo>
                    <a:pt x="387" y="51"/>
                  </a:lnTo>
                  <a:lnTo>
                    <a:pt x="387" y="47"/>
                  </a:lnTo>
                  <a:lnTo>
                    <a:pt x="383" y="44"/>
                  </a:lnTo>
                  <a:lnTo>
                    <a:pt x="383" y="44"/>
                  </a:lnTo>
                  <a:lnTo>
                    <a:pt x="377" y="40"/>
                  </a:lnTo>
                  <a:lnTo>
                    <a:pt x="377" y="40"/>
                  </a:lnTo>
                  <a:lnTo>
                    <a:pt x="366" y="37"/>
                  </a:lnTo>
                  <a:lnTo>
                    <a:pt x="366" y="37"/>
                  </a:lnTo>
                  <a:lnTo>
                    <a:pt x="360" y="30"/>
                  </a:lnTo>
                  <a:lnTo>
                    <a:pt x="360" y="30"/>
                  </a:lnTo>
                  <a:lnTo>
                    <a:pt x="353" y="30"/>
                  </a:lnTo>
                  <a:lnTo>
                    <a:pt x="353" y="30"/>
                  </a:lnTo>
                  <a:lnTo>
                    <a:pt x="343" y="20"/>
                  </a:lnTo>
                  <a:lnTo>
                    <a:pt x="343" y="20"/>
                  </a:lnTo>
                  <a:lnTo>
                    <a:pt x="340" y="10"/>
                  </a:lnTo>
                  <a:lnTo>
                    <a:pt x="336" y="4"/>
                  </a:lnTo>
                  <a:lnTo>
                    <a:pt x="336" y="4"/>
                  </a:lnTo>
                  <a:lnTo>
                    <a:pt x="329" y="0"/>
                  </a:lnTo>
                  <a:lnTo>
                    <a:pt x="329" y="0"/>
                  </a:lnTo>
                  <a:lnTo>
                    <a:pt x="329" y="0"/>
                  </a:lnTo>
                  <a:lnTo>
                    <a:pt x="326" y="4"/>
                  </a:lnTo>
                  <a:lnTo>
                    <a:pt x="326" y="4"/>
                  </a:lnTo>
                  <a:lnTo>
                    <a:pt x="319" y="7"/>
                  </a:lnTo>
                  <a:lnTo>
                    <a:pt x="316" y="7"/>
                  </a:lnTo>
                  <a:lnTo>
                    <a:pt x="316" y="7"/>
                  </a:lnTo>
                  <a:lnTo>
                    <a:pt x="316" y="7"/>
                  </a:lnTo>
                  <a:lnTo>
                    <a:pt x="323" y="17"/>
                  </a:lnTo>
                  <a:lnTo>
                    <a:pt x="326" y="27"/>
                  </a:lnTo>
                  <a:lnTo>
                    <a:pt x="326" y="27"/>
                  </a:lnTo>
                  <a:lnTo>
                    <a:pt x="323" y="37"/>
                  </a:lnTo>
                  <a:lnTo>
                    <a:pt x="323" y="37"/>
                  </a:lnTo>
                  <a:lnTo>
                    <a:pt x="319" y="47"/>
                  </a:lnTo>
                  <a:lnTo>
                    <a:pt x="319" y="47"/>
                  </a:lnTo>
                  <a:lnTo>
                    <a:pt x="316" y="54"/>
                  </a:lnTo>
                  <a:lnTo>
                    <a:pt x="316" y="54"/>
                  </a:lnTo>
                  <a:lnTo>
                    <a:pt x="313" y="57"/>
                  </a:lnTo>
                  <a:lnTo>
                    <a:pt x="313" y="57"/>
                  </a:lnTo>
                  <a:lnTo>
                    <a:pt x="309" y="57"/>
                  </a:lnTo>
                  <a:lnTo>
                    <a:pt x="303" y="51"/>
                  </a:lnTo>
                  <a:lnTo>
                    <a:pt x="303" y="51"/>
                  </a:lnTo>
                  <a:lnTo>
                    <a:pt x="286" y="44"/>
                  </a:lnTo>
                  <a:lnTo>
                    <a:pt x="286" y="44"/>
                  </a:lnTo>
                  <a:lnTo>
                    <a:pt x="282" y="40"/>
                  </a:lnTo>
                  <a:lnTo>
                    <a:pt x="276" y="40"/>
                  </a:lnTo>
                  <a:lnTo>
                    <a:pt x="276" y="40"/>
                  </a:lnTo>
                  <a:lnTo>
                    <a:pt x="269" y="40"/>
                  </a:lnTo>
                  <a:lnTo>
                    <a:pt x="262" y="40"/>
                  </a:lnTo>
                  <a:lnTo>
                    <a:pt x="262" y="40"/>
                  </a:lnTo>
                  <a:lnTo>
                    <a:pt x="262" y="47"/>
                  </a:lnTo>
                  <a:lnTo>
                    <a:pt x="259" y="54"/>
                  </a:lnTo>
                  <a:lnTo>
                    <a:pt x="259" y="61"/>
                  </a:lnTo>
                  <a:lnTo>
                    <a:pt x="256" y="67"/>
                  </a:lnTo>
                  <a:lnTo>
                    <a:pt x="256" y="67"/>
                  </a:lnTo>
                  <a:lnTo>
                    <a:pt x="245" y="74"/>
                  </a:lnTo>
                  <a:lnTo>
                    <a:pt x="245" y="74"/>
                  </a:lnTo>
                  <a:lnTo>
                    <a:pt x="242" y="71"/>
                  </a:lnTo>
                  <a:lnTo>
                    <a:pt x="235" y="67"/>
                  </a:lnTo>
                  <a:lnTo>
                    <a:pt x="235" y="67"/>
                  </a:lnTo>
                  <a:lnTo>
                    <a:pt x="229" y="67"/>
                  </a:lnTo>
                  <a:lnTo>
                    <a:pt x="222" y="77"/>
                  </a:lnTo>
                  <a:lnTo>
                    <a:pt x="222" y="77"/>
                  </a:lnTo>
                  <a:lnTo>
                    <a:pt x="219" y="91"/>
                  </a:lnTo>
                  <a:lnTo>
                    <a:pt x="215" y="101"/>
                  </a:lnTo>
                  <a:lnTo>
                    <a:pt x="215" y="101"/>
                  </a:lnTo>
                  <a:lnTo>
                    <a:pt x="212" y="104"/>
                  </a:lnTo>
                  <a:lnTo>
                    <a:pt x="209" y="111"/>
                  </a:lnTo>
                  <a:lnTo>
                    <a:pt x="209" y="111"/>
                  </a:lnTo>
                  <a:lnTo>
                    <a:pt x="205" y="111"/>
                  </a:lnTo>
                  <a:lnTo>
                    <a:pt x="205" y="111"/>
                  </a:lnTo>
                  <a:lnTo>
                    <a:pt x="202" y="118"/>
                  </a:lnTo>
                  <a:lnTo>
                    <a:pt x="202" y="118"/>
                  </a:lnTo>
                  <a:lnTo>
                    <a:pt x="202" y="121"/>
                  </a:lnTo>
                  <a:lnTo>
                    <a:pt x="205" y="124"/>
                  </a:lnTo>
                  <a:lnTo>
                    <a:pt x="205" y="124"/>
                  </a:lnTo>
                  <a:lnTo>
                    <a:pt x="209" y="131"/>
                  </a:lnTo>
                  <a:lnTo>
                    <a:pt x="209" y="138"/>
                  </a:lnTo>
                  <a:lnTo>
                    <a:pt x="209" y="138"/>
                  </a:lnTo>
                  <a:lnTo>
                    <a:pt x="209" y="141"/>
                  </a:lnTo>
                  <a:lnTo>
                    <a:pt x="209" y="145"/>
                  </a:lnTo>
                  <a:lnTo>
                    <a:pt x="202" y="148"/>
                  </a:lnTo>
                  <a:lnTo>
                    <a:pt x="202" y="148"/>
                  </a:lnTo>
                  <a:lnTo>
                    <a:pt x="195" y="155"/>
                  </a:lnTo>
                  <a:lnTo>
                    <a:pt x="195" y="155"/>
                  </a:lnTo>
                  <a:lnTo>
                    <a:pt x="192" y="161"/>
                  </a:lnTo>
                  <a:lnTo>
                    <a:pt x="192" y="161"/>
                  </a:lnTo>
                  <a:lnTo>
                    <a:pt x="185" y="172"/>
                  </a:lnTo>
                  <a:lnTo>
                    <a:pt x="185" y="172"/>
                  </a:lnTo>
                  <a:lnTo>
                    <a:pt x="178" y="178"/>
                  </a:lnTo>
                  <a:lnTo>
                    <a:pt x="175" y="182"/>
                  </a:lnTo>
                  <a:lnTo>
                    <a:pt x="175" y="185"/>
                  </a:lnTo>
                  <a:lnTo>
                    <a:pt x="175" y="185"/>
                  </a:lnTo>
                  <a:lnTo>
                    <a:pt x="175" y="195"/>
                  </a:lnTo>
                  <a:lnTo>
                    <a:pt x="175" y="205"/>
                  </a:lnTo>
                  <a:lnTo>
                    <a:pt x="175" y="205"/>
                  </a:lnTo>
                  <a:lnTo>
                    <a:pt x="168" y="209"/>
                  </a:lnTo>
                  <a:lnTo>
                    <a:pt x="158" y="212"/>
                  </a:lnTo>
                  <a:lnTo>
                    <a:pt x="158" y="212"/>
                  </a:lnTo>
                  <a:lnTo>
                    <a:pt x="151" y="209"/>
                  </a:lnTo>
                  <a:lnTo>
                    <a:pt x="151" y="209"/>
                  </a:lnTo>
                  <a:lnTo>
                    <a:pt x="148" y="212"/>
                  </a:lnTo>
                  <a:lnTo>
                    <a:pt x="148" y="212"/>
                  </a:lnTo>
                  <a:lnTo>
                    <a:pt x="148" y="225"/>
                  </a:lnTo>
                  <a:lnTo>
                    <a:pt x="148" y="225"/>
                  </a:lnTo>
                  <a:lnTo>
                    <a:pt x="145" y="256"/>
                  </a:lnTo>
                  <a:lnTo>
                    <a:pt x="145" y="256"/>
                  </a:lnTo>
                  <a:lnTo>
                    <a:pt x="145" y="266"/>
                  </a:lnTo>
                  <a:lnTo>
                    <a:pt x="145" y="272"/>
                  </a:lnTo>
                  <a:lnTo>
                    <a:pt x="145" y="272"/>
                  </a:lnTo>
                  <a:lnTo>
                    <a:pt x="128" y="296"/>
                  </a:lnTo>
                  <a:lnTo>
                    <a:pt x="118" y="316"/>
                  </a:lnTo>
                  <a:lnTo>
                    <a:pt x="118" y="316"/>
                  </a:lnTo>
                  <a:lnTo>
                    <a:pt x="118" y="316"/>
                  </a:lnTo>
                  <a:lnTo>
                    <a:pt x="118" y="319"/>
                  </a:lnTo>
                  <a:lnTo>
                    <a:pt x="121" y="323"/>
                  </a:lnTo>
                  <a:lnTo>
                    <a:pt x="121" y="323"/>
                  </a:lnTo>
                  <a:lnTo>
                    <a:pt x="128" y="326"/>
                  </a:lnTo>
                  <a:lnTo>
                    <a:pt x="131" y="333"/>
                  </a:lnTo>
                  <a:lnTo>
                    <a:pt x="131" y="333"/>
                  </a:lnTo>
                  <a:lnTo>
                    <a:pt x="135" y="340"/>
                  </a:lnTo>
                  <a:lnTo>
                    <a:pt x="131" y="350"/>
                  </a:lnTo>
                  <a:lnTo>
                    <a:pt x="131" y="350"/>
                  </a:lnTo>
                  <a:lnTo>
                    <a:pt x="128" y="360"/>
                  </a:lnTo>
                  <a:lnTo>
                    <a:pt x="124" y="366"/>
                  </a:lnTo>
                  <a:lnTo>
                    <a:pt x="124" y="366"/>
                  </a:lnTo>
                  <a:lnTo>
                    <a:pt x="114" y="360"/>
                  </a:lnTo>
                  <a:lnTo>
                    <a:pt x="114" y="360"/>
                  </a:lnTo>
                  <a:lnTo>
                    <a:pt x="108" y="356"/>
                  </a:lnTo>
                  <a:lnTo>
                    <a:pt x="101" y="356"/>
                  </a:lnTo>
                  <a:lnTo>
                    <a:pt x="101" y="356"/>
                  </a:lnTo>
                  <a:lnTo>
                    <a:pt x="88" y="360"/>
                  </a:lnTo>
                  <a:lnTo>
                    <a:pt x="88" y="360"/>
                  </a:lnTo>
                  <a:lnTo>
                    <a:pt x="81" y="366"/>
                  </a:lnTo>
                  <a:lnTo>
                    <a:pt x="81" y="366"/>
                  </a:lnTo>
                  <a:lnTo>
                    <a:pt x="71" y="373"/>
                  </a:lnTo>
                  <a:lnTo>
                    <a:pt x="71" y="373"/>
                  </a:lnTo>
                  <a:lnTo>
                    <a:pt x="64" y="380"/>
                  </a:lnTo>
                  <a:lnTo>
                    <a:pt x="64" y="380"/>
                  </a:lnTo>
                  <a:lnTo>
                    <a:pt x="57" y="387"/>
                  </a:lnTo>
                  <a:lnTo>
                    <a:pt x="57" y="387"/>
                  </a:lnTo>
                  <a:lnTo>
                    <a:pt x="57" y="393"/>
                  </a:lnTo>
                  <a:lnTo>
                    <a:pt x="57" y="397"/>
                  </a:lnTo>
                  <a:lnTo>
                    <a:pt x="57" y="397"/>
                  </a:lnTo>
                  <a:lnTo>
                    <a:pt x="51" y="403"/>
                  </a:lnTo>
                  <a:lnTo>
                    <a:pt x="51" y="403"/>
                  </a:lnTo>
                  <a:lnTo>
                    <a:pt x="54" y="410"/>
                  </a:lnTo>
                  <a:lnTo>
                    <a:pt x="57" y="417"/>
                  </a:lnTo>
                  <a:lnTo>
                    <a:pt x="57" y="417"/>
                  </a:lnTo>
                  <a:lnTo>
                    <a:pt x="57" y="424"/>
                  </a:lnTo>
                  <a:lnTo>
                    <a:pt x="57" y="424"/>
                  </a:lnTo>
                  <a:lnTo>
                    <a:pt x="54" y="440"/>
                  </a:lnTo>
                  <a:lnTo>
                    <a:pt x="54" y="440"/>
                  </a:lnTo>
                  <a:lnTo>
                    <a:pt x="51" y="447"/>
                  </a:lnTo>
                  <a:lnTo>
                    <a:pt x="51" y="447"/>
                  </a:lnTo>
                  <a:lnTo>
                    <a:pt x="54" y="461"/>
                  </a:lnTo>
                  <a:lnTo>
                    <a:pt x="57" y="467"/>
                  </a:lnTo>
                  <a:lnTo>
                    <a:pt x="57" y="467"/>
                  </a:lnTo>
                  <a:lnTo>
                    <a:pt x="57" y="487"/>
                  </a:lnTo>
                  <a:lnTo>
                    <a:pt x="54" y="511"/>
                  </a:lnTo>
                  <a:lnTo>
                    <a:pt x="54" y="511"/>
                  </a:lnTo>
                  <a:lnTo>
                    <a:pt x="57" y="521"/>
                  </a:lnTo>
                  <a:lnTo>
                    <a:pt x="64" y="531"/>
                  </a:lnTo>
                  <a:lnTo>
                    <a:pt x="64" y="531"/>
                  </a:lnTo>
                  <a:lnTo>
                    <a:pt x="67" y="531"/>
                  </a:lnTo>
                  <a:lnTo>
                    <a:pt x="71" y="531"/>
                  </a:lnTo>
                  <a:lnTo>
                    <a:pt x="71" y="531"/>
                  </a:lnTo>
                  <a:lnTo>
                    <a:pt x="77" y="551"/>
                  </a:lnTo>
                  <a:lnTo>
                    <a:pt x="77" y="551"/>
                  </a:lnTo>
                  <a:lnTo>
                    <a:pt x="74" y="565"/>
                  </a:lnTo>
                  <a:lnTo>
                    <a:pt x="67" y="571"/>
                  </a:lnTo>
                  <a:lnTo>
                    <a:pt x="67" y="571"/>
                  </a:lnTo>
                  <a:lnTo>
                    <a:pt x="54" y="571"/>
                  </a:lnTo>
                  <a:lnTo>
                    <a:pt x="51" y="575"/>
                  </a:lnTo>
                  <a:lnTo>
                    <a:pt x="51" y="575"/>
                  </a:lnTo>
                  <a:lnTo>
                    <a:pt x="51" y="582"/>
                  </a:lnTo>
                  <a:lnTo>
                    <a:pt x="51" y="582"/>
                  </a:lnTo>
                  <a:lnTo>
                    <a:pt x="54" y="598"/>
                  </a:lnTo>
                  <a:lnTo>
                    <a:pt x="54" y="598"/>
                  </a:lnTo>
                  <a:lnTo>
                    <a:pt x="57" y="605"/>
                  </a:lnTo>
                  <a:lnTo>
                    <a:pt x="54" y="612"/>
                  </a:lnTo>
                  <a:lnTo>
                    <a:pt x="54" y="612"/>
                  </a:lnTo>
                  <a:lnTo>
                    <a:pt x="47" y="622"/>
                  </a:lnTo>
                  <a:lnTo>
                    <a:pt x="47" y="622"/>
                  </a:lnTo>
                  <a:lnTo>
                    <a:pt x="44" y="629"/>
                  </a:lnTo>
                  <a:lnTo>
                    <a:pt x="44" y="635"/>
                  </a:lnTo>
                  <a:lnTo>
                    <a:pt x="44" y="635"/>
                  </a:lnTo>
                  <a:lnTo>
                    <a:pt x="40" y="642"/>
                  </a:lnTo>
                  <a:lnTo>
                    <a:pt x="37" y="649"/>
                  </a:lnTo>
                  <a:lnTo>
                    <a:pt x="37" y="649"/>
                  </a:lnTo>
                  <a:lnTo>
                    <a:pt x="30" y="649"/>
                  </a:lnTo>
                  <a:lnTo>
                    <a:pt x="27" y="652"/>
                  </a:lnTo>
                  <a:lnTo>
                    <a:pt x="27" y="652"/>
                  </a:lnTo>
                  <a:lnTo>
                    <a:pt x="27" y="655"/>
                  </a:lnTo>
                  <a:lnTo>
                    <a:pt x="27" y="659"/>
                  </a:lnTo>
                  <a:lnTo>
                    <a:pt x="27" y="659"/>
                  </a:lnTo>
                  <a:lnTo>
                    <a:pt x="24" y="662"/>
                  </a:lnTo>
                  <a:lnTo>
                    <a:pt x="20" y="666"/>
                  </a:lnTo>
                  <a:lnTo>
                    <a:pt x="20" y="666"/>
                  </a:lnTo>
                  <a:lnTo>
                    <a:pt x="20" y="669"/>
                  </a:lnTo>
                  <a:lnTo>
                    <a:pt x="20" y="676"/>
                  </a:lnTo>
                  <a:lnTo>
                    <a:pt x="20" y="686"/>
                  </a:lnTo>
                  <a:lnTo>
                    <a:pt x="20" y="686"/>
                  </a:lnTo>
                  <a:lnTo>
                    <a:pt x="20" y="706"/>
                  </a:lnTo>
                  <a:lnTo>
                    <a:pt x="20" y="716"/>
                  </a:lnTo>
                  <a:lnTo>
                    <a:pt x="17" y="716"/>
                  </a:lnTo>
                  <a:lnTo>
                    <a:pt x="14" y="716"/>
                  </a:lnTo>
                  <a:lnTo>
                    <a:pt x="14" y="716"/>
                  </a:lnTo>
                  <a:lnTo>
                    <a:pt x="10" y="713"/>
                  </a:lnTo>
                  <a:lnTo>
                    <a:pt x="10" y="709"/>
                  </a:lnTo>
                  <a:lnTo>
                    <a:pt x="7" y="709"/>
                  </a:lnTo>
                  <a:lnTo>
                    <a:pt x="7" y="709"/>
                  </a:lnTo>
                  <a:close/>
                  <a:moveTo>
                    <a:pt x="20" y="793"/>
                  </a:moveTo>
                  <a:lnTo>
                    <a:pt x="20" y="793"/>
                  </a:lnTo>
                  <a:lnTo>
                    <a:pt x="24" y="793"/>
                  </a:lnTo>
                  <a:lnTo>
                    <a:pt x="24" y="793"/>
                  </a:lnTo>
                  <a:lnTo>
                    <a:pt x="20" y="797"/>
                  </a:lnTo>
                  <a:lnTo>
                    <a:pt x="20" y="797"/>
                  </a:lnTo>
                  <a:lnTo>
                    <a:pt x="20" y="793"/>
                  </a:lnTo>
                  <a:lnTo>
                    <a:pt x="20" y="793"/>
                  </a:lnTo>
                  <a:lnTo>
                    <a:pt x="20" y="793"/>
                  </a:lnTo>
                  <a:close/>
                  <a:moveTo>
                    <a:pt x="24" y="776"/>
                  </a:moveTo>
                  <a:lnTo>
                    <a:pt x="24" y="776"/>
                  </a:lnTo>
                  <a:lnTo>
                    <a:pt x="27" y="776"/>
                  </a:lnTo>
                  <a:lnTo>
                    <a:pt x="27" y="780"/>
                  </a:lnTo>
                  <a:lnTo>
                    <a:pt x="24" y="787"/>
                  </a:lnTo>
                  <a:lnTo>
                    <a:pt x="24" y="787"/>
                  </a:lnTo>
                  <a:lnTo>
                    <a:pt x="20" y="776"/>
                  </a:lnTo>
                  <a:lnTo>
                    <a:pt x="24" y="776"/>
                  </a:lnTo>
                  <a:close/>
                  <a:moveTo>
                    <a:pt x="306" y="807"/>
                  </a:moveTo>
                  <a:lnTo>
                    <a:pt x="306" y="807"/>
                  </a:lnTo>
                  <a:lnTo>
                    <a:pt x="299" y="813"/>
                  </a:lnTo>
                  <a:lnTo>
                    <a:pt x="299" y="813"/>
                  </a:lnTo>
                  <a:lnTo>
                    <a:pt x="286" y="813"/>
                  </a:lnTo>
                  <a:lnTo>
                    <a:pt x="286" y="813"/>
                  </a:lnTo>
                  <a:lnTo>
                    <a:pt x="279" y="820"/>
                  </a:lnTo>
                  <a:lnTo>
                    <a:pt x="272" y="830"/>
                  </a:lnTo>
                  <a:lnTo>
                    <a:pt x="272" y="830"/>
                  </a:lnTo>
                  <a:lnTo>
                    <a:pt x="272" y="834"/>
                  </a:lnTo>
                  <a:lnTo>
                    <a:pt x="272" y="834"/>
                  </a:lnTo>
                  <a:lnTo>
                    <a:pt x="262" y="844"/>
                  </a:lnTo>
                  <a:lnTo>
                    <a:pt x="262" y="844"/>
                  </a:lnTo>
                  <a:lnTo>
                    <a:pt x="266" y="860"/>
                  </a:lnTo>
                  <a:lnTo>
                    <a:pt x="266" y="877"/>
                  </a:lnTo>
                  <a:lnTo>
                    <a:pt x="272" y="881"/>
                  </a:lnTo>
                  <a:lnTo>
                    <a:pt x="272" y="881"/>
                  </a:lnTo>
                  <a:lnTo>
                    <a:pt x="269" y="884"/>
                  </a:lnTo>
                  <a:lnTo>
                    <a:pt x="269" y="887"/>
                  </a:lnTo>
                  <a:lnTo>
                    <a:pt x="272" y="887"/>
                  </a:lnTo>
                  <a:lnTo>
                    <a:pt x="272" y="887"/>
                  </a:lnTo>
                  <a:lnTo>
                    <a:pt x="282" y="867"/>
                  </a:lnTo>
                  <a:lnTo>
                    <a:pt x="282" y="867"/>
                  </a:lnTo>
                  <a:lnTo>
                    <a:pt x="289" y="864"/>
                  </a:lnTo>
                  <a:lnTo>
                    <a:pt x="289" y="864"/>
                  </a:lnTo>
                  <a:lnTo>
                    <a:pt x="286" y="860"/>
                  </a:lnTo>
                  <a:lnTo>
                    <a:pt x="286" y="857"/>
                  </a:lnTo>
                  <a:lnTo>
                    <a:pt x="286" y="857"/>
                  </a:lnTo>
                  <a:lnTo>
                    <a:pt x="296" y="854"/>
                  </a:lnTo>
                  <a:lnTo>
                    <a:pt x="296" y="854"/>
                  </a:lnTo>
                  <a:lnTo>
                    <a:pt x="289" y="840"/>
                  </a:lnTo>
                  <a:lnTo>
                    <a:pt x="293" y="830"/>
                  </a:lnTo>
                  <a:lnTo>
                    <a:pt x="293" y="830"/>
                  </a:lnTo>
                  <a:lnTo>
                    <a:pt x="296" y="830"/>
                  </a:lnTo>
                  <a:lnTo>
                    <a:pt x="296" y="830"/>
                  </a:lnTo>
                  <a:lnTo>
                    <a:pt x="299" y="824"/>
                  </a:lnTo>
                  <a:lnTo>
                    <a:pt x="299" y="817"/>
                  </a:lnTo>
                  <a:lnTo>
                    <a:pt x="299" y="817"/>
                  </a:lnTo>
                  <a:lnTo>
                    <a:pt x="306" y="817"/>
                  </a:lnTo>
                  <a:lnTo>
                    <a:pt x="306" y="813"/>
                  </a:lnTo>
                  <a:lnTo>
                    <a:pt x="306" y="813"/>
                  </a:lnTo>
                  <a:lnTo>
                    <a:pt x="313" y="810"/>
                  </a:lnTo>
                  <a:lnTo>
                    <a:pt x="313" y="810"/>
                  </a:lnTo>
                  <a:lnTo>
                    <a:pt x="309" y="807"/>
                  </a:lnTo>
                  <a:lnTo>
                    <a:pt x="309" y="807"/>
                  </a:lnTo>
                  <a:lnTo>
                    <a:pt x="306" y="807"/>
                  </a:lnTo>
                  <a:lnTo>
                    <a:pt x="306" y="807"/>
                  </a:lnTo>
                  <a:close/>
                </a:path>
              </a:pathLst>
            </a:custGeom>
            <a:solidFill>
              <a:srgbClr val="C0C0C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EYInterstate" pitchFamily="2" charset="0"/>
                <a:cs typeface="Arial" charset="0"/>
              </a:endParaRPr>
            </a:p>
          </p:txBody>
        </p:sp>
        <p:sp>
          <p:nvSpPr>
            <p:cNvPr id="20" name="Freeform 34"/>
            <p:cNvSpPr>
              <a:spLocks noEditPoints="1"/>
            </p:cNvSpPr>
            <p:nvPr/>
          </p:nvSpPr>
          <p:spPr bwMode="auto">
            <a:xfrm>
              <a:off x="1769" y="2827"/>
              <a:ext cx="687" cy="561"/>
            </a:xfrm>
            <a:custGeom>
              <a:avLst/>
              <a:gdLst/>
              <a:ahLst/>
              <a:cxnLst>
                <a:cxn ang="0">
                  <a:pos x="561" y="246"/>
                </a:cxn>
                <a:cxn ang="0">
                  <a:pos x="541" y="229"/>
                </a:cxn>
                <a:cxn ang="0">
                  <a:pos x="511" y="219"/>
                </a:cxn>
                <a:cxn ang="0">
                  <a:pos x="474" y="185"/>
                </a:cxn>
                <a:cxn ang="0">
                  <a:pos x="447" y="162"/>
                </a:cxn>
                <a:cxn ang="0">
                  <a:pos x="444" y="145"/>
                </a:cxn>
                <a:cxn ang="0">
                  <a:pos x="390" y="118"/>
                </a:cxn>
                <a:cxn ang="0">
                  <a:pos x="343" y="95"/>
                </a:cxn>
                <a:cxn ang="0">
                  <a:pos x="299" y="88"/>
                </a:cxn>
                <a:cxn ang="0">
                  <a:pos x="242" y="54"/>
                </a:cxn>
                <a:cxn ang="0">
                  <a:pos x="212" y="41"/>
                </a:cxn>
                <a:cxn ang="0">
                  <a:pos x="168" y="24"/>
                </a:cxn>
                <a:cxn ang="0">
                  <a:pos x="141" y="4"/>
                </a:cxn>
                <a:cxn ang="0">
                  <a:pos x="81" y="14"/>
                </a:cxn>
                <a:cxn ang="0">
                  <a:pos x="47" y="27"/>
                </a:cxn>
                <a:cxn ang="0">
                  <a:pos x="44" y="44"/>
                </a:cxn>
                <a:cxn ang="0">
                  <a:pos x="47" y="61"/>
                </a:cxn>
                <a:cxn ang="0">
                  <a:pos x="54" y="78"/>
                </a:cxn>
                <a:cxn ang="0">
                  <a:pos x="54" y="91"/>
                </a:cxn>
                <a:cxn ang="0">
                  <a:pos x="54" y="101"/>
                </a:cxn>
                <a:cxn ang="0">
                  <a:pos x="67" y="118"/>
                </a:cxn>
                <a:cxn ang="0">
                  <a:pos x="91" y="132"/>
                </a:cxn>
                <a:cxn ang="0">
                  <a:pos x="124" y="138"/>
                </a:cxn>
                <a:cxn ang="0">
                  <a:pos x="161" y="172"/>
                </a:cxn>
                <a:cxn ang="0">
                  <a:pos x="131" y="236"/>
                </a:cxn>
                <a:cxn ang="0">
                  <a:pos x="101" y="289"/>
                </a:cxn>
                <a:cxn ang="0">
                  <a:pos x="54" y="296"/>
                </a:cxn>
                <a:cxn ang="0">
                  <a:pos x="64" y="330"/>
                </a:cxn>
                <a:cxn ang="0">
                  <a:pos x="64" y="357"/>
                </a:cxn>
                <a:cxn ang="0">
                  <a:pos x="37" y="380"/>
                </a:cxn>
                <a:cxn ang="0">
                  <a:pos x="37" y="410"/>
                </a:cxn>
                <a:cxn ang="0">
                  <a:pos x="0" y="468"/>
                </a:cxn>
                <a:cxn ang="0">
                  <a:pos x="44" y="525"/>
                </a:cxn>
                <a:cxn ang="0">
                  <a:pos x="77" y="585"/>
                </a:cxn>
                <a:cxn ang="0">
                  <a:pos x="114" y="565"/>
                </a:cxn>
                <a:cxn ang="0">
                  <a:pos x="202" y="572"/>
                </a:cxn>
                <a:cxn ang="0">
                  <a:pos x="245" y="592"/>
                </a:cxn>
                <a:cxn ang="0">
                  <a:pos x="282" y="599"/>
                </a:cxn>
                <a:cxn ang="0">
                  <a:pos x="319" y="565"/>
                </a:cxn>
                <a:cxn ang="0">
                  <a:pos x="370" y="555"/>
                </a:cxn>
                <a:cxn ang="0">
                  <a:pos x="393" y="521"/>
                </a:cxn>
                <a:cxn ang="0">
                  <a:pos x="450" y="484"/>
                </a:cxn>
                <a:cxn ang="0">
                  <a:pos x="434" y="424"/>
                </a:cxn>
                <a:cxn ang="0">
                  <a:pos x="501" y="367"/>
                </a:cxn>
                <a:cxn ang="0">
                  <a:pos x="528" y="337"/>
                </a:cxn>
                <a:cxn ang="0">
                  <a:pos x="602" y="326"/>
                </a:cxn>
                <a:cxn ang="0">
                  <a:pos x="672" y="276"/>
                </a:cxn>
                <a:cxn ang="0">
                  <a:pos x="652" y="263"/>
                </a:cxn>
                <a:cxn ang="0">
                  <a:pos x="608" y="269"/>
                </a:cxn>
                <a:cxn ang="0">
                  <a:pos x="582" y="259"/>
                </a:cxn>
                <a:cxn ang="0">
                  <a:pos x="514" y="505"/>
                </a:cxn>
                <a:cxn ang="0">
                  <a:pos x="528" y="488"/>
                </a:cxn>
                <a:cxn ang="0">
                  <a:pos x="582" y="468"/>
                </a:cxn>
                <a:cxn ang="0">
                  <a:pos x="622" y="481"/>
                </a:cxn>
                <a:cxn ang="0">
                  <a:pos x="639" y="468"/>
                </a:cxn>
                <a:cxn ang="0">
                  <a:pos x="615" y="444"/>
                </a:cxn>
                <a:cxn ang="0">
                  <a:pos x="682" y="464"/>
                </a:cxn>
              </a:cxnLst>
              <a:rect l="0" t="0" r="r" b="b"/>
              <a:pathLst>
                <a:path w="686" h="599">
                  <a:moveTo>
                    <a:pt x="582" y="259"/>
                  </a:moveTo>
                  <a:lnTo>
                    <a:pt x="582" y="259"/>
                  </a:lnTo>
                  <a:lnTo>
                    <a:pt x="571" y="263"/>
                  </a:lnTo>
                  <a:lnTo>
                    <a:pt x="568" y="266"/>
                  </a:lnTo>
                  <a:lnTo>
                    <a:pt x="565" y="266"/>
                  </a:lnTo>
                  <a:lnTo>
                    <a:pt x="565" y="266"/>
                  </a:lnTo>
                  <a:lnTo>
                    <a:pt x="561" y="263"/>
                  </a:lnTo>
                  <a:lnTo>
                    <a:pt x="561" y="259"/>
                  </a:lnTo>
                  <a:lnTo>
                    <a:pt x="561" y="246"/>
                  </a:lnTo>
                  <a:lnTo>
                    <a:pt x="561" y="246"/>
                  </a:lnTo>
                  <a:lnTo>
                    <a:pt x="565" y="242"/>
                  </a:lnTo>
                  <a:lnTo>
                    <a:pt x="561" y="239"/>
                  </a:lnTo>
                  <a:lnTo>
                    <a:pt x="561" y="239"/>
                  </a:lnTo>
                  <a:lnTo>
                    <a:pt x="555" y="229"/>
                  </a:lnTo>
                  <a:lnTo>
                    <a:pt x="555" y="229"/>
                  </a:lnTo>
                  <a:lnTo>
                    <a:pt x="548" y="226"/>
                  </a:lnTo>
                  <a:lnTo>
                    <a:pt x="541" y="226"/>
                  </a:lnTo>
                  <a:lnTo>
                    <a:pt x="541" y="226"/>
                  </a:lnTo>
                  <a:lnTo>
                    <a:pt x="541" y="226"/>
                  </a:lnTo>
                  <a:lnTo>
                    <a:pt x="541" y="229"/>
                  </a:lnTo>
                  <a:lnTo>
                    <a:pt x="541" y="232"/>
                  </a:lnTo>
                  <a:lnTo>
                    <a:pt x="541" y="236"/>
                  </a:lnTo>
                  <a:lnTo>
                    <a:pt x="541" y="236"/>
                  </a:lnTo>
                  <a:lnTo>
                    <a:pt x="538" y="236"/>
                  </a:lnTo>
                  <a:lnTo>
                    <a:pt x="534" y="232"/>
                  </a:lnTo>
                  <a:lnTo>
                    <a:pt x="531" y="229"/>
                  </a:lnTo>
                  <a:lnTo>
                    <a:pt x="531" y="229"/>
                  </a:lnTo>
                  <a:lnTo>
                    <a:pt x="518" y="226"/>
                  </a:lnTo>
                  <a:lnTo>
                    <a:pt x="518" y="226"/>
                  </a:lnTo>
                  <a:lnTo>
                    <a:pt x="511" y="219"/>
                  </a:lnTo>
                  <a:lnTo>
                    <a:pt x="511" y="219"/>
                  </a:lnTo>
                  <a:lnTo>
                    <a:pt x="501" y="209"/>
                  </a:lnTo>
                  <a:lnTo>
                    <a:pt x="501" y="209"/>
                  </a:lnTo>
                  <a:lnTo>
                    <a:pt x="494" y="202"/>
                  </a:lnTo>
                  <a:lnTo>
                    <a:pt x="487" y="195"/>
                  </a:lnTo>
                  <a:lnTo>
                    <a:pt x="487" y="195"/>
                  </a:lnTo>
                  <a:lnTo>
                    <a:pt x="481" y="195"/>
                  </a:lnTo>
                  <a:lnTo>
                    <a:pt x="477" y="192"/>
                  </a:lnTo>
                  <a:lnTo>
                    <a:pt x="477" y="192"/>
                  </a:lnTo>
                  <a:lnTo>
                    <a:pt x="474" y="185"/>
                  </a:lnTo>
                  <a:lnTo>
                    <a:pt x="471" y="179"/>
                  </a:lnTo>
                  <a:lnTo>
                    <a:pt x="471" y="179"/>
                  </a:lnTo>
                  <a:lnTo>
                    <a:pt x="461" y="175"/>
                  </a:lnTo>
                  <a:lnTo>
                    <a:pt x="457" y="175"/>
                  </a:lnTo>
                  <a:lnTo>
                    <a:pt x="454" y="172"/>
                  </a:lnTo>
                  <a:lnTo>
                    <a:pt x="454" y="172"/>
                  </a:lnTo>
                  <a:lnTo>
                    <a:pt x="454" y="165"/>
                  </a:lnTo>
                  <a:lnTo>
                    <a:pt x="454" y="165"/>
                  </a:lnTo>
                  <a:lnTo>
                    <a:pt x="450" y="162"/>
                  </a:lnTo>
                  <a:lnTo>
                    <a:pt x="447" y="162"/>
                  </a:lnTo>
                  <a:lnTo>
                    <a:pt x="447" y="162"/>
                  </a:lnTo>
                  <a:lnTo>
                    <a:pt x="447" y="155"/>
                  </a:lnTo>
                  <a:lnTo>
                    <a:pt x="447" y="155"/>
                  </a:lnTo>
                  <a:lnTo>
                    <a:pt x="450" y="152"/>
                  </a:lnTo>
                  <a:lnTo>
                    <a:pt x="450" y="148"/>
                  </a:lnTo>
                  <a:lnTo>
                    <a:pt x="450" y="148"/>
                  </a:lnTo>
                  <a:lnTo>
                    <a:pt x="447" y="145"/>
                  </a:lnTo>
                  <a:lnTo>
                    <a:pt x="444" y="145"/>
                  </a:lnTo>
                  <a:lnTo>
                    <a:pt x="444" y="145"/>
                  </a:lnTo>
                  <a:lnTo>
                    <a:pt x="444" y="145"/>
                  </a:lnTo>
                  <a:lnTo>
                    <a:pt x="437" y="138"/>
                  </a:lnTo>
                  <a:lnTo>
                    <a:pt x="434" y="132"/>
                  </a:lnTo>
                  <a:lnTo>
                    <a:pt x="434" y="132"/>
                  </a:lnTo>
                  <a:lnTo>
                    <a:pt x="413" y="128"/>
                  </a:lnTo>
                  <a:lnTo>
                    <a:pt x="397" y="125"/>
                  </a:lnTo>
                  <a:lnTo>
                    <a:pt x="397" y="125"/>
                  </a:lnTo>
                  <a:lnTo>
                    <a:pt x="393" y="118"/>
                  </a:lnTo>
                  <a:lnTo>
                    <a:pt x="393" y="118"/>
                  </a:lnTo>
                  <a:lnTo>
                    <a:pt x="390" y="118"/>
                  </a:lnTo>
                  <a:lnTo>
                    <a:pt x="390" y="118"/>
                  </a:lnTo>
                  <a:lnTo>
                    <a:pt x="383" y="115"/>
                  </a:lnTo>
                  <a:lnTo>
                    <a:pt x="377" y="108"/>
                  </a:lnTo>
                  <a:lnTo>
                    <a:pt x="377" y="108"/>
                  </a:lnTo>
                  <a:lnTo>
                    <a:pt x="366" y="108"/>
                  </a:lnTo>
                  <a:lnTo>
                    <a:pt x="360" y="111"/>
                  </a:lnTo>
                  <a:lnTo>
                    <a:pt x="356" y="108"/>
                  </a:lnTo>
                  <a:lnTo>
                    <a:pt x="356" y="108"/>
                  </a:lnTo>
                  <a:lnTo>
                    <a:pt x="350" y="101"/>
                  </a:lnTo>
                  <a:lnTo>
                    <a:pt x="343" y="95"/>
                  </a:lnTo>
                  <a:lnTo>
                    <a:pt x="343" y="95"/>
                  </a:lnTo>
                  <a:lnTo>
                    <a:pt x="336" y="91"/>
                  </a:lnTo>
                  <a:lnTo>
                    <a:pt x="329" y="95"/>
                  </a:lnTo>
                  <a:lnTo>
                    <a:pt x="329" y="95"/>
                  </a:lnTo>
                  <a:lnTo>
                    <a:pt x="323" y="91"/>
                  </a:lnTo>
                  <a:lnTo>
                    <a:pt x="316" y="88"/>
                  </a:lnTo>
                  <a:lnTo>
                    <a:pt x="316" y="88"/>
                  </a:lnTo>
                  <a:lnTo>
                    <a:pt x="309" y="91"/>
                  </a:lnTo>
                  <a:lnTo>
                    <a:pt x="299" y="91"/>
                  </a:lnTo>
                  <a:lnTo>
                    <a:pt x="299" y="88"/>
                  </a:lnTo>
                  <a:lnTo>
                    <a:pt x="299" y="88"/>
                  </a:lnTo>
                  <a:lnTo>
                    <a:pt x="282" y="81"/>
                  </a:lnTo>
                  <a:lnTo>
                    <a:pt x="282" y="74"/>
                  </a:lnTo>
                  <a:lnTo>
                    <a:pt x="282" y="74"/>
                  </a:lnTo>
                  <a:lnTo>
                    <a:pt x="272" y="71"/>
                  </a:lnTo>
                  <a:lnTo>
                    <a:pt x="262" y="71"/>
                  </a:lnTo>
                  <a:lnTo>
                    <a:pt x="262" y="71"/>
                  </a:lnTo>
                  <a:lnTo>
                    <a:pt x="259" y="58"/>
                  </a:lnTo>
                  <a:lnTo>
                    <a:pt x="259" y="58"/>
                  </a:lnTo>
                  <a:lnTo>
                    <a:pt x="252" y="58"/>
                  </a:lnTo>
                  <a:lnTo>
                    <a:pt x="242" y="54"/>
                  </a:lnTo>
                  <a:lnTo>
                    <a:pt x="242" y="54"/>
                  </a:lnTo>
                  <a:lnTo>
                    <a:pt x="239" y="51"/>
                  </a:lnTo>
                  <a:lnTo>
                    <a:pt x="239" y="44"/>
                  </a:lnTo>
                  <a:lnTo>
                    <a:pt x="239" y="44"/>
                  </a:lnTo>
                  <a:lnTo>
                    <a:pt x="232" y="44"/>
                  </a:lnTo>
                  <a:lnTo>
                    <a:pt x="229" y="48"/>
                  </a:lnTo>
                  <a:lnTo>
                    <a:pt x="229" y="48"/>
                  </a:lnTo>
                  <a:lnTo>
                    <a:pt x="219" y="41"/>
                  </a:lnTo>
                  <a:lnTo>
                    <a:pt x="219" y="41"/>
                  </a:lnTo>
                  <a:lnTo>
                    <a:pt x="212" y="41"/>
                  </a:lnTo>
                  <a:lnTo>
                    <a:pt x="208" y="44"/>
                  </a:lnTo>
                  <a:lnTo>
                    <a:pt x="208" y="44"/>
                  </a:lnTo>
                  <a:lnTo>
                    <a:pt x="202" y="37"/>
                  </a:lnTo>
                  <a:lnTo>
                    <a:pt x="198" y="34"/>
                  </a:lnTo>
                  <a:lnTo>
                    <a:pt x="198" y="34"/>
                  </a:lnTo>
                  <a:lnTo>
                    <a:pt x="188" y="34"/>
                  </a:lnTo>
                  <a:lnTo>
                    <a:pt x="188" y="34"/>
                  </a:lnTo>
                  <a:lnTo>
                    <a:pt x="182" y="31"/>
                  </a:lnTo>
                  <a:lnTo>
                    <a:pt x="182" y="31"/>
                  </a:lnTo>
                  <a:lnTo>
                    <a:pt x="168" y="24"/>
                  </a:lnTo>
                  <a:lnTo>
                    <a:pt x="168" y="24"/>
                  </a:lnTo>
                  <a:lnTo>
                    <a:pt x="161" y="17"/>
                  </a:lnTo>
                  <a:lnTo>
                    <a:pt x="158" y="7"/>
                  </a:lnTo>
                  <a:lnTo>
                    <a:pt x="158" y="7"/>
                  </a:lnTo>
                  <a:lnTo>
                    <a:pt x="151" y="11"/>
                  </a:lnTo>
                  <a:lnTo>
                    <a:pt x="148" y="11"/>
                  </a:lnTo>
                  <a:lnTo>
                    <a:pt x="148" y="11"/>
                  </a:lnTo>
                  <a:lnTo>
                    <a:pt x="151" y="4"/>
                  </a:lnTo>
                  <a:lnTo>
                    <a:pt x="151" y="4"/>
                  </a:lnTo>
                  <a:lnTo>
                    <a:pt x="141" y="4"/>
                  </a:lnTo>
                  <a:lnTo>
                    <a:pt x="141" y="0"/>
                  </a:lnTo>
                  <a:lnTo>
                    <a:pt x="141" y="0"/>
                  </a:lnTo>
                  <a:lnTo>
                    <a:pt x="124" y="4"/>
                  </a:lnTo>
                  <a:lnTo>
                    <a:pt x="108" y="7"/>
                  </a:lnTo>
                  <a:lnTo>
                    <a:pt x="108" y="7"/>
                  </a:lnTo>
                  <a:lnTo>
                    <a:pt x="108" y="17"/>
                  </a:lnTo>
                  <a:lnTo>
                    <a:pt x="108" y="17"/>
                  </a:lnTo>
                  <a:lnTo>
                    <a:pt x="94" y="17"/>
                  </a:lnTo>
                  <a:lnTo>
                    <a:pt x="81" y="14"/>
                  </a:lnTo>
                  <a:lnTo>
                    <a:pt x="81" y="14"/>
                  </a:lnTo>
                  <a:lnTo>
                    <a:pt x="77" y="11"/>
                  </a:lnTo>
                  <a:lnTo>
                    <a:pt x="74" y="11"/>
                  </a:lnTo>
                  <a:lnTo>
                    <a:pt x="71" y="11"/>
                  </a:lnTo>
                  <a:lnTo>
                    <a:pt x="71" y="11"/>
                  </a:lnTo>
                  <a:lnTo>
                    <a:pt x="71" y="14"/>
                  </a:lnTo>
                  <a:lnTo>
                    <a:pt x="71" y="17"/>
                  </a:lnTo>
                  <a:lnTo>
                    <a:pt x="71" y="17"/>
                  </a:lnTo>
                  <a:lnTo>
                    <a:pt x="54" y="14"/>
                  </a:lnTo>
                  <a:lnTo>
                    <a:pt x="54" y="14"/>
                  </a:lnTo>
                  <a:lnTo>
                    <a:pt x="47" y="27"/>
                  </a:lnTo>
                  <a:lnTo>
                    <a:pt x="47" y="31"/>
                  </a:lnTo>
                  <a:lnTo>
                    <a:pt x="47" y="34"/>
                  </a:lnTo>
                  <a:lnTo>
                    <a:pt x="51" y="34"/>
                  </a:lnTo>
                  <a:lnTo>
                    <a:pt x="51" y="34"/>
                  </a:lnTo>
                  <a:lnTo>
                    <a:pt x="51" y="41"/>
                  </a:lnTo>
                  <a:lnTo>
                    <a:pt x="47" y="41"/>
                  </a:lnTo>
                  <a:lnTo>
                    <a:pt x="47" y="41"/>
                  </a:lnTo>
                  <a:lnTo>
                    <a:pt x="47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54" y="48"/>
                  </a:lnTo>
                  <a:lnTo>
                    <a:pt x="54" y="48"/>
                  </a:lnTo>
                  <a:lnTo>
                    <a:pt x="51" y="51"/>
                  </a:lnTo>
                  <a:lnTo>
                    <a:pt x="51" y="58"/>
                  </a:lnTo>
                  <a:lnTo>
                    <a:pt x="47" y="58"/>
                  </a:lnTo>
                  <a:lnTo>
                    <a:pt x="47" y="58"/>
                  </a:lnTo>
                  <a:lnTo>
                    <a:pt x="44" y="61"/>
                  </a:lnTo>
                  <a:lnTo>
                    <a:pt x="44" y="61"/>
                  </a:lnTo>
                  <a:lnTo>
                    <a:pt x="47" y="61"/>
                  </a:lnTo>
                  <a:lnTo>
                    <a:pt x="47" y="61"/>
                  </a:lnTo>
                  <a:lnTo>
                    <a:pt x="47" y="64"/>
                  </a:lnTo>
                  <a:lnTo>
                    <a:pt x="51" y="64"/>
                  </a:lnTo>
                  <a:lnTo>
                    <a:pt x="51" y="64"/>
                  </a:lnTo>
                  <a:lnTo>
                    <a:pt x="54" y="61"/>
                  </a:lnTo>
                  <a:lnTo>
                    <a:pt x="54" y="61"/>
                  </a:lnTo>
                  <a:lnTo>
                    <a:pt x="64" y="61"/>
                  </a:lnTo>
                  <a:lnTo>
                    <a:pt x="64" y="61"/>
                  </a:lnTo>
                  <a:lnTo>
                    <a:pt x="54" y="74"/>
                  </a:lnTo>
                  <a:lnTo>
                    <a:pt x="54" y="74"/>
                  </a:lnTo>
                  <a:lnTo>
                    <a:pt x="54" y="78"/>
                  </a:lnTo>
                  <a:lnTo>
                    <a:pt x="54" y="78"/>
                  </a:lnTo>
                  <a:lnTo>
                    <a:pt x="57" y="81"/>
                  </a:lnTo>
                  <a:lnTo>
                    <a:pt x="57" y="81"/>
                  </a:lnTo>
                  <a:lnTo>
                    <a:pt x="51" y="84"/>
                  </a:lnTo>
                  <a:lnTo>
                    <a:pt x="51" y="84"/>
                  </a:lnTo>
                  <a:lnTo>
                    <a:pt x="51" y="88"/>
                  </a:lnTo>
                  <a:lnTo>
                    <a:pt x="51" y="88"/>
                  </a:lnTo>
                  <a:lnTo>
                    <a:pt x="54" y="88"/>
                  </a:lnTo>
                  <a:lnTo>
                    <a:pt x="54" y="91"/>
                  </a:lnTo>
                  <a:lnTo>
                    <a:pt x="54" y="91"/>
                  </a:lnTo>
                  <a:lnTo>
                    <a:pt x="47" y="95"/>
                  </a:lnTo>
                  <a:lnTo>
                    <a:pt x="44" y="95"/>
                  </a:lnTo>
                  <a:lnTo>
                    <a:pt x="40" y="95"/>
                  </a:lnTo>
                  <a:lnTo>
                    <a:pt x="37" y="98"/>
                  </a:lnTo>
                  <a:lnTo>
                    <a:pt x="37" y="108"/>
                  </a:lnTo>
                  <a:lnTo>
                    <a:pt x="37" y="108"/>
                  </a:lnTo>
                  <a:lnTo>
                    <a:pt x="40" y="108"/>
                  </a:lnTo>
                  <a:lnTo>
                    <a:pt x="47" y="105"/>
                  </a:lnTo>
                  <a:lnTo>
                    <a:pt x="47" y="105"/>
                  </a:lnTo>
                  <a:lnTo>
                    <a:pt x="54" y="101"/>
                  </a:lnTo>
                  <a:lnTo>
                    <a:pt x="61" y="101"/>
                  </a:lnTo>
                  <a:lnTo>
                    <a:pt x="71" y="101"/>
                  </a:lnTo>
                  <a:lnTo>
                    <a:pt x="71" y="101"/>
                  </a:lnTo>
                  <a:lnTo>
                    <a:pt x="74" y="105"/>
                  </a:lnTo>
                  <a:lnTo>
                    <a:pt x="74" y="108"/>
                  </a:lnTo>
                  <a:lnTo>
                    <a:pt x="74" y="108"/>
                  </a:lnTo>
                  <a:lnTo>
                    <a:pt x="71" y="111"/>
                  </a:lnTo>
                  <a:lnTo>
                    <a:pt x="71" y="115"/>
                  </a:lnTo>
                  <a:lnTo>
                    <a:pt x="67" y="118"/>
                  </a:lnTo>
                  <a:lnTo>
                    <a:pt x="67" y="118"/>
                  </a:lnTo>
                  <a:lnTo>
                    <a:pt x="71" y="121"/>
                  </a:lnTo>
                  <a:lnTo>
                    <a:pt x="74" y="121"/>
                  </a:lnTo>
                  <a:lnTo>
                    <a:pt x="81" y="125"/>
                  </a:lnTo>
                  <a:lnTo>
                    <a:pt x="81" y="125"/>
                  </a:lnTo>
                  <a:lnTo>
                    <a:pt x="84" y="125"/>
                  </a:lnTo>
                  <a:lnTo>
                    <a:pt x="84" y="125"/>
                  </a:lnTo>
                  <a:lnTo>
                    <a:pt x="87" y="125"/>
                  </a:lnTo>
                  <a:lnTo>
                    <a:pt x="87" y="128"/>
                  </a:lnTo>
                  <a:lnTo>
                    <a:pt x="91" y="132"/>
                  </a:lnTo>
                  <a:lnTo>
                    <a:pt x="91" y="132"/>
                  </a:lnTo>
                  <a:lnTo>
                    <a:pt x="94" y="132"/>
                  </a:lnTo>
                  <a:lnTo>
                    <a:pt x="98" y="132"/>
                  </a:lnTo>
                  <a:lnTo>
                    <a:pt x="98" y="132"/>
                  </a:lnTo>
                  <a:lnTo>
                    <a:pt x="101" y="135"/>
                  </a:lnTo>
                  <a:lnTo>
                    <a:pt x="101" y="138"/>
                  </a:lnTo>
                  <a:lnTo>
                    <a:pt x="111" y="142"/>
                  </a:lnTo>
                  <a:lnTo>
                    <a:pt x="111" y="142"/>
                  </a:lnTo>
                  <a:lnTo>
                    <a:pt x="118" y="142"/>
                  </a:lnTo>
                  <a:lnTo>
                    <a:pt x="121" y="142"/>
                  </a:lnTo>
                  <a:lnTo>
                    <a:pt x="124" y="138"/>
                  </a:lnTo>
                  <a:lnTo>
                    <a:pt x="124" y="138"/>
                  </a:lnTo>
                  <a:lnTo>
                    <a:pt x="128" y="138"/>
                  </a:lnTo>
                  <a:lnTo>
                    <a:pt x="135" y="138"/>
                  </a:lnTo>
                  <a:lnTo>
                    <a:pt x="138" y="142"/>
                  </a:lnTo>
                  <a:lnTo>
                    <a:pt x="148" y="145"/>
                  </a:lnTo>
                  <a:lnTo>
                    <a:pt x="151" y="148"/>
                  </a:lnTo>
                  <a:lnTo>
                    <a:pt x="161" y="155"/>
                  </a:lnTo>
                  <a:lnTo>
                    <a:pt x="165" y="158"/>
                  </a:lnTo>
                  <a:lnTo>
                    <a:pt x="161" y="165"/>
                  </a:lnTo>
                  <a:lnTo>
                    <a:pt x="161" y="172"/>
                  </a:lnTo>
                  <a:lnTo>
                    <a:pt x="158" y="182"/>
                  </a:lnTo>
                  <a:lnTo>
                    <a:pt x="168" y="185"/>
                  </a:lnTo>
                  <a:lnTo>
                    <a:pt x="175" y="195"/>
                  </a:lnTo>
                  <a:lnTo>
                    <a:pt x="178" y="202"/>
                  </a:lnTo>
                  <a:lnTo>
                    <a:pt x="175" y="205"/>
                  </a:lnTo>
                  <a:lnTo>
                    <a:pt x="165" y="205"/>
                  </a:lnTo>
                  <a:lnTo>
                    <a:pt x="151" y="216"/>
                  </a:lnTo>
                  <a:lnTo>
                    <a:pt x="141" y="229"/>
                  </a:lnTo>
                  <a:lnTo>
                    <a:pt x="135" y="232"/>
                  </a:lnTo>
                  <a:lnTo>
                    <a:pt x="131" y="236"/>
                  </a:lnTo>
                  <a:lnTo>
                    <a:pt x="128" y="236"/>
                  </a:lnTo>
                  <a:lnTo>
                    <a:pt x="124" y="242"/>
                  </a:lnTo>
                  <a:lnTo>
                    <a:pt x="118" y="249"/>
                  </a:lnTo>
                  <a:lnTo>
                    <a:pt x="111" y="246"/>
                  </a:lnTo>
                  <a:lnTo>
                    <a:pt x="104" y="242"/>
                  </a:lnTo>
                  <a:lnTo>
                    <a:pt x="104" y="253"/>
                  </a:lnTo>
                  <a:lnTo>
                    <a:pt x="104" y="263"/>
                  </a:lnTo>
                  <a:lnTo>
                    <a:pt x="108" y="273"/>
                  </a:lnTo>
                  <a:lnTo>
                    <a:pt x="104" y="279"/>
                  </a:lnTo>
                  <a:lnTo>
                    <a:pt x="101" y="289"/>
                  </a:lnTo>
                  <a:lnTo>
                    <a:pt x="98" y="303"/>
                  </a:lnTo>
                  <a:lnTo>
                    <a:pt x="91" y="306"/>
                  </a:lnTo>
                  <a:lnTo>
                    <a:pt x="81" y="306"/>
                  </a:lnTo>
                  <a:lnTo>
                    <a:pt x="74" y="306"/>
                  </a:lnTo>
                  <a:lnTo>
                    <a:pt x="71" y="303"/>
                  </a:lnTo>
                  <a:lnTo>
                    <a:pt x="67" y="300"/>
                  </a:lnTo>
                  <a:lnTo>
                    <a:pt x="57" y="300"/>
                  </a:lnTo>
                  <a:lnTo>
                    <a:pt x="54" y="296"/>
                  </a:lnTo>
                  <a:lnTo>
                    <a:pt x="54" y="296"/>
                  </a:lnTo>
                  <a:lnTo>
                    <a:pt x="54" y="296"/>
                  </a:lnTo>
                  <a:lnTo>
                    <a:pt x="51" y="300"/>
                  </a:lnTo>
                  <a:lnTo>
                    <a:pt x="54" y="300"/>
                  </a:lnTo>
                  <a:lnTo>
                    <a:pt x="57" y="303"/>
                  </a:lnTo>
                  <a:lnTo>
                    <a:pt x="57" y="303"/>
                  </a:lnTo>
                  <a:lnTo>
                    <a:pt x="61" y="310"/>
                  </a:lnTo>
                  <a:lnTo>
                    <a:pt x="61" y="316"/>
                  </a:lnTo>
                  <a:lnTo>
                    <a:pt x="61" y="316"/>
                  </a:lnTo>
                  <a:lnTo>
                    <a:pt x="61" y="323"/>
                  </a:lnTo>
                  <a:lnTo>
                    <a:pt x="64" y="326"/>
                  </a:lnTo>
                  <a:lnTo>
                    <a:pt x="64" y="330"/>
                  </a:lnTo>
                  <a:lnTo>
                    <a:pt x="64" y="333"/>
                  </a:lnTo>
                  <a:lnTo>
                    <a:pt x="64" y="333"/>
                  </a:lnTo>
                  <a:lnTo>
                    <a:pt x="61" y="337"/>
                  </a:lnTo>
                  <a:lnTo>
                    <a:pt x="67" y="337"/>
                  </a:lnTo>
                  <a:lnTo>
                    <a:pt x="71" y="337"/>
                  </a:lnTo>
                  <a:lnTo>
                    <a:pt x="74" y="343"/>
                  </a:lnTo>
                  <a:lnTo>
                    <a:pt x="74" y="343"/>
                  </a:lnTo>
                  <a:lnTo>
                    <a:pt x="74" y="347"/>
                  </a:lnTo>
                  <a:lnTo>
                    <a:pt x="67" y="353"/>
                  </a:lnTo>
                  <a:lnTo>
                    <a:pt x="64" y="357"/>
                  </a:lnTo>
                  <a:lnTo>
                    <a:pt x="64" y="357"/>
                  </a:lnTo>
                  <a:lnTo>
                    <a:pt x="57" y="357"/>
                  </a:lnTo>
                  <a:lnTo>
                    <a:pt x="51" y="363"/>
                  </a:lnTo>
                  <a:lnTo>
                    <a:pt x="51" y="363"/>
                  </a:lnTo>
                  <a:lnTo>
                    <a:pt x="47" y="363"/>
                  </a:lnTo>
                  <a:lnTo>
                    <a:pt x="44" y="367"/>
                  </a:lnTo>
                  <a:lnTo>
                    <a:pt x="44" y="367"/>
                  </a:lnTo>
                  <a:lnTo>
                    <a:pt x="40" y="373"/>
                  </a:lnTo>
                  <a:lnTo>
                    <a:pt x="40" y="373"/>
                  </a:lnTo>
                  <a:lnTo>
                    <a:pt x="37" y="380"/>
                  </a:lnTo>
                  <a:lnTo>
                    <a:pt x="40" y="390"/>
                  </a:lnTo>
                  <a:lnTo>
                    <a:pt x="40" y="390"/>
                  </a:lnTo>
                  <a:lnTo>
                    <a:pt x="40" y="397"/>
                  </a:lnTo>
                  <a:lnTo>
                    <a:pt x="44" y="400"/>
                  </a:lnTo>
                  <a:lnTo>
                    <a:pt x="51" y="400"/>
                  </a:lnTo>
                  <a:lnTo>
                    <a:pt x="51" y="400"/>
                  </a:lnTo>
                  <a:lnTo>
                    <a:pt x="54" y="400"/>
                  </a:lnTo>
                  <a:lnTo>
                    <a:pt x="54" y="404"/>
                  </a:lnTo>
                  <a:lnTo>
                    <a:pt x="47" y="410"/>
                  </a:lnTo>
                  <a:lnTo>
                    <a:pt x="37" y="410"/>
                  </a:lnTo>
                  <a:lnTo>
                    <a:pt x="30" y="414"/>
                  </a:lnTo>
                  <a:lnTo>
                    <a:pt x="27" y="421"/>
                  </a:lnTo>
                  <a:lnTo>
                    <a:pt x="20" y="424"/>
                  </a:lnTo>
                  <a:lnTo>
                    <a:pt x="20" y="424"/>
                  </a:lnTo>
                  <a:lnTo>
                    <a:pt x="17" y="431"/>
                  </a:lnTo>
                  <a:lnTo>
                    <a:pt x="10" y="437"/>
                  </a:lnTo>
                  <a:lnTo>
                    <a:pt x="10" y="437"/>
                  </a:lnTo>
                  <a:lnTo>
                    <a:pt x="3" y="447"/>
                  </a:lnTo>
                  <a:lnTo>
                    <a:pt x="3" y="451"/>
                  </a:lnTo>
                  <a:lnTo>
                    <a:pt x="0" y="468"/>
                  </a:lnTo>
                  <a:lnTo>
                    <a:pt x="0" y="468"/>
                  </a:lnTo>
                  <a:lnTo>
                    <a:pt x="14" y="468"/>
                  </a:lnTo>
                  <a:lnTo>
                    <a:pt x="24" y="471"/>
                  </a:lnTo>
                  <a:lnTo>
                    <a:pt x="24" y="471"/>
                  </a:lnTo>
                  <a:lnTo>
                    <a:pt x="47" y="508"/>
                  </a:lnTo>
                  <a:lnTo>
                    <a:pt x="47" y="508"/>
                  </a:lnTo>
                  <a:lnTo>
                    <a:pt x="44" y="518"/>
                  </a:lnTo>
                  <a:lnTo>
                    <a:pt x="40" y="521"/>
                  </a:lnTo>
                  <a:lnTo>
                    <a:pt x="40" y="521"/>
                  </a:lnTo>
                  <a:lnTo>
                    <a:pt x="44" y="525"/>
                  </a:lnTo>
                  <a:lnTo>
                    <a:pt x="44" y="525"/>
                  </a:lnTo>
                  <a:lnTo>
                    <a:pt x="44" y="525"/>
                  </a:lnTo>
                  <a:lnTo>
                    <a:pt x="47" y="545"/>
                  </a:lnTo>
                  <a:lnTo>
                    <a:pt x="47" y="562"/>
                  </a:lnTo>
                  <a:lnTo>
                    <a:pt x="47" y="562"/>
                  </a:lnTo>
                  <a:lnTo>
                    <a:pt x="61" y="572"/>
                  </a:lnTo>
                  <a:lnTo>
                    <a:pt x="71" y="585"/>
                  </a:lnTo>
                  <a:lnTo>
                    <a:pt x="71" y="585"/>
                  </a:lnTo>
                  <a:lnTo>
                    <a:pt x="77" y="585"/>
                  </a:lnTo>
                  <a:lnTo>
                    <a:pt x="77" y="585"/>
                  </a:lnTo>
                  <a:lnTo>
                    <a:pt x="84" y="578"/>
                  </a:lnTo>
                  <a:lnTo>
                    <a:pt x="84" y="578"/>
                  </a:lnTo>
                  <a:lnTo>
                    <a:pt x="87" y="575"/>
                  </a:lnTo>
                  <a:lnTo>
                    <a:pt x="94" y="575"/>
                  </a:lnTo>
                  <a:lnTo>
                    <a:pt x="94" y="575"/>
                  </a:lnTo>
                  <a:lnTo>
                    <a:pt x="98" y="568"/>
                  </a:lnTo>
                  <a:lnTo>
                    <a:pt x="104" y="565"/>
                  </a:lnTo>
                  <a:lnTo>
                    <a:pt x="104" y="565"/>
                  </a:lnTo>
                  <a:lnTo>
                    <a:pt x="111" y="565"/>
                  </a:lnTo>
                  <a:lnTo>
                    <a:pt x="114" y="565"/>
                  </a:lnTo>
                  <a:lnTo>
                    <a:pt x="128" y="568"/>
                  </a:lnTo>
                  <a:lnTo>
                    <a:pt x="128" y="568"/>
                  </a:lnTo>
                  <a:lnTo>
                    <a:pt x="138" y="568"/>
                  </a:lnTo>
                  <a:lnTo>
                    <a:pt x="141" y="565"/>
                  </a:lnTo>
                  <a:lnTo>
                    <a:pt x="148" y="562"/>
                  </a:lnTo>
                  <a:lnTo>
                    <a:pt x="155" y="558"/>
                  </a:lnTo>
                  <a:lnTo>
                    <a:pt x="155" y="558"/>
                  </a:lnTo>
                  <a:lnTo>
                    <a:pt x="192" y="568"/>
                  </a:lnTo>
                  <a:lnTo>
                    <a:pt x="192" y="568"/>
                  </a:lnTo>
                  <a:lnTo>
                    <a:pt x="202" y="572"/>
                  </a:lnTo>
                  <a:lnTo>
                    <a:pt x="208" y="578"/>
                  </a:lnTo>
                  <a:lnTo>
                    <a:pt x="208" y="578"/>
                  </a:lnTo>
                  <a:lnTo>
                    <a:pt x="222" y="578"/>
                  </a:lnTo>
                  <a:lnTo>
                    <a:pt x="222" y="578"/>
                  </a:lnTo>
                  <a:lnTo>
                    <a:pt x="232" y="582"/>
                  </a:lnTo>
                  <a:lnTo>
                    <a:pt x="239" y="585"/>
                  </a:lnTo>
                  <a:lnTo>
                    <a:pt x="239" y="585"/>
                  </a:lnTo>
                  <a:lnTo>
                    <a:pt x="245" y="585"/>
                  </a:lnTo>
                  <a:lnTo>
                    <a:pt x="245" y="585"/>
                  </a:lnTo>
                  <a:lnTo>
                    <a:pt x="245" y="592"/>
                  </a:lnTo>
                  <a:lnTo>
                    <a:pt x="245" y="592"/>
                  </a:lnTo>
                  <a:lnTo>
                    <a:pt x="252" y="595"/>
                  </a:lnTo>
                  <a:lnTo>
                    <a:pt x="252" y="595"/>
                  </a:lnTo>
                  <a:lnTo>
                    <a:pt x="262" y="589"/>
                  </a:lnTo>
                  <a:lnTo>
                    <a:pt x="272" y="589"/>
                  </a:lnTo>
                  <a:lnTo>
                    <a:pt x="279" y="592"/>
                  </a:lnTo>
                  <a:lnTo>
                    <a:pt x="279" y="592"/>
                  </a:lnTo>
                  <a:lnTo>
                    <a:pt x="279" y="595"/>
                  </a:lnTo>
                  <a:lnTo>
                    <a:pt x="282" y="599"/>
                  </a:lnTo>
                  <a:lnTo>
                    <a:pt x="282" y="599"/>
                  </a:lnTo>
                  <a:lnTo>
                    <a:pt x="289" y="599"/>
                  </a:lnTo>
                  <a:lnTo>
                    <a:pt x="289" y="599"/>
                  </a:lnTo>
                  <a:lnTo>
                    <a:pt x="299" y="589"/>
                  </a:lnTo>
                  <a:lnTo>
                    <a:pt x="306" y="582"/>
                  </a:lnTo>
                  <a:lnTo>
                    <a:pt x="306" y="582"/>
                  </a:lnTo>
                  <a:lnTo>
                    <a:pt x="309" y="575"/>
                  </a:lnTo>
                  <a:lnTo>
                    <a:pt x="309" y="568"/>
                  </a:lnTo>
                  <a:lnTo>
                    <a:pt x="309" y="568"/>
                  </a:lnTo>
                  <a:lnTo>
                    <a:pt x="316" y="565"/>
                  </a:lnTo>
                  <a:lnTo>
                    <a:pt x="319" y="565"/>
                  </a:lnTo>
                  <a:lnTo>
                    <a:pt x="333" y="562"/>
                  </a:lnTo>
                  <a:lnTo>
                    <a:pt x="333" y="558"/>
                  </a:lnTo>
                  <a:lnTo>
                    <a:pt x="333" y="558"/>
                  </a:lnTo>
                  <a:lnTo>
                    <a:pt x="340" y="558"/>
                  </a:lnTo>
                  <a:lnTo>
                    <a:pt x="340" y="558"/>
                  </a:lnTo>
                  <a:lnTo>
                    <a:pt x="356" y="558"/>
                  </a:lnTo>
                  <a:lnTo>
                    <a:pt x="377" y="562"/>
                  </a:lnTo>
                  <a:lnTo>
                    <a:pt x="377" y="552"/>
                  </a:lnTo>
                  <a:lnTo>
                    <a:pt x="377" y="552"/>
                  </a:lnTo>
                  <a:lnTo>
                    <a:pt x="370" y="555"/>
                  </a:lnTo>
                  <a:lnTo>
                    <a:pt x="370" y="555"/>
                  </a:lnTo>
                  <a:lnTo>
                    <a:pt x="377" y="545"/>
                  </a:lnTo>
                  <a:lnTo>
                    <a:pt x="377" y="545"/>
                  </a:lnTo>
                  <a:lnTo>
                    <a:pt x="377" y="538"/>
                  </a:lnTo>
                  <a:lnTo>
                    <a:pt x="377" y="538"/>
                  </a:lnTo>
                  <a:lnTo>
                    <a:pt x="383" y="538"/>
                  </a:lnTo>
                  <a:lnTo>
                    <a:pt x="383" y="538"/>
                  </a:lnTo>
                  <a:lnTo>
                    <a:pt x="390" y="521"/>
                  </a:lnTo>
                  <a:lnTo>
                    <a:pt x="390" y="521"/>
                  </a:lnTo>
                  <a:lnTo>
                    <a:pt x="393" y="521"/>
                  </a:lnTo>
                  <a:lnTo>
                    <a:pt x="397" y="521"/>
                  </a:lnTo>
                  <a:lnTo>
                    <a:pt x="397" y="521"/>
                  </a:lnTo>
                  <a:lnTo>
                    <a:pt x="407" y="508"/>
                  </a:lnTo>
                  <a:lnTo>
                    <a:pt x="407" y="508"/>
                  </a:lnTo>
                  <a:lnTo>
                    <a:pt x="417" y="505"/>
                  </a:lnTo>
                  <a:lnTo>
                    <a:pt x="427" y="501"/>
                  </a:lnTo>
                  <a:lnTo>
                    <a:pt x="440" y="498"/>
                  </a:lnTo>
                  <a:lnTo>
                    <a:pt x="450" y="494"/>
                  </a:lnTo>
                  <a:lnTo>
                    <a:pt x="450" y="494"/>
                  </a:lnTo>
                  <a:lnTo>
                    <a:pt x="450" y="484"/>
                  </a:lnTo>
                  <a:lnTo>
                    <a:pt x="450" y="484"/>
                  </a:lnTo>
                  <a:lnTo>
                    <a:pt x="444" y="484"/>
                  </a:lnTo>
                  <a:lnTo>
                    <a:pt x="444" y="484"/>
                  </a:lnTo>
                  <a:lnTo>
                    <a:pt x="440" y="478"/>
                  </a:lnTo>
                  <a:lnTo>
                    <a:pt x="434" y="471"/>
                  </a:lnTo>
                  <a:lnTo>
                    <a:pt x="434" y="471"/>
                  </a:lnTo>
                  <a:lnTo>
                    <a:pt x="430" y="451"/>
                  </a:lnTo>
                  <a:lnTo>
                    <a:pt x="430" y="437"/>
                  </a:lnTo>
                  <a:lnTo>
                    <a:pt x="430" y="427"/>
                  </a:lnTo>
                  <a:lnTo>
                    <a:pt x="434" y="424"/>
                  </a:lnTo>
                  <a:lnTo>
                    <a:pt x="434" y="424"/>
                  </a:lnTo>
                  <a:lnTo>
                    <a:pt x="444" y="414"/>
                  </a:lnTo>
                  <a:lnTo>
                    <a:pt x="454" y="404"/>
                  </a:lnTo>
                  <a:lnTo>
                    <a:pt x="454" y="404"/>
                  </a:lnTo>
                  <a:lnTo>
                    <a:pt x="471" y="394"/>
                  </a:lnTo>
                  <a:lnTo>
                    <a:pt x="484" y="384"/>
                  </a:lnTo>
                  <a:lnTo>
                    <a:pt x="484" y="384"/>
                  </a:lnTo>
                  <a:lnTo>
                    <a:pt x="494" y="373"/>
                  </a:lnTo>
                  <a:lnTo>
                    <a:pt x="501" y="367"/>
                  </a:lnTo>
                  <a:lnTo>
                    <a:pt x="501" y="367"/>
                  </a:lnTo>
                  <a:lnTo>
                    <a:pt x="504" y="367"/>
                  </a:lnTo>
                  <a:lnTo>
                    <a:pt x="508" y="367"/>
                  </a:lnTo>
                  <a:lnTo>
                    <a:pt x="508" y="367"/>
                  </a:lnTo>
                  <a:lnTo>
                    <a:pt x="518" y="363"/>
                  </a:lnTo>
                  <a:lnTo>
                    <a:pt x="518" y="363"/>
                  </a:lnTo>
                  <a:lnTo>
                    <a:pt x="518" y="350"/>
                  </a:lnTo>
                  <a:lnTo>
                    <a:pt x="518" y="347"/>
                  </a:lnTo>
                  <a:lnTo>
                    <a:pt x="524" y="343"/>
                  </a:lnTo>
                  <a:lnTo>
                    <a:pt x="524" y="343"/>
                  </a:lnTo>
                  <a:lnTo>
                    <a:pt x="528" y="337"/>
                  </a:lnTo>
                  <a:lnTo>
                    <a:pt x="528" y="337"/>
                  </a:lnTo>
                  <a:lnTo>
                    <a:pt x="538" y="337"/>
                  </a:lnTo>
                  <a:lnTo>
                    <a:pt x="551" y="337"/>
                  </a:lnTo>
                  <a:lnTo>
                    <a:pt x="568" y="337"/>
                  </a:lnTo>
                  <a:lnTo>
                    <a:pt x="585" y="337"/>
                  </a:lnTo>
                  <a:lnTo>
                    <a:pt x="585" y="337"/>
                  </a:lnTo>
                  <a:lnTo>
                    <a:pt x="598" y="333"/>
                  </a:lnTo>
                  <a:lnTo>
                    <a:pt x="598" y="333"/>
                  </a:lnTo>
                  <a:lnTo>
                    <a:pt x="602" y="326"/>
                  </a:lnTo>
                  <a:lnTo>
                    <a:pt x="602" y="326"/>
                  </a:lnTo>
                  <a:lnTo>
                    <a:pt x="618" y="323"/>
                  </a:lnTo>
                  <a:lnTo>
                    <a:pt x="618" y="323"/>
                  </a:lnTo>
                  <a:lnTo>
                    <a:pt x="642" y="313"/>
                  </a:lnTo>
                  <a:lnTo>
                    <a:pt x="655" y="310"/>
                  </a:lnTo>
                  <a:lnTo>
                    <a:pt x="662" y="303"/>
                  </a:lnTo>
                  <a:lnTo>
                    <a:pt x="662" y="303"/>
                  </a:lnTo>
                  <a:lnTo>
                    <a:pt x="666" y="289"/>
                  </a:lnTo>
                  <a:lnTo>
                    <a:pt x="662" y="276"/>
                  </a:lnTo>
                  <a:lnTo>
                    <a:pt x="662" y="276"/>
                  </a:lnTo>
                  <a:lnTo>
                    <a:pt x="672" y="276"/>
                  </a:lnTo>
                  <a:lnTo>
                    <a:pt x="672" y="276"/>
                  </a:lnTo>
                  <a:lnTo>
                    <a:pt x="672" y="273"/>
                  </a:lnTo>
                  <a:lnTo>
                    <a:pt x="676" y="269"/>
                  </a:lnTo>
                  <a:lnTo>
                    <a:pt x="676" y="269"/>
                  </a:lnTo>
                  <a:lnTo>
                    <a:pt x="669" y="269"/>
                  </a:lnTo>
                  <a:lnTo>
                    <a:pt x="666" y="269"/>
                  </a:lnTo>
                  <a:lnTo>
                    <a:pt x="666" y="269"/>
                  </a:lnTo>
                  <a:lnTo>
                    <a:pt x="666" y="263"/>
                  </a:lnTo>
                  <a:lnTo>
                    <a:pt x="666" y="263"/>
                  </a:lnTo>
                  <a:lnTo>
                    <a:pt x="652" y="263"/>
                  </a:lnTo>
                  <a:lnTo>
                    <a:pt x="652" y="263"/>
                  </a:lnTo>
                  <a:lnTo>
                    <a:pt x="639" y="269"/>
                  </a:lnTo>
                  <a:lnTo>
                    <a:pt x="639" y="269"/>
                  </a:lnTo>
                  <a:lnTo>
                    <a:pt x="625" y="273"/>
                  </a:lnTo>
                  <a:lnTo>
                    <a:pt x="625" y="273"/>
                  </a:lnTo>
                  <a:lnTo>
                    <a:pt x="618" y="273"/>
                  </a:lnTo>
                  <a:lnTo>
                    <a:pt x="615" y="273"/>
                  </a:lnTo>
                  <a:lnTo>
                    <a:pt x="612" y="269"/>
                  </a:lnTo>
                  <a:lnTo>
                    <a:pt x="612" y="269"/>
                  </a:lnTo>
                  <a:lnTo>
                    <a:pt x="608" y="269"/>
                  </a:lnTo>
                  <a:lnTo>
                    <a:pt x="605" y="269"/>
                  </a:lnTo>
                  <a:lnTo>
                    <a:pt x="598" y="269"/>
                  </a:lnTo>
                  <a:lnTo>
                    <a:pt x="598" y="269"/>
                  </a:lnTo>
                  <a:lnTo>
                    <a:pt x="595" y="266"/>
                  </a:lnTo>
                  <a:lnTo>
                    <a:pt x="595" y="259"/>
                  </a:lnTo>
                  <a:lnTo>
                    <a:pt x="595" y="259"/>
                  </a:lnTo>
                  <a:lnTo>
                    <a:pt x="592" y="259"/>
                  </a:lnTo>
                  <a:lnTo>
                    <a:pt x="588" y="263"/>
                  </a:lnTo>
                  <a:lnTo>
                    <a:pt x="588" y="263"/>
                  </a:lnTo>
                  <a:lnTo>
                    <a:pt x="582" y="259"/>
                  </a:lnTo>
                  <a:lnTo>
                    <a:pt x="582" y="259"/>
                  </a:lnTo>
                  <a:close/>
                  <a:moveTo>
                    <a:pt x="514" y="505"/>
                  </a:moveTo>
                  <a:lnTo>
                    <a:pt x="514" y="505"/>
                  </a:lnTo>
                  <a:lnTo>
                    <a:pt x="511" y="515"/>
                  </a:lnTo>
                  <a:lnTo>
                    <a:pt x="511" y="515"/>
                  </a:lnTo>
                  <a:lnTo>
                    <a:pt x="521" y="515"/>
                  </a:lnTo>
                  <a:lnTo>
                    <a:pt x="521" y="515"/>
                  </a:lnTo>
                  <a:lnTo>
                    <a:pt x="518" y="508"/>
                  </a:lnTo>
                  <a:lnTo>
                    <a:pt x="518" y="508"/>
                  </a:lnTo>
                  <a:lnTo>
                    <a:pt x="514" y="505"/>
                  </a:lnTo>
                  <a:lnTo>
                    <a:pt x="514" y="505"/>
                  </a:lnTo>
                  <a:close/>
                  <a:moveTo>
                    <a:pt x="521" y="481"/>
                  </a:moveTo>
                  <a:lnTo>
                    <a:pt x="521" y="481"/>
                  </a:lnTo>
                  <a:lnTo>
                    <a:pt x="514" y="484"/>
                  </a:lnTo>
                  <a:lnTo>
                    <a:pt x="508" y="488"/>
                  </a:lnTo>
                  <a:lnTo>
                    <a:pt x="508" y="488"/>
                  </a:lnTo>
                  <a:lnTo>
                    <a:pt x="508" y="494"/>
                  </a:lnTo>
                  <a:lnTo>
                    <a:pt x="518" y="498"/>
                  </a:lnTo>
                  <a:lnTo>
                    <a:pt x="518" y="498"/>
                  </a:lnTo>
                  <a:lnTo>
                    <a:pt x="528" y="488"/>
                  </a:lnTo>
                  <a:lnTo>
                    <a:pt x="528" y="481"/>
                  </a:lnTo>
                  <a:lnTo>
                    <a:pt x="524" y="481"/>
                  </a:lnTo>
                  <a:lnTo>
                    <a:pt x="521" y="481"/>
                  </a:lnTo>
                  <a:lnTo>
                    <a:pt x="521" y="481"/>
                  </a:lnTo>
                  <a:close/>
                  <a:moveTo>
                    <a:pt x="615" y="444"/>
                  </a:moveTo>
                  <a:lnTo>
                    <a:pt x="612" y="447"/>
                  </a:lnTo>
                  <a:lnTo>
                    <a:pt x="612" y="447"/>
                  </a:lnTo>
                  <a:lnTo>
                    <a:pt x="575" y="458"/>
                  </a:lnTo>
                  <a:lnTo>
                    <a:pt x="575" y="458"/>
                  </a:lnTo>
                  <a:lnTo>
                    <a:pt x="582" y="468"/>
                  </a:lnTo>
                  <a:lnTo>
                    <a:pt x="585" y="468"/>
                  </a:lnTo>
                  <a:lnTo>
                    <a:pt x="595" y="468"/>
                  </a:lnTo>
                  <a:lnTo>
                    <a:pt x="595" y="468"/>
                  </a:lnTo>
                  <a:lnTo>
                    <a:pt x="595" y="474"/>
                  </a:lnTo>
                  <a:lnTo>
                    <a:pt x="595" y="481"/>
                  </a:lnTo>
                  <a:lnTo>
                    <a:pt x="595" y="481"/>
                  </a:lnTo>
                  <a:lnTo>
                    <a:pt x="605" y="484"/>
                  </a:lnTo>
                  <a:lnTo>
                    <a:pt x="618" y="488"/>
                  </a:lnTo>
                  <a:lnTo>
                    <a:pt x="618" y="488"/>
                  </a:lnTo>
                  <a:lnTo>
                    <a:pt x="622" y="481"/>
                  </a:lnTo>
                  <a:lnTo>
                    <a:pt x="625" y="478"/>
                  </a:lnTo>
                  <a:lnTo>
                    <a:pt x="629" y="478"/>
                  </a:lnTo>
                  <a:lnTo>
                    <a:pt x="632" y="478"/>
                  </a:lnTo>
                  <a:lnTo>
                    <a:pt x="632" y="478"/>
                  </a:lnTo>
                  <a:lnTo>
                    <a:pt x="632" y="474"/>
                  </a:lnTo>
                  <a:lnTo>
                    <a:pt x="632" y="471"/>
                  </a:lnTo>
                  <a:lnTo>
                    <a:pt x="632" y="471"/>
                  </a:lnTo>
                  <a:lnTo>
                    <a:pt x="635" y="468"/>
                  </a:lnTo>
                  <a:lnTo>
                    <a:pt x="639" y="468"/>
                  </a:lnTo>
                  <a:lnTo>
                    <a:pt x="639" y="468"/>
                  </a:lnTo>
                  <a:lnTo>
                    <a:pt x="642" y="461"/>
                  </a:lnTo>
                  <a:lnTo>
                    <a:pt x="625" y="454"/>
                  </a:lnTo>
                  <a:lnTo>
                    <a:pt x="625" y="454"/>
                  </a:lnTo>
                  <a:lnTo>
                    <a:pt x="625" y="451"/>
                  </a:lnTo>
                  <a:lnTo>
                    <a:pt x="625" y="447"/>
                  </a:lnTo>
                  <a:lnTo>
                    <a:pt x="629" y="444"/>
                  </a:lnTo>
                  <a:lnTo>
                    <a:pt x="622" y="444"/>
                  </a:lnTo>
                  <a:lnTo>
                    <a:pt x="622" y="444"/>
                  </a:lnTo>
                  <a:lnTo>
                    <a:pt x="615" y="444"/>
                  </a:lnTo>
                  <a:lnTo>
                    <a:pt x="615" y="444"/>
                  </a:lnTo>
                  <a:close/>
                  <a:moveTo>
                    <a:pt x="662" y="441"/>
                  </a:moveTo>
                  <a:lnTo>
                    <a:pt x="662" y="441"/>
                  </a:lnTo>
                  <a:lnTo>
                    <a:pt x="662" y="454"/>
                  </a:lnTo>
                  <a:lnTo>
                    <a:pt x="662" y="454"/>
                  </a:lnTo>
                  <a:lnTo>
                    <a:pt x="669" y="454"/>
                  </a:lnTo>
                  <a:lnTo>
                    <a:pt x="669" y="454"/>
                  </a:lnTo>
                  <a:lnTo>
                    <a:pt x="672" y="458"/>
                  </a:lnTo>
                  <a:lnTo>
                    <a:pt x="679" y="464"/>
                  </a:lnTo>
                  <a:lnTo>
                    <a:pt x="679" y="464"/>
                  </a:lnTo>
                  <a:lnTo>
                    <a:pt x="682" y="464"/>
                  </a:lnTo>
                  <a:lnTo>
                    <a:pt x="686" y="468"/>
                  </a:lnTo>
                  <a:lnTo>
                    <a:pt x="686" y="468"/>
                  </a:lnTo>
                  <a:lnTo>
                    <a:pt x="682" y="454"/>
                  </a:lnTo>
                  <a:lnTo>
                    <a:pt x="682" y="447"/>
                  </a:lnTo>
                  <a:lnTo>
                    <a:pt x="676" y="444"/>
                  </a:lnTo>
                  <a:lnTo>
                    <a:pt x="662" y="441"/>
                  </a:lnTo>
                  <a:lnTo>
                    <a:pt x="662" y="441"/>
                  </a:lnTo>
                  <a:close/>
                </a:path>
              </a:pathLst>
            </a:custGeom>
            <a:solidFill>
              <a:srgbClr val="C0C0C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EYInterstate" pitchFamily="2" charset="0"/>
                <a:cs typeface="Arial" charset="0"/>
              </a:endParaRPr>
            </a:p>
          </p:txBody>
        </p:sp>
        <p:sp>
          <p:nvSpPr>
            <p:cNvPr id="21" name="Freeform 35"/>
            <p:cNvSpPr>
              <a:spLocks/>
            </p:cNvSpPr>
            <p:nvPr/>
          </p:nvSpPr>
          <p:spPr bwMode="auto">
            <a:xfrm>
              <a:off x="3018" y="2862"/>
              <a:ext cx="165" cy="94"/>
            </a:xfrm>
            <a:custGeom>
              <a:avLst/>
              <a:gdLst/>
              <a:ahLst/>
              <a:cxnLst>
                <a:cxn ang="0">
                  <a:pos x="17" y="91"/>
                </a:cxn>
                <a:cxn ang="0">
                  <a:pos x="27" y="91"/>
                </a:cxn>
                <a:cxn ang="0">
                  <a:pos x="37" y="95"/>
                </a:cxn>
                <a:cxn ang="0">
                  <a:pos x="47" y="95"/>
                </a:cxn>
                <a:cxn ang="0">
                  <a:pos x="50" y="84"/>
                </a:cxn>
                <a:cxn ang="0">
                  <a:pos x="57" y="84"/>
                </a:cxn>
                <a:cxn ang="0">
                  <a:pos x="60" y="91"/>
                </a:cxn>
                <a:cxn ang="0">
                  <a:pos x="67" y="98"/>
                </a:cxn>
                <a:cxn ang="0">
                  <a:pos x="74" y="95"/>
                </a:cxn>
                <a:cxn ang="0">
                  <a:pos x="81" y="101"/>
                </a:cxn>
                <a:cxn ang="0">
                  <a:pos x="94" y="101"/>
                </a:cxn>
                <a:cxn ang="0">
                  <a:pos x="91" y="91"/>
                </a:cxn>
                <a:cxn ang="0">
                  <a:pos x="91" y="81"/>
                </a:cxn>
                <a:cxn ang="0">
                  <a:pos x="94" y="78"/>
                </a:cxn>
                <a:cxn ang="0">
                  <a:pos x="107" y="74"/>
                </a:cxn>
                <a:cxn ang="0">
                  <a:pos x="111" y="68"/>
                </a:cxn>
                <a:cxn ang="0">
                  <a:pos x="114" y="64"/>
                </a:cxn>
                <a:cxn ang="0">
                  <a:pos x="114" y="54"/>
                </a:cxn>
                <a:cxn ang="0">
                  <a:pos x="118" y="44"/>
                </a:cxn>
                <a:cxn ang="0">
                  <a:pos x="124" y="41"/>
                </a:cxn>
                <a:cxn ang="0">
                  <a:pos x="138" y="37"/>
                </a:cxn>
                <a:cxn ang="0">
                  <a:pos x="144" y="34"/>
                </a:cxn>
                <a:cxn ang="0">
                  <a:pos x="148" y="34"/>
                </a:cxn>
                <a:cxn ang="0">
                  <a:pos x="151" y="21"/>
                </a:cxn>
                <a:cxn ang="0">
                  <a:pos x="161" y="24"/>
                </a:cxn>
                <a:cxn ang="0">
                  <a:pos x="161" y="21"/>
                </a:cxn>
                <a:cxn ang="0">
                  <a:pos x="158" y="11"/>
                </a:cxn>
                <a:cxn ang="0">
                  <a:pos x="158" y="0"/>
                </a:cxn>
                <a:cxn ang="0">
                  <a:pos x="148" y="0"/>
                </a:cxn>
                <a:cxn ang="0">
                  <a:pos x="138" y="7"/>
                </a:cxn>
                <a:cxn ang="0">
                  <a:pos x="138" y="14"/>
                </a:cxn>
                <a:cxn ang="0">
                  <a:pos x="121" y="11"/>
                </a:cxn>
                <a:cxn ang="0">
                  <a:pos x="114" y="14"/>
                </a:cxn>
                <a:cxn ang="0">
                  <a:pos x="104" y="14"/>
                </a:cxn>
                <a:cxn ang="0">
                  <a:pos x="101" y="21"/>
                </a:cxn>
                <a:cxn ang="0">
                  <a:pos x="91" y="21"/>
                </a:cxn>
                <a:cxn ang="0">
                  <a:pos x="84" y="24"/>
                </a:cxn>
                <a:cxn ang="0">
                  <a:pos x="67" y="31"/>
                </a:cxn>
                <a:cxn ang="0">
                  <a:pos x="60" y="27"/>
                </a:cxn>
                <a:cxn ang="0">
                  <a:pos x="44" y="21"/>
                </a:cxn>
                <a:cxn ang="0">
                  <a:pos x="34" y="21"/>
                </a:cxn>
                <a:cxn ang="0">
                  <a:pos x="23" y="17"/>
                </a:cxn>
                <a:cxn ang="0">
                  <a:pos x="13" y="27"/>
                </a:cxn>
                <a:cxn ang="0">
                  <a:pos x="3" y="37"/>
                </a:cxn>
                <a:cxn ang="0">
                  <a:pos x="3" y="44"/>
                </a:cxn>
                <a:cxn ang="0">
                  <a:pos x="7" y="47"/>
                </a:cxn>
                <a:cxn ang="0">
                  <a:pos x="7" y="54"/>
                </a:cxn>
                <a:cxn ang="0">
                  <a:pos x="10" y="58"/>
                </a:cxn>
                <a:cxn ang="0">
                  <a:pos x="17" y="71"/>
                </a:cxn>
                <a:cxn ang="0">
                  <a:pos x="23" y="74"/>
                </a:cxn>
                <a:cxn ang="0">
                  <a:pos x="17" y="84"/>
                </a:cxn>
                <a:cxn ang="0">
                  <a:pos x="3" y="84"/>
                </a:cxn>
              </a:cxnLst>
              <a:rect l="0" t="0" r="r" b="b"/>
              <a:pathLst>
                <a:path w="165" h="101">
                  <a:moveTo>
                    <a:pt x="3" y="84"/>
                  </a:moveTo>
                  <a:lnTo>
                    <a:pt x="3" y="88"/>
                  </a:lnTo>
                  <a:lnTo>
                    <a:pt x="3" y="88"/>
                  </a:lnTo>
                  <a:lnTo>
                    <a:pt x="17" y="91"/>
                  </a:lnTo>
                  <a:lnTo>
                    <a:pt x="17" y="91"/>
                  </a:lnTo>
                  <a:lnTo>
                    <a:pt x="20" y="95"/>
                  </a:lnTo>
                  <a:lnTo>
                    <a:pt x="20" y="95"/>
                  </a:lnTo>
                  <a:lnTo>
                    <a:pt x="23" y="95"/>
                  </a:lnTo>
                  <a:lnTo>
                    <a:pt x="23" y="95"/>
                  </a:lnTo>
                  <a:lnTo>
                    <a:pt x="27" y="91"/>
                  </a:lnTo>
                  <a:lnTo>
                    <a:pt x="27" y="91"/>
                  </a:lnTo>
                  <a:lnTo>
                    <a:pt x="27" y="91"/>
                  </a:lnTo>
                  <a:lnTo>
                    <a:pt x="30" y="95"/>
                  </a:lnTo>
                  <a:lnTo>
                    <a:pt x="30" y="95"/>
                  </a:lnTo>
                  <a:lnTo>
                    <a:pt x="37" y="95"/>
                  </a:lnTo>
                  <a:lnTo>
                    <a:pt x="37" y="95"/>
                  </a:lnTo>
                  <a:lnTo>
                    <a:pt x="40" y="95"/>
                  </a:lnTo>
                  <a:lnTo>
                    <a:pt x="40" y="95"/>
                  </a:lnTo>
                  <a:lnTo>
                    <a:pt x="47" y="95"/>
                  </a:lnTo>
                  <a:lnTo>
                    <a:pt x="47" y="95"/>
                  </a:lnTo>
                  <a:lnTo>
                    <a:pt x="47" y="91"/>
                  </a:lnTo>
                  <a:lnTo>
                    <a:pt x="47" y="91"/>
                  </a:lnTo>
                  <a:lnTo>
                    <a:pt x="50" y="88"/>
                  </a:lnTo>
                  <a:lnTo>
                    <a:pt x="50" y="84"/>
                  </a:lnTo>
                  <a:lnTo>
                    <a:pt x="50" y="84"/>
                  </a:lnTo>
                  <a:lnTo>
                    <a:pt x="54" y="81"/>
                  </a:lnTo>
                  <a:lnTo>
                    <a:pt x="54" y="81"/>
                  </a:lnTo>
                  <a:lnTo>
                    <a:pt x="54" y="81"/>
                  </a:lnTo>
                  <a:lnTo>
                    <a:pt x="57" y="84"/>
                  </a:lnTo>
                  <a:lnTo>
                    <a:pt x="57" y="84"/>
                  </a:lnTo>
                  <a:lnTo>
                    <a:pt x="57" y="84"/>
                  </a:lnTo>
                  <a:lnTo>
                    <a:pt x="57" y="84"/>
                  </a:lnTo>
                  <a:lnTo>
                    <a:pt x="60" y="88"/>
                  </a:lnTo>
                  <a:lnTo>
                    <a:pt x="60" y="91"/>
                  </a:lnTo>
                  <a:lnTo>
                    <a:pt x="60" y="91"/>
                  </a:lnTo>
                  <a:lnTo>
                    <a:pt x="60" y="95"/>
                  </a:lnTo>
                  <a:lnTo>
                    <a:pt x="60" y="95"/>
                  </a:lnTo>
                  <a:lnTo>
                    <a:pt x="64" y="98"/>
                  </a:lnTo>
                  <a:lnTo>
                    <a:pt x="64" y="98"/>
                  </a:lnTo>
                  <a:lnTo>
                    <a:pt x="67" y="98"/>
                  </a:lnTo>
                  <a:lnTo>
                    <a:pt x="67" y="98"/>
                  </a:lnTo>
                  <a:lnTo>
                    <a:pt x="71" y="98"/>
                  </a:lnTo>
                  <a:lnTo>
                    <a:pt x="71" y="98"/>
                  </a:lnTo>
                  <a:lnTo>
                    <a:pt x="74" y="95"/>
                  </a:lnTo>
                  <a:lnTo>
                    <a:pt x="74" y="95"/>
                  </a:lnTo>
                  <a:lnTo>
                    <a:pt x="77" y="95"/>
                  </a:lnTo>
                  <a:lnTo>
                    <a:pt x="77" y="95"/>
                  </a:lnTo>
                  <a:lnTo>
                    <a:pt x="81" y="98"/>
                  </a:lnTo>
                  <a:lnTo>
                    <a:pt x="81" y="101"/>
                  </a:lnTo>
                  <a:lnTo>
                    <a:pt x="81" y="101"/>
                  </a:lnTo>
                  <a:lnTo>
                    <a:pt x="87" y="101"/>
                  </a:lnTo>
                  <a:lnTo>
                    <a:pt x="91" y="101"/>
                  </a:lnTo>
                  <a:lnTo>
                    <a:pt x="91" y="101"/>
                  </a:lnTo>
                  <a:lnTo>
                    <a:pt x="94" y="101"/>
                  </a:lnTo>
                  <a:lnTo>
                    <a:pt x="94" y="101"/>
                  </a:lnTo>
                  <a:lnTo>
                    <a:pt x="94" y="98"/>
                  </a:lnTo>
                  <a:lnTo>
                    <a:pt x="91" y="95"/>
                  </a:lnTo>
                  <a:lnTo>
                    <a:pt x="91" y="95"/>
                  </a:lnTo>
                  <a:lnTo>
                    <a:pt x="91" y="91"/>
                  </a:lnTo>
                  <a:lnTo>
                    <a:pt x="91" y="91"/>
                  </a:lnTo>
                  <a:lnTo>
                    <a:pt x="94" y="88"/>
                  </a:lnTo>
                  <a:lnTo>
                    <a:pt x="94" y="88"/>
                  </a:lnTo>
                  <a:lnTo>
                    <a:pt x="91" y="84"/>
                  </a:lnTo>
                  <a:lnTo>
                    <a:pt x="91" y="84"/>
                  </a:lnTo>
                  <a:lnTo>
                    <a:pt x="91" y="81"/>
                  </a:lnTo>
                  <a:lnTo>
                    <a:pt x="91" y="81"/>
                  </a:lnTo>
                  <a:lnTo>
                    <a:pt x="91" y="81"/>
                  </a:lnTo>
                  <a:lnTo>
                    <a:pt x="91" y="81"/>
                  </a:lnTo>
                  <a:lnTo>
                    <a:pt x="94" y="78"/>
                  </a:lnTo>
                  <a:lnTo>
                    <a:pt x="94" y="78"/>
                  </a:lnTo>
                  <a:lnTo>
                    <a:pt x="101" y="78"/>
                  </a:lnTo>
                  <a:lnTo>
                    <a:pt x="101" y="78"/>
                  </a:lnTo>
                  <a:lnTo>
                    <a:pt x="101" y="74"/>
                  </a:lnTo>
                  <a:lnTo>
                    <a:pt x="101" y="74"/>
                  </a:lnTo>
                  <a:lnTo>
                    <a:pt x="107" y="74"/>
                  </a:lnTo>
                  <a:lnTo>
                    <a:pt x="107" y="74"/>
                  </a:lnTo>
                  <a:lnTo>
                    <a:pt x="111" y="74"/>
                  </a:lnTo>
                  <a:lnTo>
                    <a:pt x="111" y="74"/>
                  </a:lnTo>
                  <a:lnTo>
                    <a:pt x="111" y="71"/>
                  </a:lnTo>
                  <a:lnTo>
                    <a:pt x="111" y="68"/>
                  </a:lnTo>
                  <a:lnTo>
                    <a:pt x="111" y="68"/>
                  </a:lnTo>
                  <a:lnTo>
                    <a:pt x="111" y="64"/>
                  </a:lnTo>
                  <a:lnTo>
                    <a:pt x="111" y="64"/>
                  </a:lnTo>
                  <a:lnTo>
                    <a:pt x="114" y="64"/>
                  </a:lnTo>
                  <a:lnTo>
                    <a:pt x="114" y="64"/>
                  </a:lnTo>
                  <a:lnTo>
                    <a:pt x="118" y="61"/>
                  </a:lnTo>
                  <a:lnTo>
                    <a:pt x="118" y="61"/>
                  </a:lnTo>
                  <a:lnTo>
                    <a:pt x="114" y="58"/>
                  </a:lnTo>
                  <a:lnTo>
                    <a:pt x="114" y="54"/>
                  </a:lnTo>
                  <a:lnTo>
                    <a:pt x="114" y="54"/>
                  </a:lnTo>
                  <a:lnTo>
                    <a:pt x="111" y="51"/>
                  </a:lnTo>
                  <a:lnTo>
                    <a:pt x="111" y="51"/>
                  </a:lnTo>
                  <a:lnTo>
                    <a:pt x="114" y="47"/>
                  </a:lnTo>
                  <a:lnTo>
                    <a:pt x="114" y="47"/>
                  </a:lnTo>
                  <a:lnTo>
                    <a:pt x="118" y="44"/>
                  </a:lnTo>
                  <a:lnTo>
                    <a:pt x="118" y="44"/>
                  </a:lnTo>
                  <a:lnTo>
                    <a:pt x="121" y="44"/>
                  </a:lnTo>
                  <a:lnTo>
                    <a:pt x="121" y="44"/>
                  </a:lnTo>
                  <a:lnTo>
                    <a:pt x="124" y="41"/>
                  </a:lnTo>
                  <a:lnTo>
                    <a:pt x="124" y="41"/>
                  </a:lnTo>
                  <a:lnTo>
                    <a:pt x="124" y="41"/>
                  </a:lnTo>
                  <a:lnTo>
                    <a:pt x="124" y="41"/>
                  </a:lnTo>
                  <a:lnTo>
                    <a:pt x="138" y="37"/>
                  </a:lnTo>
                  <a:lnTo>
                    <a:pt x="138" y="37"/>
                  </a:lnTo>
                  <a:lnTo>
                    <a:pt x="138" y="37"/>
                  </a:lnTo>
                  <a:lnTo>
                    <a:pt x="138" y="34"/>
                  </a:lnTo>
                  <a:lnTo>
                    <a:pt x="138" y="34"/>
                  </a:lnTo>
                  <a:lnTo>
                    <a:pt x="141" y="34"/>
                  </a:lnTo>
                  <a:lnTo>
                    <a:pt x="141" y="34"/>
                  </a:lnTo>
                  <a:lnTo>
                    <a:pt x="144" y="34"/>
                  </a:lnTo>
                  <a:lnTo>
                    <a:pt x="144" y="34"/>
                  </a:lnTo>
                  <a:lnTo>
                    <a:pt x="144" y="34"/>
                  </a:lnTo>
                  <a:lnTo>
                    <a:pt x="144" y="34"/>
                  </a:lnTo>
                  <a:lnTo>
                    <a:pt x="148" y="34"/>
                  </a:lnTo>
                  <a:lnTo>
                    <a:pt x="148" y="34"/>
                  </a:lnTo>
                  <a:lnTo>
                    <a:pt x="151" y="31"/>
                  </a:lnTo>
                  <a:lnTo>
                    <a:pt x="148" y="27"/>
                  </a:lnTo>
                  <a:lnTo>
                    <a:pt x="148" y="24"/>
                  </a:lnTo>
                  <a:lnTo>
                    <a:pt x="151" y="21"/>
                  </a:lnTo>
                  <a:lnTo>
                    <a:pt x="151" y="21"/>
                  </a:lnTo>
                  <a:lnTo>
                    <a:pt x="151" y="24"/>
                  </a:lnTo>
                  <a:lnTo>
                    <a:pt x="151" y="24"/>
                  </a:lnTo>
                  <a:lnTo>
                    <a:pt x="155" y="24"/>
                  </a:lnTo>
                  <a:lnTo>
                    <a:pt x="155" y="24"/>
                  </a:lnTo>
                  <a:lnTo>
                    <a:pt x="161" y="24"/>
                  </a:lnTo>
                  <a:lnTo>
                    <a:pt x="161" y="24"/>
                  </a:lnTo>
                  <a:lnTo>
                    <a:pt x="165" y="27"/>
                  </a:lnTo>
                  <a:lnTo>
                    <a:pt x="165" y="27"/>
                  </a:lnTo>
                  <a:lnTo>
                    <a:pt x="165" y="24"/>
                  </a:lnTo>
                  <a:lnTo>
                    <a:pt x="161" y="21"/>
                  </a:lnTo>
                  <a:lnTo>
                    <a:pt x="161" y="21"/>
                  </a:lnTo>
                  <a:lnTo>
                    <a:pt x="158" y="17"/>
                  </a:lnTo>
                  <a:lnTo>
                    <a:pt x="158" y="17"/>
                  </a:lnTo>
                  <a:lnTo>
                    <a:pt x="158" y="11"/>
                  </a:lnTo>
                  <a:lnTo>
                    <a:pt x="158" y="11"/>
                  </a:lnTo>
                  <a:lnTo>
                    <a:pt x="155" y="7"/>
                  </a:lnTo>
                  <a:lnTo>
                    <a:pt x="155" y="7"/>
                  </a:lnTo>
                  <a:lnTo>
                    <a:pt x="158" y="4"/>
                  </a:lnTo>
                  <a:lnTo>
                    <a:pt x="158" y="0"/>
                  </a:lnTo>
                  <a:lnTo>
                    <a:pt x="158" y="0"/>
                  </a:lnTo>
                  <a:lnTo>
                    <a:pt x="151" y="0"/>
                  </a:lnTo>
                  <a:lnTo>
                    <a:pt x="151" y="0"/>
                  </a:lnTo>
                  <a:lnTo>
                    <a:pt x="148" y="0"/>
                  </a:lnTo>
                  <a:lnTo>
                    <a:pt x="148" y="0"/>
                  </a:lnTo>
                  <a:lnTo>
                    <a:pt x="148" y="0"/>
                  </a:lnTo>
                  <a:lnTo>
                    <a:pt x="144" y="0"/>
                  </a:lnTo>
                  <a:lnTo>
                    <a:pt x="141" y="0"/>
                  </a:lnTo>
                  <a:lnTo>
                    <a:pt x="141" y="0"/>
                  </a:lnTo>
                  <a:lnTo>
                    <a:pt x="138" y="7"/>
                  </a:lnTo>
                  <a:lnTo>
                    <a:pt x="138" y="7"/>
                  </a:lnTo>
                  <a:lnTo>
                    <a:pt x="141" y="11"/>
                  </a:lnTo>
                  <a:lnTo>
                    <a:pt x="141" y="14"/>
                  </a:lnTo>
                  <a:lnTo>
                    <a:pt x="141" y="14"/>
                  </a:lnTo>
                  <a:lnTo>
                    <a:pt x="141" y="14"/>
                  </a:lnTo>
                  <a:lnTo>
                    <a:pt x="138" y="14"/>
                  </a:lnTo>
                  <a:lnTo>
                    <a:pt x="134" y="11"/>
                  </a:lnTo>
                  <a:lnTo>
                    <a:pt x="134" y="11"/>
                  </a:lnTo>
                  <a:lnTo>
                    <a:pt x="128" y="11"/>
                  </a:lnTo>
                  <a:lnTo>
                    <a:pt x="128" y="11"/>
                  </a:lnTo>
                  <a:lnTo>
                    <a:pt x="121" y="11"/>
                  </a:lnTo>
                  <a:lnTo>
                    <a:pt x="121" y="11"/>
                  </a:lnTo>
                  <a:lnTo>
                    <a:pt x="121" y="14"/>
                  </a:lnTo>
                  <a:lnTo>
                    <a:pt x="118" y="17"/>
                  </a:lnTo>
                  <a:lnTo>
                    <a:pt x="118" y="17"/>
                  </a:lnTo>
                  <a:lnTo>
                    <a:pt x="114" y="14"/>
                  </a:lnTo>
                  <a:lnTo>
                    <a:pt x="111" y="14"/>
                  </a:lnTo>
                  <a:lnTo>
                    <a:pt x="111" y="14"/>
                  </a:lnTo>
                  <a:lnTo>
                    <a:pt x="107" y="14"/>
                  </a:lnTo>
                  <a:lnTo>
                    <a:pt x="107" y="14"/>
                  </a:lnTo>
                  <a:lnTo>
                    <a:pt x="104" y="14"/>
                  </a:lnTo>
                  <a:lnTo>
                    <a:pt x="101" y="14"/>
                  </a:lnTo>
                  <a:lnTo>
                    <a:pt x="101" y="14"/>
                  </a:lnTo>
                  <a:lnTo>
                    <a:pt x="101" y="17"/>
                  </a:lnTo>
                  <a:lnTo>
                    <a:pt x="101" y="21"/>
                  </a:lnTo>
                  <a:lnTo>
                    <a:pt x="101" y="21"/>
                  </a:lnTo>
                  <a:lnTo>
                    <a:pt x="97" y="21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1" y="21"/>
                  </a:lnTo>
                  <a:lnTo>
                    <a:pt x="91" y="21"/>
                  </a:lnTo>
                  <a:lnTo>
                    <a:pt x="91" y="27"/>
                  </a:lnTo>
                  <a:lnTo>
                    <a:pt x="91" y="27"/>
                  </a:lnTo>
                  <a:lnTo>
                    <a:pt x="87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77" y="24"/>
                  </a:lnTo>
                  <a:lnTo>
                    <a:pt x="77" y="24"/>
                  </a:lnTo>
                  <a:lnTo>
                    <a:pt x="71" y="31"/>
                  </a:lnTo>
                  <a:lnTo>
                    <a:pt x="71" y="31"/>
                  </a:lnTo>
                  <a:lnTo>
                    <a:pt x="67" y="31"/>
                  </a:lnTo>
                  <a:lnTo>
                    <a:pt x="67" y="31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0" y="27"/>
                  </a:lnTo>
                  <a:lnTo>
                    <a:pt x="60" y="27"/>
                  </a:lnTo>
                  <a:lnTo>
                    <a:pt x="57" y="27"/>
                  </a:lnTo>
                  <a:lnTo>
                    <a:pt x="57" y="27"/>
                  </a:lnTo>
                  <a:lnTo>
                    <a:pt x="54" y="24"/>
                  </a:lnTo>
                  <a:lnTo>
                    <a:pt x="54" y="24"/>
                  </a:lnTo>
                  <a:lnTo>
                    <a:pt x="44" y="21"/>
                  </a:lnTo>
                  <a:lnTo>
                    <a:pt x="44" y="21"/>
                  </a:lnTo>
                  <a:lnTo>
                    <a:pt x="40" y="21"/>
                  </a:lnTo>
                  <a:lnTo>
                    <a:pt x="37" y="17"/>
                  </a:lnTo>
                  <a:lnTo>
                    <a:pt x="37" y="17"/>
                  </a:lnTo>
                  <a:lnTo>
                    <a:pt x="34" y="21"/>
                  </a:lnTo>
                  <a:lnTo>
                    <a:pt x="34" y="21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23" y="17"/>
                  </a:lnTo>
                  <a:lnTo>
                    <a:pt x="23" y="17"/>
                  </a:lnTo>
                  <a:lnTo>
                    <a:pt x="17" y="17"/>
                  </a:lnTo>
                  <a:lnTo>
                    <a:pt x="17" y="17"/>
                  </a:lnTo>
                  <a:lnTo>
                    <a:pt x="17" y="24"/>
                  </a:lnTo>
                  <a:lnTo>
                    <a:pt x="17" y="24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7" y="31"/>
                  </a:lnTo>
                  <a:lnTo>
                    <a:pt x="3" y="34"/>
                  </a:lnTo>
                  <a:lnTo>
                    <a:pt x="3" y="34"/>
                  </a:lnTo>
                  <a:lnTo>
                    <a:pt x="3" y="37"/>
                  </a:lnTo>
                  <a:lnTo>
                    <a:pt x="3" y="37"/>
                  </a:lnTo>
                  <a:lnTo>
                    <a:pt x="0" y="41"/>
                  </a:lnTo>
                  <a:lnTo>
                    <a:pt x="0" y="41"/>
                  </a:lnTo>
                  <a:lnTo>
                    <a:pt x="0" y="41"/>
                  </a:lnTo>
                  <a:lnTo>
                    <a:pt x="3" y="44"/>
                  </a:lnTo>
                  <a:lnTo>
                    <a:pt x="3" y="44"/>
                  </a:lnTo>
                  <a:lnTo>
                    <a:pt x="7" y="44"/>
                  </a:lnTo>
                  <a:lnTo>
                    <a:pt x="7" y="44"/>
                  </a:lnTo>
                  <a:lnTo>
                    <a:pt x="7" y="47"/>
                  </a:lnTo>
                  <a:lnTo>
                    <a:pt x="7" y="47"/>
                  </a:lnTo>
                  <a:lnTo>
                    <a:pt x="10" y="47"/>
                  </a:lnTo>
                  <a:lnTo>
                    <a:pt x="10" y="47"/>
                  </a:lnTo>
                  <a:lnTo>
                    <a:pt x="10" y="51"/>
                  </a:lnTo>
                  <a:lnTo>
                    <a:pt x="7" y="54"/>
                  </a:lnTo>
                  <a:lnTo>
                    <a:pt x="7" y="54"/>
                  </a:lnTo>
                  <a:lnTo>
                    <a:pt x="7" y="58"/>
                  </a:lnTo>
                  <a:lnTo>
                    <a:pt x="7" y="61"/>
                  </a:lnTo>
                  <a:lnTo>
                    <a:pt x="7" y="61"/>
                  </a:lnTo>
                  <a:lnTo>
                    <a:pt x="7" y="58"/>
                  </a:lnTo>
                  <a:lnTo>
                    <a:pt x="10" y="58"/>
                  </a:lnTo>
                  <a:lnTo>
                    <a:pt x="10" y="58"/>
                  </a:lnTo>
                  <a:lnTo>
                    <a:pt x="13" y="61"/>
                  </a:lnTo>
                  <a:lnTo>
                    <a:pt x="13" y="64"/>
                  </a:lnTo>
                  <a:lnTo>
                    <a:pt x="13" y="64"/>
                  </a:lnTo>
                  <a:lnTo>
                    <a:pt x="17" y="71"/>
                  </a:lnTo>
                  <a:lnTo>
                    <a:pt x="17" y="71"/>
                  </a:lnTo>
                  <a:lnTo>
                    <a:pt x="17" y="74"/>
                  </a:lnTo>
                  <a:lnTo>
                    <a:pt x="17" y="74"/>
                  </a:lnTo>
                  <a:lnTo>
                    <a:pt x="20" y="74"/>
                  </a:lnTo>
                  <a:lnTo>
                    <a:pt x="23" y="74"/>
                  </a:lnTo>
                  <a:lnTo>
                    <a:pt x="23" y="74"/>
                  </a:lnTo>
                  <a:lnTo>
                    <a:pt x="23" y="78"/>
                  </a:lnTo>
                  <a:lnTo>
                    <a:pt x="23" y="81"/>
                  </a:lnTo>
                  <a:lnTo>
                    <a:pt x="23" y="81"/>
                  </a:lnTo>
                  <a:lnTo>
                    <a:pt x="17" y="84"/>
                  </a:lnTo>
                  <a:lnTo>
                    <a:pt x="17" y="84"/>
                  </a:lnTo>
                  <a:lnTo>
                    <a:pt x="10" y="81"/>
                  </a:lnTo>
                  <a:lnTo>
                    <a:pt x="7" y="78"/>
                  </a:lnTo>
                  <a:lnTo>
                    <a:pt x="7" y="78"/>
                  </a:lnTo>
                  <a:lnTo>
                    <a:pt x="3" y="84"/>
                  </a:lnTo>
                  <a:lnTo>
                    <a:pt x="3" y="84"/>
                  </a:lnTo>
                  <a:close/>
                </a:path>
              </a:pathLst>
            </a:custGeom>
            <a:solidFill>
              <a:srgbClr val="C0C0C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EYInterstate" pitchFamily="2" charset="0"/>
                <a:cs typeface="Arial" charset="0"/>
              </a:endParaRPr>
            </a:p>
          </p:txBody>
        </p:sp>
        <p:sp>
          <p:nvSpPr>
            <p:cNvPr id="22" name="Freeform 36"/>
            <p:cNvSpPr>
              <a:spLocks/>
            </p:cNvSpPr>
            <p:nvPr/>
          </p:nvSpPr>
          <p:spPr bwMode="auto">
            <a:xfrm>
              <a:off x="3206" y="2658"/>
              <a:ext cx="263" cy="140"/>
            </a:xfrm>
            <a:custGeom>
              <a:avLst/>
              <a:gdLst/>
              <a:ahLst/>
              <a:cxnLst>
                <a:cxn ang="0">
                  <a:pos x="91" y="10"/>
                </a:cxn>
                <a:cxn ang="0">
                  <a:pos x="101" y="17"/>
                </a:cxn>
                <a:cxn ang="0">
                  <a:pos x="114" y="3"/>
                </a:cxn>
                <a:cxn ang="0">
                  <a:pos x="121" y="13"/>
                </a:cxn>
                <a:cxn ang="0">
                  <a:pos x="128" y="20"/>
                </a:cxn>
                <a:cxn ang="0">
                  <a:pos x="135" y="27"/>
                </a:cxn>
                <a:cxn ang="0">
                  <a:pos x="138" y="34"/>
                </a:cxn>
                <a:cxn ang="0">
                  <a:pos x="148" y="34"/>
                </a:cxn>
                <a:cxn ang="0">
                  <a:pos x="155" y="34"/>
                </a:cxn>
                <a:cxn ang="0">
                  <a:pos x="165" y="24"/>
                </a:cxn>
                <a:cxn ang="0">
                  <a:pos x="185" y="27"/>
                </a:cxn>
                <a:cxn ang="0">
                  <a:pos x="198" y="27"/>
                </a:cxn>
                <a:cxn ang="0">
                  <a:pos x="215" y="27"/>
                </a:cxn>
                <a:cxn ang="0">
                  <a:pos x="229" y="34"/>
                </a:cxn>
                <a:cxn ang="0">
                  <a:pos x="252" y="44"/>
                </a:cxn>
                <a:cxn ang="0">
                  <a:pos x="262" y="64"/>
                </a:cxn>
                <a:cxn ang="0">
                  <a:pos x="259" y="74"/>
                </a:cxn>
                <a:cxn ang="0">
                  <a:pos x="256" y="91"/>
                </a:cxn>
                <a:cxn ang="0">
                  <a:pos x="245" y="91"/>
                </a:cxn>
                <a:cxn ang="0">
                  <a:pos x="239" y="94"/>
                </a:cxn>
                <a:cxn ang="0">
                  <a:pos x="225" y="87"/>
                </a:cxn>
                <a:cxn ang="0">
                  <a:pos x="222" y="77"/>
                </a:cxn>
                <a:cxn ang="0">
                  <a:pos x="209" y="81"/>
                </a:cxn>
                <a:cxn ang="0">
                  <a:pos x="188" y="77"/>
                </a:cxn>
                <a:cxn ang="0">
                  <a:pos x="178" y="77"/>
                </a:cxn>
                <a:cxn ang="0">
                  <a:pos x="165" y="91"/>
                </a:cxn>
                <a:cxn ang="0">
                  <a:pos x="158" y="94"/>
                </a:cxn>
                <a:cxn ang="0">
                  <a:pos x="145" y="108"/>
                </a:cxn>
                <a:cxn ang="0">
                  <a:pos x="135" y="111"/>
                </a:cxn>
                <a:cxn ang="0">
                  <a:pos x="124" y="108"/>
                </a:cxn>
                <a:cxn ang="0">
                  <a:pos x="111" y="118"/>
                </a:cxn>
                <a:cxn ang="0">
                  <a:pos x="104" y="121"/>
                </a:cxn>
                <a:cxn ang="0">
                  <a:pos x="91" y="124"/>
                </a:cxn>
                <a:cxn ang="0">
                  <a:pos x="84" y="131"/>
                </a:cxn>
                <a:cxn ang="0">
                  <a:pos x="84" y="141"/>
                </a:cxn>
                <a:cxn ang="0">
                  <a:pos x="77" y="144"/>
                </a:cxn>
                <a:cxn ang="0">
                  <a:pos x="74" y="148"/>
                </a:cxn>
                <a:cxn ang="0">
                  <a:pos x="54" y="148"/>
                </a:cxn>
                <a:cxn ang="0">
                  <a:pos x="44" y="148"/>
                </a:cxn>
                <a:cxn ang="0">
                  <a:pos x="27" y="141"/>
                </a:cxn>
                <a:cxn ang="0">
                  <a:pos x="17" y="134"/>
                </a:cxn>
                <a:cxn ang="0">
                  <a:pos x="10" y="124"/>
                </a:cxn>
                <a:cxn ang="0">
                  <a:pos x="4" y="121"/>
                </a:cxn>
                <a:cxn ang="0">
                  <a:pos x="4" y="111"/>
                </a:cxn>
                <a:cxn ang="0">
                  <a:pos x="4" y="101"/>
                </a:cxn>
                <a:cxn ang="0">
                  <a:pos x="4" y="91"/>
                </a:cxn>
                <a:cxn ang="0">
                  <a:pos x="7" y="71"/>
                </a:cxn>
                <a:cxn ang="0">
                  <a:pos x="10" y="77"/>
                </a:cxn>
                <a:cxn ang="0">
                  <a:pos x="17" y="74"/>
                </a:cxn>
                <a:cxn ang="0">
                  <a:pos x="30" y="74"/>
                </a:cxn>
                <a:cxn ang="0">
                  <a:pos x="40" y="64"/>
                </a:cxn>
                <a:cxn ang="0">
                  <a:pos x="44" y="54"/>
                </a:cxn>
                <a:cxn ang="0">
                  <a:pos x="44" y="37"/>
                </a:cxn>
                <a:cxn ang="0">
                  <a:pos x="54" y="30"/>
                </a:cxn>
                <a:cxn ang="0">
                  <a:pos x="61" y="20"/>
                </a:cxn>
                <a:cxn ang="0">
                  <a:pos x="71" y="7"/>
                </a:cxn>
              </a:cxnLst>
              <a:rect l="0" t="0" r="r" b="b"/>
              <a:pathLst>
                <a:path w="262" h="148">
                  <a:moveTo>
                    <a:pt x="84" y="0"/>
                  </a:moveTo>
                  <a:lnTo>
                    <a:pt x="84" y="0"/>
                  </a:lnTo>
                  <a:lnTo>
                    <a:pt x="88" y="3"/>
                  </a:lnTo>
                  <a:lnTo>
                    <a:pt x="91" y="10"/>
                  </a:lnTo>
                  <a:lnTo>
                    <a:pt x="91" y="13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101" y="17"/>
                  </a:lnTo>
                  <a:lnTo>
                    <a:pt x="104" y="17"/>
                  </a:lnTo>
                  <a:lnTo>
                    <a:pt x="111" y="10"/>
                  </a:lnTo>
                  <a:lnTo>
                    <a:pt x="114" y="3"/>
                  </a:lnTo>
                  <a:lnTo>
                    <a:pt x="114" y="3"/>
                  </a:lnTo>
                  <a:lnTo>
                    <a:pt x="118" y="3"/>
                  </a:lnTo>
                  <a:lnTo>
                    <a:pt x="118" y="3"/>
                  </a:lnTo>
                  <a:lnTo>
                    <a:pt x="121" y="10"/>
                  </a:lnTo>
                  <a:lnTo>
                    <a:pt x="121" y="13"/>
                  </a:lnTo>
                  <a:lnTo>
                    <a:pt x="124" y="17"/>
                  </a:lnTo>
                  <a:lnTo>
                    <a:pt x="124" y="17"/>
                  </a:lnTo>
                  <a:lnTo>
                    <a:pt x="128" y="20"/>
                  </a:lnTo>
                  <a:lnTo>
                    <a:pt x="128" y="20"/>
                  </a:lnTo>
                  <a:lnTo>
                    <a:pt x="128" y="20"/>
                  </a:lnTo>
                  <a:lnTo>
                    <a:pt x="131" y="17"/>
                  </a:lnTo>
                  <a:lnTo>
                    <a:pt x="131" y="20"/>
                  </a:lnTo>
                  <a:lnTo>
                    <a:pt x="135" y="27"/>
                  </a:lnTo>
                  <a:lnTo>
                    <a:pt x="135" y="27"/>
                  </a:lnTo>
                  <a:lnTo>
                    <a:pt x="135" y="34"/>
                  </a:lnTo>
                  <a:lnTo>
                    <a:pt x="135" y="37"/>
                  </a:lnTo>
                  <a:lnTo>
                    <a:pt x="138" y="34"/>
                  </a:lnTo>
                  <a:lnTo>
                    <a:pt x="138" y="34"/>
                  </a:lnTo>
                  <a:lnTo>
                    <a:pt x="141" y="30"/>
                  </a:lnTo>
                  <a:lnTo>
                    <a:pt x="141" y="30"/>
                  </a:lnTo>
                  <a:lnTo>
                    <a:pt x="148" y="34"/>
                  </a:lnTo>
                  <a:lnTo>
                    <a:pt x="151" y="37"/>
                  </a:lnTo>
                  <a:lnTo>
                    <a:pt x="151" y="37"/>
                  </a:lnTo>
                  <a:lnTo>
                    <a:pt x="151" y="37"/>
                  </a:lnTo>
                  <a:lnTo>
                    <a:pt x="155" y="34"/>
                  </a:lnTo>
                  <a:lnTo>
                    <a:pt x="155" y="34"/>
                  </a:lnTo>
                  <a:lnTo>
                    <a:pt x="158" y="27"/>
                  </a:lnTo>
                  <a:lnTo>
                    <a:pt x="158" y="27"/>
                  </a:lnTo>
                  <a:lnTo>
                    <a:pt x="165" y="24"/>
                  </a:lnTo>
                  <a:lnTo>
                    <a:pt x="172" y="24"/>
                  </a:lnTo>
                  <a:lnTo>
                    <a:pt x="182" y="24"/>
                  </a:lnTo>
                  <a:lnTo>
                    <a:pt x="182" y="24"/>
                  </a:lnTo>
                  <a:lnTo>
                    <a:pt x="185" y="27"/>
                  </a:lnTo>
                  <a:lnTo>
                    <a:pt x="188" y="30"/>
                  </a:lnTo>
                  <a:lnTo>
                    <a:pt x="192" y="30"/>
                  </a:lnTo>
                  <a:lnTo>
                    <a:pt x="192" y="30"/>
                  </a:lnTo>
                  <a:lnTo>
                    <a:pt x="198" y="27"/>
                  </a:lnTo>
                  <a:lnTo>
                    <a:pt x="202" y="24"/>
                  </a:lnTo>
                  <a:lnTo>
                    <a:pt x="202" y="24"/>
                  </a:lnTo>
                  <a:lnTo>
                    <a:pt x="209" y="24"/>
                  </a:lnTo>
                  <a:lnTo>
                    <a:pt x="215" y="27"/>
                  </a:lnTo>
                  <a:lnTo>
                    <a:pt x="215" y="27"/>
                  </a:lnTo>
                  <a:lnTo>
                    <a:pt x="222" y="27"/>
                  </a:lnTo>
                  <a:lnTo>
                    <a:pt x="229" y="34"/>
                  </a:lnTo>
                  <a:lnTo>
                    <a:pt x="229" y="34"/>
                  </a:lnTo>
                  <a:lnTo>
                    <a:pt x="235" y="37"/>
                  </a:lnTo>
                  <a:lnTo>
                    <a:pt x="242" y="37"/>
                  </a:lnTo>
                  <a:lnTo>
                    <a:pt x="242" y="37"/>
                  </a:lnTo>
                  <a:lnTo>
                    <a:pt x="252" y="44"/>
                  </a:lnTo>
                  <a:lnTo>
                    <a:pt x="262" y="47"/>
                  </a:lnTo>
                  <a:lnTo>
                    <a:pt x="262" y="47"/>
                  </a:lnTo>
                  <a:lnTo>
                    <a:pt x="262" y="54"/>
                  </a:lnTo>
                  <a:lnTo>
                    <a:pt x="262" y="64"/>
                  </a:lnTo>
                  <a:lnTo>
                    <a:pt x="262" y="64"/>
                  </a:lnTo>
                  <a:lnTo>
                    <a:pt x="262" y="71"/>
                  </a:lnTo>
                  <a:lnTo>
                    <a:pt x="259" y="74"/>
                  </a:lnTo>
                  <a:lnTo>
                    <a:pt x="259" y="74"/>
                  </a:lnTo>
                  <a:lnTo>
                    <a:pt x="256" y="81"/>
                  </a:lnTo>
                  <a:lnTo>
                    <a:pt x="256" y="81"/>
                  </a:lnTo>
                  <a:lnTo>
                    <a:pt x="252" y="87"/>
                  </a:lnTo>
                  <a:lnTo>
                    <a:pt x="256" y="91"/>
                  </a:lnTo>
                  <a:lnTo>
                    <a:pt x="252" y="87"/>
                  </a:lnTo>
                  <a:lnTo>
                    <a:pt x="252" y="87"/>
                  </a:lnTo>
                  <a:lnTo>
                    <a:pt x="249" y="87"/>
                  </a:lnTo>
                  <a:lnTo>
                    <a:pt x="245" y="91"/>
                  </a:lnTo>
                  <a:lnTo>
                    <a:pt x="245" y="91"/>
                  </a:lnTo>
                  <a:lnTo>
                    <a:pt x="239" y="91"/>
                  </a:lnTo>
                  <a:lnTo>
                    <a:pt x="239" y="91"/>
                  </a:lnTo>
                  <a:lnTo>
                    <a:pt x="239" y="94"/>
                  </a:lnTo>
                  <a:lnTo>
                    <a:pt x="232" y="94"/>
                  </a:lnTo>
                  <a:lnTo>
                    <a:pt x="232" y="94"/>
                  </a:lnTo>
                  <a:lnTo>
                    <a:pt x="225" y="94"/>
                  </a:lnTo>
                  <a:lnTo>
                    <a:pt x="225" y="87"/>
                  </a:lnTo>
                  <a:lnTo>
                    <a:pt x="225" y="87"/>
                  </a:lnTo>
                  <a:lnTo>
                    <a:pt x="222" y="81"/>
                  </a:lnTo>
                  <a:lnTo>
                    <a:pt x="222" y="81"/>
                  </a:lnTo>
                  <a:lnTo>
                    <a:pt x="222" y="77"/>
                  </a:lnTo>
                  <a:lnTo>
                    <a:pt x="222" y="77"/>
                  </a:lnTo>
                  <a:lnTo>
                    <a:pt x="212" y="77"/>
                  </a:lnTo>
                  <a:lnTo>
                    <a:pt x="209" y="81"/>
                  </a:lnTo>
                  <a:lnTo>
                    <a:pt x="209" y="81"/>
                  </a:lnTo>
                  <a:lnTo>
                    <a:pt x="198" y="81"/>
                  </a:lnTo>
                  <a:lnTo>
                    <a:pt x="198" y="81"/>
                  </a:lnTo>
                  <a:lnTo>
                    <a:pt x="195" y="81"/>
                  </a:lnTo>
                  <a:lnTo>
                    <a:pt x="188" y="77"/>
                  </a:lnTo>
                  <a:lnTo>
                    <a:pt x="188" y="77"/>
                  </a:lnTo>
                  <a:lnTo>
                    <a:pt x="182" y="74"/>
                  </a:lnTo>
                  <a:lnTo>
                    <a:pt x="182" y="74"/>
                  </a:lnTo>
                  <a:lnTo>
                    <a:pt x="178" y="77"/>
                  </a:lnTo>
                  <a:lnTo>
                    <a:pt x="172" y="77"/>
                  </a:lnTo>
                  <a:lnTo>
                    <a:pt x="172" y="77"/>
                  </a:lnTo>
                  <a:lnTo>
                    <a:pt x="168" y="84"/>
                  </a:lnTo>
                  <a:lnTo>
                    <a:pt x="165" y="91"/>
                  </a:lnTo>
                  <a:lnTo>
                    <a:pt x="165" y="91"/>
                  </a:lnTo>
                  <a:lnTo>
                    <a:pt x="161" y="94"/>
                  </a:lnTo>
                  <a:lnTo>
                    <a:pt x="158" y="94"/>
                  </a:lnTo>
                  <a:lnTo>
                    <a:pt x="158" y="94"/>
                  </a:lnTo>
                  <a:lnTo>
                    <a:pt x="151" y="101"/>
                  </a:lnTo>
                  <a:lnTo>
                    <a:pt x="151" y="101"/>
                  </a:lnTo>
                  <a:lnTo>
                    <a:pt x="145" y="108"/>
                  </a:lnTo>
                  <a:lnTo>
                    <a:pt x="145" y="108"/>
                  </a:lnTo>
                  <a:lnTo>
                    <a:pt x="141" y="111"/>
                  </a:lnTo>
                  <a:lnTo>
                    <a:pt x="138" y="114"/>
                  </a:lnTo>
                  <a:lnTo>
                    <a:pt x="138" y="114"/>
                  </a:lnTo>
                  <a:lnTo>
                    <a:pt x="135" y="111"/>
                  </a:lnTo>
                  <a:lnTo>
                    <a:pt x="131" y="108"/>
                  </a:lnTo>
                  <a:lnTo>
                    <a:pt x="128" y="108"/>
                  </a:lnTo>
                  <a:lnTo>
                    <a:pt x="124" y="108"/>
                  </a:lnTo>
                  <a:lnTo>
                    <a:pt x="124" y="108"/>
                  </a:lnTo>
                  <a:lnTo>
                    <a:pt x="114" y="111"/>
                  </a:lnTo>
                  <a:lnTo>
                    <a:pt x="114" y="111"/>
                  </a:lnTo>
                  <a:lnTo>
                    <a:pt x="111" y="114"/>
                  </a:lnTo>
                  <a:lnTo>
                    <a:pt x="111" y="118"/>
                  </a:lnTo>
                  <a:lnTo>
                    <a:pt x="111" y="118"/>
                  </a:lnTo>
                  <a:lnTo>
                    <a:pt x="108" y="121"/>
                  </a:lnTo>
                  <a:lnTo>
                    <a:pt x="104" y="121"/>
                  </a:lnTo>
                  <a:lnTo>
                    <a:pt x="104" y="121"/>
                  </a:lnTo>
                  <a:lnTo>
                    <a:pt x="101" y="121"/>
                  </a:lnTo>
                  <a:lnTo>
                    <a:pt x="98" y="121"/>
                  </a:lnTo>
                  <a:lnTo>
                    <a:pt x="98" y="121"/>
                  </a:lnTo>
                  <a:lnTo>
                    <a:pt x="91" y="124"/>
                  </a:lnTo>
                  <a:lnTo>
                    <a:pt x="91" y="124"/>
                  </a:lnTo>
                  <a:lnTo>
                    <a:pt x="84" y="128"/>
                  </a:lnTo>
                  <a:lnTo>
                    <a:pt x="84" y="128"/>
                  </a:lnTo>
                  <a:lnTo>
                    <a:pt x="84" y="131"/>
                  </a:lnTo>
                  <a:lnTo>
                    <a:pt x="84" y="134"/>
                  </a:lnTo>
                  <a:lnTo>
                    <a:pt x="84" y="134"/>
                  </a:lnTo>
                  <a:lnTo>
                    <a:pt x="84" y="141"/>
                  </a:lnTo>
                  <a:lnTo>
                    <a:pt x="84" y="141"/>
                  </a:lnTo>
                  <a:lnTo>
                    <a:pt x="88" y="144"/>
                  </a:lnTo>
                  <a:lnTo>
                    <a:pt x="88" y="144"/>
                  </a:lnTo>
                  <a:lnTo>
                    <a:pt x="88" y="144"/>
                  </a:lnTo>
                  <a:lnTo>
                    <a:pt x="77" y="144"/>
                  </a:lnTo>
                  <a:lnTo>
                    <a:pt x="77" y="144"/>
                  </a:lnTo>
                  <a:lnTo>
                    <a:pt x="74" y="148"/>
                  </a:lnTo>
                  <a:lnTo>
                    <a:pt x="74" y="148"/>
                  </a:lnTo>
                  <a:lnTo>
                    <a:pt x="74" y="148"/>
                  </a:lnTo>
                  <a:lnTo>
                    <a:pt x="64" y="148"/>
                  </a:lnTo>
                  <a:lnTo>
                    <a:pt x="64" y="148"/>
                  </a:lnTo>
                  <a:lnTo>
                    <a:pt x="57" y="148"/>
                  </a:lnTo>
                  <a:lnTo>
                    <a:pt x="54" y="148"/>
                  </a:lnTo>
                  <a:lnTo>
                    <a:pt x="54" y="148"/>
                  </a:lnTo>
                  <a:lnTo>
                    <a:pt x="51" y="148"/>
                  </a:lnTo>
                  <a:lnTo>
                    <a:pt x="44" y="148"/>
                  </a:lnTo>
                  <a:lnTo>
                    <a:pt x="44" y="148"/>
                  </a:lnTo>
                  <a:lnTo>
                    <a:pt x="37" y="148"/>
                  </a:lnTo>
                  <a:lnTo>
                    <a:pt x="37" y="148"/>
                  </a:lnTo>
                  <a:lnTo>
                    <a:pt x="27" y="141"/>
                  </a:lnTo>
                  <a:lnTo>
                    <a:pt x="27" y="141"/>
                  </a:lnTo>
                  <a:lnTo>
                    <a:pt x="24" y="138"/>
                  </a:lnTo>
                  <a:lnTo>
                    <a:pt x="24" y="134"/>
                  </a:lnTo>
                  <a:lnTo>
                    <a:pt x="24" y="134"/>
                  </a:lnTo>
                  <a:lnTo>
                    <a:pt x="17" y="134"/>
                  </a:lnTo>
                  <a:lnTo>
                    <a:pt x="14" y="131"/>
                  </a:lnTo>
                  <a:lnTo>
                    <a:pt x="14" y="131"/>
                  </a:lnTo>
                  <a:lnTo>
                    <a:pt x="14" y="131"/>
                  </a:lnTo>
                  <a:lnTo>
                    <a:pt x="10" y="124"/>
                  </a:lnTo>
                  <a:lnTo>
                    <a:pt x="10" y="124"/>
                  </a:lnTo>
                  <a:lnTo>
                    <a:pt x="7" y="124"/>
                  </a:lnTo>
                  <a:lnTo>
                    <a:pt x="7" y="124"/>
                  </a:lnTo>
                  <a:lnTo>
                    <a:pt x="4" y="121"/>
                  </a:lnTo>
                  <a:lnTo>
                    <a:pt x="4" y="121"/>
                  </a:lnTo>
                  <a:lnTo>
                    <a:pt x="7" y="114"/>
                  </a:lnTo>
                  <a:lnTo>
                    <a:pt x="7" y="114"/>
                  </a:lnTo>
                  <a:lnTo>
                    <a:pt x="4" y="111"/>
                  </a:lnTo>
                  <a:lnTo>
                    <a:pt x="4" y="111"/>
                  </a:lnTo>
                  <a:lnTo>
                    <a:pt x="4" y="104"/>
                  </a:lnTo>
                  <a:lnTo>
                    <a:pt x="4" y="101"/>
                  </a:lnTo>
                  <a:lnTo>
                    <a:pt x="4" y="101"/>
                  </a:lnTo>
                  <a:lnTo>
                    <a:pt x="4" y="94"/>
                  </a:lnTo>
                  <a:lnTo>
                    <a:pt x="4" y="94"/>
                  </a:lnTo>
                  <a:lnTo>
                    <a:pt x="4" y="91"/>
                  </a:lnTo>
                  <a:lnTo>
                    <a:pt x="4" y="91"/>
                  </a:lnTo>
                  <a:lnTo>
                    <a:pt x="4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7" y="71"/>
                  </a:lnTo>
                  <a:lnTo>
                    <a:pt x="7" y="71"/>
                  </a:lnTo>
                  <a:lnTo>
                    <a:pt x="7" y="71"/>
                  </a:lnTo>
                  <a:lnTo>
                    <a:pt x="7" y="74"/>
                  </a:lnTo>
                  <a:lnTo>
                    <a:pt x="10" y="77"/>
                  </a:lnTo>
                  <a:lnTo>
                    <a:pt x="10" y="77"/>
                  </a:lnTo>
                  <a:lnTo>
                    <a:pt x="14" y="74"/>
                  </a:lnTo>
                  <a:lnTo>
                    <a:pt x="17" y="74"/>
                  </a:lnTo>
                  <a:lnTo>
                    <a:pt x="17" y="74"/>
                  </a:lnTo>
                  <a:lnTo>
                    <a:pt x="17" y="74"/>
                  </a:lnTo>
                  <a:lnTo>
                    <a:pt x="24" y="77"/>
                  </a:lnTo>
                  <a:lnTo>
                    <a:pt x="27" y="77"/>
                  </a:lnTo>
                  <a:lnTo>
                    <a:pt x="30" y="74"/>
                  </a:lnTo>
                  <a:lnTo>
                    <a:pt x="30" y="74"/>
                  </a:lnTo>
                  <a:lnTo>
                    <a:pt x="37" y="67"/>
                  </a:lnTo>
                  <a:lnTo>
                    <a:pt x="37" y="67"/>
                  </a:lnTo>
                  <a:lnTo>
                    <a:pt x="40" y="64"/>
                  </a:lnTo>
                  <a:lnTo>
                    <a:pt x="40" y="57"/>
                  </a:lnTo>
                  <a:lnTo>
                    <a:pt x="40" y="57"/>
                  </a:lnTo>
                  <a:lnTo>
                    <a:pt x="44" y="54"/>
                  </a:lnTo>
                  <a:lnTo>
                    <a:pt x="44" y="54"/>
                  </a:lnTo>
                  <a:lnTo>
                    <a:pt x="44" y="54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44" y="37"/>
                  </a:lnTo>
                  <a:lnTo>
                    <a:pt x="47" y="34"/>
                  </a:lnTo>
                  <a:lnTo>
                    <a:pt x="47" y="34"/>
                  </a:lnTo>
                  <a:lnTo>
                    <a:pt x="54" y="30"/>
                  </a:lnTo>
                  <a:lnTo>
                    <a:pt x="54" y="30"/>
                  </a:lnTo>
                  <a:lnTo>
                    <a:pt x="57" y="30"/>
                  </a:lnTo>
                  <a:lnTo>
                    <a:pt x="57" y="24"/>
                  </a:lnTo>
                  <a:lnTo>
                    <a:pt x="57" y="24"/>
                  </a:lnTo>
                  <a:lnTo>
                    <a:pt x="61" y="20"/>
                  </a:lnTo>
                  <a:lnTo>
                    <a:pt x="61" y="17"/>
                  </a:lnTo>
                  <a:lnTo>
                    <a:pt x="61" y="17"/>
                  </a:lnTo>
                  <a:lnTo>
                    <a:pt x="64" y="10"/>
                  </a:lnTo>
                  <a:lnTo>
                    <a:pt x="71" y="7"/>
                  </a:lnTo>
                  <a:lnTo>
                    <a:pt x="71" y="7"/>
                  </a:lnTo>
                  <a:lnTo>
                    <a:pt x="84" y="3"/>
                  </a:lnTo>
                  <a:lnTo>
                    <a:pt x="84" y="0"/>
                  </a:lnTo>
                  <a:close/>
                </a:path>
              </a:pathLst>
            </a:custGeom>
            <a:solidFill>
              <a:srgbClr val="C0C0C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EYInterstate" pitchFamily="2" charset="0"/>
                <a:cs typeface="Arial" charset="0"/>
              </a:endParaRPr>
            </a:p>
          </p:txBody>
        </p:sp>
        <p:sp>
          <p:nvSpPr>
            <p:cNvPr id="23" name="Freeform 37"/>
            <p:cNvSpPr>
              <a:spLocks/>
            </p:cNvSpPr>
            <p:nvPr/>
          </p:nvSpPr>
          <p:spPr bwMode="auto">
            <a:xfrm>
              <a:off x="2946" y="3042"/>
              <a:ext cx="10" cy="7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0" y="3"/>
                </a:cxn>
                <a:cxn ang="0">
                  <a:pos x="4" y="7"/>
                </a:cxn>
                <a:cxn ang="0">
                  <a:pos x="7" y="7"/>
                </a:cxn>
                <a:cxn ang="0">
                  <a:pos x="10" y="7"/>
                </a:cxn>
                <a:cxn ang="0">
                  <a:pos x="10" y="3"/>
                </a:cxn>
                <a:cxn ang="0">
                  <a:pos x="10" y="3"/>
                </a:cxn>
                <a:cxn ang="0">
                  <a:pos x="10" y="0"/>
                </a:cxn>
                <a:cxn ang="0">
                  <a:pos x="7" y="0"/>
                </a:cxn>
                <a:cxn ang="0">
                  <a:pos x="4" y="0"/>
                </a:cxn>
                <a:cxn ang="0">
                  <a:pos x="0" y="3"/>
                </a:cxn>
                <a:cxn ang="0">
                  <a:pos x="0" y="3"/>
                </a:cxn>
              </a:cxnLst>
              <a:rect l="0" t="0" r="r" b="b"/>
              <a:pathLst>
                <a:path w="10" h="7">
                  <a:moveTo>
                    <a:pt x="0" y="3"/>
                  </a:moveTo>
                  <a:lnTo>
                    <a:pt x="0" y="3"/>
                  </a:lnTo>
                  <a:lnTo>
                    <a:pt x="4" y="7"/>
                  </a:lnTo>
                  <a:lnTo>
                    <a:pt x="7" y="7"/>
                  </a:lnTo>
                  <a:lnTo>
                    <a:pt x="10" y="7"/>
                  </a:lnTo>
                  <a:lnTo>
                    <a:pt x="10" y="3"/>
                  </a:lnTo>
                  <a:lnTo>
                    <a:pt x="10" y="3"/>
                  </a:lnTo>
                  <a:lnTo>
                    <a:pt x="10" y="0"/>
                  </a:lnTo>
                  <a:lnTo>
                    <a:pt x="7" y="0"/>
                  </a:lnTo>
                  <a:lnTo>
                    <a:pt x="4" y="0"/>
                  </a:lnTo>
                  <a:lnTo>
                    <a:pt x="0" y="3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C0C0C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EYInterstate" pitchFamily="2" charset="0"/>
                <a:cs typeface="Arial" charset="0"/>
              </a:endParaRPr>
            </a:p>
          </p:txBody>
        </p:sp>
        <p:sp>
          <p:nvSpPr>
            <p:cNvPr id="24" name="Freeform 38"/>
            <p:cNvSpPr>
              <a:spLocks/>
            </p:cNvSpPr>
            <p:nvPr/>
          </p:nvSpPr>
          <p:spPr bwMode="auto">
            <a:xfrm>
              <a:off x="3364" y="2737"/>
              <a:ext cx="492" cy="333"/>
            </a:xfrm>
            <a:custGeom>
              <a:avLst/>
              <a:gdLst/>
              <a:ahLst/>
              <a:cxnLst>
                <a:cxn ang="0">
                  <a:pos x="329" y="10"/>
                </a:cxn>
                <a:cxn ang="0">
                  <a:pos x="343" y="34"/>
                </a:cxn>
                <a:cxn ang="0">
                  <a:pos x="356" y="60"/>
                </a:cxn>
                <a:cxn ang="0">
                  <a:pos x="387" y="84"/>
                </a:cxn>
                <a:cxn ang="0">
                  <a:pos x="403" y="121"/>
                </a:cxn>
                <a:cxn ang="0">
                  <a:pos x="407" y="155"/>
                </a:cxn>
                <a:cxn ang="0">
                  <a:pos x="410" y="181"/>
                </a:cxn>
                <a:cxn ang="0">
                  <a:pos x="413" y="205"/>
                </a:cxn>
                <a:cxn ang="0">
                  <a:pos x="437" y="215"/>
                </a:cxn>
                <a:cxn ang="0">
                  <a:pos x="444" y="212"/>
                </a:cxn>
                <a:cxn ang="0">
                  <a:pos x="457" y="202"/>
                </a:cxn>
                <a:cxn ang="0">
                  <a:pos x="487" y="212"/>
                </a:cxn>
                <a:cxn ang="0">
                  <a:pos x="474" y="245"/>
                </a:cxn>
                <a:cxn ang="0">
                  <a:pos x="457" y="232"/>
                </a:cxn>
                <a:cxn ang="0">
                  <a:pos x="450" y="242"/>
                </a:cxn>
                <a:cxn ang="0">
                  <a:pos x="457" y="255"/>
                </a:cxn>
                <a:cxn ang="0">
                  <a:pos x="457" y="265"/>
                </a:cxn>
                <a:cxn ang="0">
                  <a:pos x="444" y="286"/>
                </a:cxn>
                <a:cxn ang="0">
                  <a:pos x="434" y="316"/>
                </a:cxn>
                <a:cxn ang="0">
                  <a:pos x="410" y="306"/>
                </a:cxn>
                <a:cxn ang="0">
                  <a:pos x="397" y="306"/>
                </a:cxn>
                <a:cxn ang="0">
                  <a:pos x="366" y="299"/>
                </a:cxn>
                <a:cxn ang="0">
                  <a:pos x="323" y="323"/>
                </a:cxn>
                <a:cxn ang="0">
                  <a:pos x="309" y="339"/>
                </a:cxn>
                <a:cxn ang="0">
                  <a:pos x="279" y="350"/>
                </a:cxn>
                <a:cxn ang="0">
                  <a:pos x="239" y="353"/>
                </a:cxn>
                <a:cxn ang="0">
                  <a:pos x="208" y="353"/>
                </a:cxn>
                <a:cxn ang="0">
                  <a:pos x="165" y="350"/>
                </a:cxn>
                <a:cxn ang="0">
                  <a:pos x="148" y="339"/>
                </a:cxn>
                <a:cxn ang="0">
                  <a:pos x="135" y="326"/>
                </a:cxn>
                <a:cxn ang="0">
                  <a:pos x="128" y="319"/>
                </a:cxn>
                <a:cxn ang="0">
                  <a:pos x="121" y="309"/>
                </a:cxn>
                <a:cxn ang="0">
                  <a:pos x="118" y="299"/>
                </a:cxn>
                <a:cxn ang="0">
                  <a:pos x="98" y="302"/>
                </a:cxn>
                <a:cxn ang="0">
                  <a:pos x="94" y="302"/>
                </a:cxn>
                <a:cxn ang="0">
                  <a:pos x="77" y="289"/>
                </a:cxn>
                <a:cxn ang="0">
                  <a:pos x="64" y="279"/>
                </a:cxn>
                <a:cxn ang="0">
                  <a:pos x="64" y="272"/>
                </a:cxn>
                <a:cxn ang="0">
                  <a:pos x="64" y="255"/>
                </a:cxn>
                <a:cxn ang="0">
                  <a:pos x="40" y="235"/>
                </a:cxn>
                <a:cxn ang="0">
                  <a:pos x="27" y="215"/>
                </a:cxn>
                <a:cxn ang="0">
                  <a:pos x="20" y="205"/>
                </a:cxn>
                <a:cxn ang="0">
                  <a:pos x="0" y="175"/>
                </a:cxn>
                <a:cxn ang="0">
                  <a:pos x="30" y="168"/>
                </a:cxn>
                <a:cxn ang="0">
                  <a:pos x="44" y="155"/>
                </a:cxn>
                <a:cxn ang="0">
                  <a:pos x="47" y="138"/>
                </a:cxn>
                <a:cxn ang="0">
                  <a:pos x="61" y="121"/>
                </a:cxn>
                <a:cxn ang="0">
                  <a:pos x="74" y="97"/>
                </a:cxn>
                <a:cxn ang="0">
                  <a:pos x="87" y="87"/>
                </a:cxn>
                <a:cxn ang="0">
                  <a:pos x="108" y="60"/>
                </a:cxn>
                <a:cxn ang="0">
                  <a:pos x="128" y="47"/>
                </a:cxn>
                <a:cxn ang="0">
                  <a:pos x="148" y="40"/>
                </a:cxn>
                <a:cxn ang="0">
                  <a:pos x="155" y="37"/>
                </a:cxn>
                <a:cxn ang="0">
                  <a:pos x="175" y="40"/>
                </a:cxn>
                <a:cxn ang="0">
                  <a:pos x="202" y="40"/>
                </a:cxn>
                <a:cxn ang="0">
                  <a:pos x="232" y="40"/>
                </a:cxn>
                <a:cxn ang="0">
                  <a:pos x="242" y="47"/>
                </a:cxn>
                <a:cxn ang="0">
                  <a:pos x="256" y="50"/>
                </a:cxn>
                <a:cxn ang="0">
                  <a:pos x="272" y="34"/>
                </a:cxn>
                <a:cxn ang="0">
                  <a:pos x="303" y="20"/>
                </a:cxn>
                <a:cxn ang="0">
                  <a:pos x="319" y="0"/>
                </a:cxn>
              </a:cxnLst>
              <a:rect l="0" t="0" r="r" b="b"/>
              <a:pathLst>
                <a:path w="491" h="356">
                  <a:moveTo>
                    <a:pt x="319" y="0"/>
                  </a:moveTo>
                  <a:lnTo>
                    <a:pt x="319" y="0"/>
                  </a:lnTo>
                  <a:lnTo>
                    <a:pt x="323" y="0"/>
                  </a:lnTo>
                  <a:lnTo>
                    <a:pt x="326" y="0"/>
                  </a:lnTo>
                  <a:lnTo>
                    <a:pt x="326" y="7"/>
                  </a:lnTo>
                  <a:lnTo>
                    <a:pt x="326" y="7"/>
                  </a:lnTo>
                  <a:lnTo>
                    <a:pt x="329" y="10"/>
                  </a:lnTo>
                  <a:lnTo>
                    <a:pt x="333" y="13"/>
                  </a:lnTo>
                  <a:lnTo>
                    <a:pt x="336" y="17"/>
                  </a:lnTo>
                  <a:lnTo>
                    <a:pt x="340" y="24"/>
                  </a:lnTo>
                  <a:lnTo>
                    <a:pt x="340" y="24"/>
                  </a:lnTo>
                  <a:lnTo>
                    <a:pt x="340" y="27"/>
                  </a:lnTo>
                  <a:lnTo>
                    <a:pt x="343" y="30"/>
                  </a:lnTo>
                  <a:lnTo>
                    <a:pt x="343" y="34"/>
                  </a:lnTo>
                  <a:lnTo>
                    <a:pt x="346" y="37"/>
                  </a:lnTo>
                  <a:lnTo>
                    <a:pt x="346" y="37"/>
                  </a:lnTo>
                  <a:lnTo>
                    <a:pt x="346" y="44"/>
                  </a:lnTo>
                  <a:lnTo>
                    <a:pt x="346" y="47"/>
                  </a:lnTo>
                  <a:lnTo>
                    <a:pt x="353" y="50"/>
                  </a:lnTo>
                  <a:lnTo>
                    <a:pt x="353" y="50"/>
                  </a:lnTo>
                  <a:lnTo>
                    <a:pt x="356" y="60"/>
                  </a:lnTo>
                  <a:lnTo>
                    <a:pt x="360" y="67"/>
                  </a:lnTo>
                  <a:lnTo>
                    <a:pt x="360" y="67"/>
                  </a:lnTo>
                  <a:lnTo>
                    <a:pt x="366" y="74"/>
                  </a:lnTo>
                  <a:lnTo>
                    <a:pt x="373" y="77"/>
                  </a:lnTo>
                  <a:lnTo>
                    <a:pt x="373" y="77"/>
                  </a:lnTo>
                  <a:lnTo>
                    <a:pt x="387" y="84"/>
                  </a:lnTo>
                  <a:lnTo>
                    <a:pt x="387" y="84"/>
                  </a:lnTo>
                  <a:lnTo>
                    <a:pt x="393" y="91"/>
                  </a:lnTo>
                  <a:lnTo>
                    <a:pt x="397" y="94"/>
                  </a:lnTo>
                  <a:lnTo>
                    <a:pt x="397" y="94"/>
                  </a:lnTo>
                  <a:lnTo>
                    <a:pt x="400" y="108"/>
                  </a:lnTo>
                  <a:lnTo>
                    <a:pt x="400" y="108"/>
                  </a:lnTo>
                  <a:lnTo>
                    <a:pt x="400" y="114"/>
                  </a:lnTo>
                  <a:lnTo>
                    <a:pt x="403" y="121"/>
                  </a:lnTo>
                  <a:lnTo>
                    <a:pt x="403" y="121"/>
                  </a:lnTo>
                  <a:lnTo>
                    <a:pt x="407" y="131"/>
                  </a:lnTo>
                  <a:lnTo>
                    <a:pt x="407" y="131"/>
                  </a:lnTo>
                  <a:lnTo>
                    <a:pt x="407" y="141"/>
                  </a:lnTo>
                  <a:lnTo>
                    <a:pt x="407" y="141"/>
                  </a:lnTo>
                  <a:lnTo>
                    <a:pt x="407" y="148"/>
                  </a:lnTo>
                  <a:lnTo>
                    <a:pt x="407" y="155"/>
                  </a:lnTo>
                  <a:lnTo>
                    <a:pt x="407" y="155"/>
                  </a:lnTo>
                  <a:lnTo>
                    <a:pt x="407" y="161"/>
                  </a:lnTo>
                  <a:lnTo>
                    <a:pt x="407" y="168"/>
                  </a:lnTo>
                  <a:lnTo>
                    <a:pt x="407" y="168"/>
                  </a:lnTo>
                  <a:lnTo>
                    <a:pt x="407" y="178"/>
                  </a:lnTo>
                  <a:lnTo>
                    <a:pt x="410" y="181"/>
                  </a:lnTo>
                  <a:lnTo>
                    <a:pt x="410" y="181"/>
                  </a:lnTo>
                  <a:lnTo>
                    <a:pt x="407" y="185"/>
                  </a:lnTo>
                  <a:lnTo>
                    <a:pt x="407" y="185"/>
                  </a:lnTo>
                  <a:lnTo>
                    <a:pt x="403" y="185"/>
                  </a:lnTo>
                  <a:lnTo>
                    <a:pt x="403" y="185"/>
                  </a:lnTo>
                  <a:lnTo>
                    <a:pt x="407" y="202"/>
                  </a:lnTo>
                  <a:lnTo>
                    <a:pt x="407" y="202"/>
                  </a:lnTo>
                  <a:lnTo>
                    <a:pt x="413" y="205"/>
                  </a:lnTo>
                  <a:lnTo>
                    <a:pt x="413" y="205"/>
                  </a:lnTo>
                  <a:lnTo>
                    <a:pt x="417" y="212"/>
                  </a:lnTo>
                  <a:lnTo>
                    <a:pt x="420" y="212"/>
                  </a:lnTo>
                  <a:lnTo>
                    <a:pt x="420" y="212"/>
                  </a:lnTo>
                  <a:lnTo>
                    <a:pt x="430" y="212"/>
                  </a:lnTo>
                  <a:lnTo>
                    <a:pt x="430" y="212"/>
                  </a:lnTo>
                  <a:lnTo>
                    <a:pt x="437" y="215"/>
                  </a:lnTo>
                  <a:lnTo>
                    <a:pt x="440" y="218"/>
                  </a:lnTo>
                  <a:lnTo>
                    <a:pt x="440" y="215"/>
                  </a:lnTo>
                  <a:lnTo>
                    <a:pt x="440" y="215"/>
                  </a:lnTo>
                  <a:lnTo>
                    <a:pt x="440" y="212"/>
                  </a:lnTo>
                  <a:lnTo>
                    <a:pt x="440" y="212"/>
                  </a:lnTo>
                  <a:lnTo>
                    <a:pt x="444" y="212"/>
                  </a:lnTo>
                  <a:lnTo>
                    <a:pt x="444" y="212"/>
                  </a:lnTo>
                  <a:lnTo>
                    <a:pt x="447" y="212"/>
                  </a:lnTo>
                  <a:lnTo>
                    <a:pt x="447" y="212"/>
                  </a:lnTo>
                  <a:lnTo>
                    <a:pt x="450" y="208"/>
                  </a:lnTo>
                  <a:lnTo>
                    <a:pt x="450" y="208"/>
                  </a:lnTo>
                  <a:lnTo>
                    <a:pt x="454" y="205"/>
                  </a:lnTo>
                  <a:lnTo>
                    <a:pt x="457" y="202"/>
                  </a:lnTo>
                  <a:lnTo>
                    <a:pt x="457" y="202"/>
                  </a:lnTo>
                  <a:lnTo>
                    <a:pt x="467" y="202"/>
                  </a:lnTo>
                  <a:lnTo>
                    <a:pt x="467" y="202"/>
                  </a:lnTo>
                  <a:lnTo>
                    <a:pt x="477" y="202"/>
                  </a:lnTo>
                  <a:lnTo>
                    <a:pt x="477" y="202"/>
                  </a:lnTo>
                  <a:lnTo>
                    <a:pt x="484" y="205"/>
                  </a:lnTo>
                  <a:lnTo>
                    <a:pt x="491" y="208"/>
                  </a:lnTo>
                  <a:lnTo>
                    <a:pt x="487" y="212"/>
                  </a:lnTo>
                  <a:lnTo>
                    <a:pt x="487" y="212"/>
                  </a:lnTo>
                  <a:lnTo>
                    <a:pt x="491" y="242"/>
                  </a:lnTo>
                  <a:lnTo>
                    <a:pt x="491" y="242"/>
                  </a:lnTo>
                  <a:lnTo>
                    <a:pt x="484" y="245"/>
                  </a:lnTo>
                  <a:lnTo>
                    <a:pt x="484" y="245"/>
                  </a:lnTo>
                  <a:lnTo>
                    <a:pt x="477" y="245"/>
                  </a:lnTo>
                  <a:lnTo>
                    <a:pt x="474" y="245"/>
                  </a:lnTo>
                  <a:lnTo>
                    <a:pt x="464" y="249"/>
                  </a:lnTo>
                  <a:lnTo>
                    <a:pt x="464" y="249"/>
                  </a:lnTo>
                  <a:lnTo>
                    <a:pt x="461" y="242"/>
                  </a:lnTo>
                  <a:lnTo>
                    <a:pt x="457" y="242"/>
                  </a:lnTo>
                  <a:lnTo>
                    <a:pt x="457" y="242"/>
                  </a:lnTo>
                  <a:lnTo>
                    <a:pt x="457" y="232"/>
                  </a:lnTo>
                  <a:lnTo>
                    <a:pt x="457" y="232"/>
                  </a:lnTo>
                  <a:lnTo>
                    <a:pt x="454" y="235"/>
                  </a:lnTo>
                  <a:lnTo>
                    <a:pt x="450" y="235"/>
                  </a:lnTo>
                  <a:lnTo>
                    <a:pt x="450" y="235"/>
                  </a:lnTo>
                  <a:lnTo>
                    <a:pt x="450" y="242"/>
                  </a:lnTo>
                  <a:lnTo>
                    <a:pt x="450" y="242"/>
                  </a:lnTo>
                  <a:lnTo>
                    <a:pt x="450" y="239"/>
                  </a:lnTo>
                  <a:lnTo>
                    <a:pt x="450" y="242"/>
                  </a:lnTo>
                  <a:lnTo>
                    <a:pt x="447" y="242"/>
                  </a:lnTo>
                  <a:lnTo>
                    <a:pt x="447" y="242"/>
                  </a:lnTo>
                  <a:lnTo>
                    <a:pt x="454" y="249"/>
                  </a:lnTo>
                  <a:lnTo>
                    <a:pt x="454" y="249"/>
                  </a:lnTo>
                  <a:lnTo>
                    <a:pt x="454" y="252"/>
                  </a:lnTo>
                  <a:lnTo>
                    <a:pt x="454" y="255"/>
                  </a:lnTo>
                  <a:lnTo>
                    <a:pt x="457" y="255"/>
                  </a:lnTo>
                  <a:lnTo>
                    <a:pt x="457" y="255"/>
                  </a:lnTo>
                  <a:lnTo>
                    <a:pt x="461" y="249"/>
                  </a:lnTo>
                  <a:lnTo>
                    <a:pt x="461" y="249"/>
                  </a:lnTo>
                  <a:lnTo>
                    <a:pt x="461" y="259"/>
                  </a:lnTo>
                  <a:lnTo>
                    <a:pt x="461" y="259"/>
                  </a:lnTo>
                  <a:lnTo>
                    <a:pt x="457" y="262"/>
                  </a:lnTo>
                  <a:lnTo>
                    <a:pt x="457" y="265"/>
                  </a:lnTo>
                  <a:lnTo>
                    <a:pt x="461" y="265"/>
                  </a:lnTo>
                  <a:lnTo>
                    <a:pt x="457" y="272"/>
                  </a:lnTo>
                  <a:lnTo>
                    <a:pt x="457" y="272"/>
                  </a:lnTo>
                  <a:lnTo>
                    <a:pt x="450" y="279"/>
                  </a:lnTo>
                  <a:lnTo>
                    <a:pt x="447" y="282"/>
                  </a:lnTo>
                  <a:lnTo>
                    <a:pt x="444" y="286"/>
                  </a:lnTo>
                  <a:lnTo>
                    <a:pt x="444" y="286"/>
                  </a:lnTo>
                  <a:lnTo>
                    <a:pt x="444" y="299"/>
                  </a:lnTo>
                  <a:lnTo>
                    <a:pt x="447" y="313"/>
                  </a:lnTo>
                  <a:lnTo>
                    <a:pt x="447" y="313"/>
                  </a:lnTo>
                  <a:lnTo>
                    <a:pt x="444" y="313"/>
                  </a:lnTo>
                  <a:lnTo>
                    <a:pt x="437" y="313"/>
                  </a:lnTo>
                  <a:lnTo>
                    <a:pt x="437" y="313"/>
                  </a:lnTo>
                  <a:lnTo>
                    <a:pt x="434" y="316"/>
                  </a:lnTo>
                  <a:lnTo>
                    <a:pt x="427" y="319"/>
                  </a:lnTo>
                  <a:lnTo>
                    <a:pt x="427" y="319"/>
                  </a:lnTo>
                  <a:lnTo>
                    <a:pt x="424" y="316"/>
                  </a:lnTo>
                  <a:lnTo>
                    <a:pt x="417" y="313"/>
                  </a:lnTo>
                  <a:lnTo>
                    <a:pt x="413" y="302"/>
                  </a:lnTo>
                  <a:lnTo>
                    <a:pt x="413" y="302"/>
                  </a:lnTo>
                  <a:lnTo>
                    <a:pt x="410" y="306"/>
                  </a:lnTo>
                  <a:lnTo>
                    <a:pt x="410" y="309"/>
                  </a:lnTo>
                  <a:lnTo>
                    <a:pt x="407" y="313"/>
                  </a:lnTo>
                  <a:lnTo>
                    <a:pt x="403" y="309"/>
                  </a:lnTo>
                  <a:lnTo>
                    <a:pt x="403" y="309"/>
                  </a:lnTo>
                  <a:lnTo>
                    <a:pt x="403" y="306"/>
                  </a:lnTo>
                  <a:lnTo>
                    <a:pt x="400" y="306"/>
                  </a:lnTo>
                  <a:lnTo>
                    <a:pt x="397" y="306"/>
                  </a:lnTo>
                  <a:lnTo>
                    <a:pt x="393" y="309"/>
                  </a:lnTo>
                  <a:lnTo>
                    <a:pt x="393" y="309"/>
                  </a:lnTo>
                  <a:lnTo>
                    <a:pt x="387" y="309"/>
                  </a:lnTo>
                  <a:lnTo>
                    <a:pt x="383" y="306"/>
                  </a:lnTo>
                  <a:lnTo>
                    <a:pt x="373" y="299"/>
                  </a:lnTo>
                  <a:lnTo>
                    <a:pt x="373" y="299"/>
                  </a:lnTo>
                  <a:lnTo>
                    <a:pt x="366" y="299"/>
                  </a:lnTo>
                  <a:lnTo>
                    <a:pt x="360" y="302"/>
                  </a:lnTo>
                  <a:lnTo>
                    <a:pt x="343" y="306"/>
                  </a:lnTo>
                  <a:lnTo>
                    <a:pt x="343" y="306"/>
                  </a:lnTo>
                  <a:lnTo>
                    <a:pt x="336" y="309"/>
                  </a:lnTo>
                  <a:lnTo>
                    <a:pt x="329" y="316"/>
                  </a:lnTo>
                  <a:lnTo>
                    <a:pt x="329" y="316"/>
                  </a:lnTo>
                  <a:lnTo>
                    <a:pt x="323" y="323"/>
                  </a:lnTo>
                  <a:lnTo>
                    <a:pt x="316" y="326"/>
                  </a:lnTo>
                  <a:lnTo>
                    <a:pt x="316" y="326"/>
                  </a:lnTo>
                  <a:lnTo>
                    <a:pt x="313" y="329"/>
                  </a:lnTo>
                  <a:lnTo>
                    <a:pt x="309" y="333"/>
                  </a:lnTo>
                  <a:lnTo>
                    <a:pt x="309" y="336"/>
                  </a:lnTo>
                  <a:lnTo>
                    <a:pt x="309" y="336"/>
                  </a:lnTo>
                  <a:lnTo>
                    <a:pt x="309" y="339"/>
                  </a:lnTo>
                  <a:lnTo>
                    <a:pt x="303" y="343"/>
                  </a:lnTo>
                  <a:lnTo>
                    <a:pt x="303" y="343"/>
                  </a:lnTo>
                  <a:lnTo>
                    <a:pt x="296" y="346"/>
                  </a:lnTo>
                  <a:lnTo>
                    <a:pt x="289" y="350"/>
                  </a:lnTo>
                  <a:lnTo>
                    <a:pt x="289" y="350"/>
                  </a:lnTo>
                  <a:lnTo>
                    <a:pt x="279" y="350"/>
                  </a:lnTo>
                  <a:lnTo>
                    <a:pt x="279" y="350"/>
                  </a:lnTo>
                  <a:lnTo>
                    <a:pt x="269" y="350"/>
                  </a:lnTo>
                  <a:lnTo>
                    <a:pt x="262" y="353"/>
                  </a:lnTo>
                  <a:lnTo>
                    <a:pt x="262" y="353"/>
                  </a:lnTo>
                  <a:lnTo>
                    <a:pt x="256" y="353"/>
                  </a:lnTo>
                  <a:lnTo>
                    <a:pt x="249" y="353"/>
                  </a:lnTo>
                  <a:lnTo>
                    <a:pt x="249" y="353"/>
                  </a:lnTo>
                  <a:lnTo>
                    <a:pt x="239" y="353"/>
                  </a:lnTo>
                  <a:lnTo>
                    <a:pt x="239" y="353"/>
                  </a:lnTo>
                  <a:lnTo>
                    <a:pt x="232" y="353"/>
                  </a:lnTo>
                  <a:lnTo>
                    <a:pt x="222" y="356"/>
                  </a:lnTo>
                  <a:lnTo>
                    <a:pt x="222" y="356"/>
                  </a:lnTo>
                  <a:lnTo>
                    <a:pt x="215" y="353"/>
                  </a:lnTo>
                  <a:lnTo>
                    <a:pt x="208" y="353"/>
                  </a:lnTo>
                  <a:lnTo>
                    <a:pt x="208" y="353"/>
                  </a:lnTo>
                  <a:lnTo>
                    <a:pt x="202" y="350"/>
                  </a:lnTo>
                  <a:lnTo>
                    <a:pt x="195" y="350"/>
                  </a:lnTo>
                  <a:lnTo>
                    <a:pt x="195" y="350"/>
                  </a:lnTo>
                  <a:lnTo>
                    <a:pt x="188" y="350"/>
                  </a:lnTo>
                  <a:lnTo>
                    <a:pt x="178" y="350"/>
                  </a:lnTo>
                  <a:lnTo>
                    <a:pt x="178" y="350"/>
                  </a:lnTo>
                  <a:lnTo>
                    <a:pt x="165" y="350"/>
                  </a:lnTo>
                  <a:lnTo>
                    <a:pt x="165" y="350"/>
                  </a:lnTo>
                  <a:lnTo>
                    <a:pt x="155" y="353"/>
                  </a:lnTo>
                  <a:lnTo>
                    <a:pt x="148" y="353"/>
                  </a:lnTo>
                  <a:lnTo>
                    <a:pt x="148" y="350"/>
                  </a:lnTo>
                  <a:lnTo>
                    <a:pt x="148" y="350"/>
                  </a:lnTo>
                  <a:lnTo>
                    <a:pt x="145" y="343"/>
                  </a:lnTo>
                  <a:lnTo>
                    <a:pt x="148" y="339"/>
                  </a:lnTo>
                  <a:lnTo>
                    <a:pt x="148" y="339"/>
                  </a:lnTo>
                  <a:lnTo>
                    <a:pt x="155" y="336"/>
                  </a:lnTo>
                  <a:lnTo>
                    <a:pt x="155" y="336"/>
                  </a:lnTo>
                  <a:lnTo>
                    <a:pt x="151" y="336"/>
                  </a:lnTo>
                  <a:lnTo>
                    <a:pt x="151" y="336"/>
                  </a:lnTo>
                  <a:lnTo>
                    <a:pt x="141" y="333"/>
                  </a:lnTo>
                  <a:lnTo>
                    <a:pt x="135" y="326"/>
                  </a:lnTo>
                  <a:lnTo>
                    <a:pt x="135" y="326"/>
                  </a:lnTo>
                  <a:lnTo>
                    <a:pt x="135" y="326"/>
                  </a:lnTo>
                  <a:lnTo>
                    <a:pt x="135" y="323"/>
                  </a:lnTo>
                  <a:lnTo>
                    <a:pt x="135" y="319"/>
                  </a:lnTo>
                  <a:lnTo>
                    <a:pt x="131" y="319"/>
                  </a:lnTo>
                  <a:lnTo>
                    <a:pt x="131" y="319"/>
                  </a:lnTo>
                  <a:lnTo>
                    <a:pt x="128" y="319"/>
                  </a:lnTo>
                  <a:lnTo>
                    <a:pt x="124" y="316"/>
                  </a:lnTo>
                  <a:lnTo>
                    <a:pt x="124" y="316"/>
                  </a:lnTo>
                  <a:lnTo>
                    <a:pt x="118" y="316"/>
                  </a:lnTo>
                  <a:lnTo>
                    <a:pt x="118" y="313"/>
                  </a:lnTo>
                  <a:lnTo>
                    <a:pt x="118" y="309"/>
                  </a:lnTo>
                  <a:lnTo>
                    <a:pt x="118" y="309"/>
                  </a:lnTo>
                  <a:lnTo>
                    <a:pt x="121" y="309"/>
                  </a:lnTo>
                  <a:lnTo>
                    <a:pt x="121" y="309"/>
                  </a:lnTo>
                  <a:lnTo>
                    <a:pt x="124" y="309"/>
                  </a:lnTo>
                  <a:lnTo>
                    <a:pt x="124" y="306"/>
                  </a:lnTo>
                  <a:lnTo>
                    <a:pt x="124" y="306"/>
                  </a:lnTo>
                  <a:lnTo>
                    <a:pt x="124" y="302"/>
                  </a:lnTo>
                  <a:lnTo>
                    <a:pt x="118" y="299"/>
                  </a:lnTo>
                  <a:lnTo>
                    <a:pt x="118" y="299"/>
                  </a:lnTo>
                  <a:lnTo>
                    <a:pt x="114" y="292"/>
                  </a:lnTo>
                  <a:lnTo>
                    <a:pt x="111" y="289"/>
                  </a:lnTo>
                  <a:lnTo>
                    <a:pt x="111" y="289"/>
                  </a:lnTo>
                  <a:lnTo>
                    <a:pt x="104" y="292"/>
                  </a:lnTo>
                  <a:lnTo>
                    <a:pt x="101" y="299"/>
                  </a:lnTo>
                  <a:lnTo>
                    <a:pt x="101" y="299"/>
                  </a:lnTo>
                  <a:lnTo>
                    <a:pt x="98" y="302"/>
                  </a:lnTo>
                  <a:lnTo>
                    <a:pt x="98" y="306"/>
                  </a:lnTo>
                  <a:lnTo>
                    <a:pt x="98" y="309"/>
                  </a:lnTo>
                  <a:lnTo>
                    <a:pt x="98" y="309"/>
                  </a:lnTo>
                  <a:lnTo>
                    <a:pt x="98" y="313"/>
                  </a:lnTo>
                  <a:lnTo>
                    <a:pt x="94" y="309"/>
                  </a:lnTo>
                  <a:lnTo>
                    <a:pt x="94" y="302"/>
                  </a:lnTo>
                  <a:lnTo>
                    <a:pt x="94" y="302"/>
                  </a:lnTo>
                  <a:lnTo>
                    <a:pt x="91" y="299"/>
                  </a:lnTo>
                  <a:lnTo>
                    <a:pt x="91" y="299"/>
                  </a:lnTo>
                  <a:lnTo>
                    <a:pt x="91" y="299"/>
                  </a:lnTo>
                  <a:lnTo>
                    <a:pt x="87" y="296"/>
                  </a:lnTo>
                  <a:lnTo>
                    <a:pt x="81" y="292"/>
                  </a:lnTo>
                  <a:lnTo>
                    <a:pt x="81" y="292"/>
                  </a:lnTo>
                  <a:lnTo>
                    <a:pt x="77" y="289"/>
                  </a:lnTo>
                  <a:lnTo>
                    <a:pt x="74" y="286"/>
                  </a:lnTo>
                  <a:lnTo>
                    <a:pt x="74" y="286"/>
                  </a:lnTo>
                  <a:lnTo>
                    <a:pt x="71" y="289"/>
                  </a:lnTo>
                  <a:lnTo>
                    <a:pt x="67" y="286"/>
                  </a:lnTo>
                  <a:lnTo>
                    <a:pt x="67" y="286"/>
                  </a:lnTo>
                  <a:lnTo>
                    <a:pt x="64" y="286"/>
                  </a:lnTo>
                  <a:lnTo>
                    <a:pt x="64" y="279"/>
                  </a:lnTo>
                  <a:lnTo>
                    <a:pt x="64" y="279"/>
                  </a:lnTo>
                  <a:lnTo>
                    <a:pt x="67" y="279"/>
                  </a:lnTo>
                  <a:lnTo>
                    <a:pt x="71" y="276"/>
                  </a:lnTo>
                  <a:lnTo>
                    <a:pt x="74" y="272"/>
                  </a:lnTo>
                  <a:lnTo>
                    <a:pt x="74" y="272"/>
                  </a:lnTo>
                  <a:lnTo>
                    <a:pt x="67" y="272"/>
                  </a:lnTo>
                  <a:lnTo>
                    <a:pt x="64" y="272"/>
                  </a:lnTo>
                  <a:lnTo>
                    <a:pt x="64" y="272"/>
                  </a:lnTo>
                  <a:lnTo>
                    <a:pt x="67" y="269"/>
                  </a:lnTo>
                  <a:lnTo>
                    <a:pt x="71" y="265"/>
                  </a:lnTo>
                  <a:lnTo>
                    <a:pt x="71" y="265"/>
                  </a:lnTo>
                  <a:lnTo>
                    <a:pt x="64" y="259"/>
                  </a:lnTo>
                  <a:lnTo>
                    <a:pt x="64" y="259"/>
                  </a:lnTo>
                  <a:lnTo>
                    <a:pt x="64" y="255"/>
                  </a:lnTo>
                  <a:lnTo>
                    <a:pt x="61" y="252"/>
                  </a:lnTo>
                  <a:lnTo>
                    <a:pt x="61" y="252"/>
                  </a:lnTo>
                  <a:lnTo>
                    <a:pt x="61" y="252"/>
                  </a:lnTo>
                  <a:lnTo>
                    <a:pt x="54" y="249"/>
                  </a:lnTo>
                  <a:lnTo>
                    <a:pt x="51" y="245"/>
                  </a:lnTo>
                  <a:lnTo>
                    <a:pt x="51" y="245"/>
                  </a:lnTo>
                  <a:lnTo>
                    <a:pt x="40" y="235"/>
                  </a:lnTo>
                  <a:lnTo>
                    <a:pt x="40" y="235"/>
                  </a:lnTo>
                  <a:lnTo>
                    <a:pt x="37" y="229"/>
                  </a:lnTo>
                  <a:lnTo>
                    <a:pt x="37" y="229"/>
                  </a:lnTo>
                  <a:lnTo>
                    <a:pt x="30" y="225"/>
                  </a:lnTo>
                  <a:lnTo>
                    <a:pt x="30" y="222"/>
                  </a:lnTo>
                  <a:lnTo>
                    <a:pt x="27" y="215"/>
                  </a:lnTo>
                  <a:lnTo>
                    <a:pt x="27" y="215"/>
                  </a:lnTo>
                  <a:lnTo>
                    <a:pt x="27" y="205"/>
                  </a:lnTo>
                  <a:lnTo>
                    <a:pt x="27" y="202"/>
                  </a:lnTo>
                  <a:lnTo>
                    <a:pt x="27" y="202"/>
                  </a:lnTo>
                  <a:lnTo>
                    <a:pt x="24" y="202"/>
                  </a:lnTo>
                  <a:lnTo>
                    <a:pt x="24" y="205"/>
                  </a:lnTo>
                  <a:lnTo>
                    <a:pt x="24" y="205"/>
                  </a:lnTo>
                  <a:lnTo>
                    <a:pt x="20" y="205"/>
                  </a:lnTo>
                  <a:lnTo>
                    <a:pt x="17" y="202"/>
                  </a:lnTo>
                  <a:lnTo>
                    <a:pt x="17" y="195"/>
                  </a:lnTo>
                  <a:lnTo>
                    <a:pt x="17" y="195"/>
                  </a:lnTo>
                  <a:lnTo>
                    <a:pt x="10" y="192"/>
                  </a:lnTo>
                  <a:lnTo>
                    <a:pt x="7" y="188"/>
                  </a:lnTo>
                  <a:lnTo>
                    <a:pt x="7" y="188"/>
                  </a:lnTo>
                  <a:lnTo>
                    <a:pt x="0" y="175"/>
                  </a:lnTo>
                  <a:lnTo>
                    <a:pt x="7" y="175"/>
                  </a:lnTo>
                  <a:lnTo>
                    <a:pt x="7" y="175"/>
                  </a:lnTo>
                  <a:lnTo>
                    <a:pt x="14" y="175"/>
                  </a:lnTo>
                  <a:lnTo>
                    <a:pt x="17" y="171"/>
                  </a:lnTo>
                  <a:lnTo>
                    <a:pt x="17" y="171"/>
                  </a:lnTo>
                  <a:lnTo>
                    <a:pt x="24" y="171"/>
                  </a:lnTo>
                  <a:lnTo>
                    <a:pt x="30" y="168"/>
                  </a:lnTo>
                  <a:lnTo>
                    <a:pt x="34" y="161"/>
                  </a:lnTo>
                  <a:lnTo>
                    <a:pt x="34" y="161"/>
                  </a:lnTo>
                  <a:lnTo>
                    <a:pt x="34" y="158"/>
                  </a:lnTo>
                  <a:lnTo>
                    <a:pt x="37" y="158"/>
                  </a:lnTo>
                  <a:lnTo>
                    <a:pt x="40" y="158"/>
                  </a:lnTo>
                  <a:lnTo>
                    <a:pt x="44" y="155"/>
                  </a:lnTo>
                  <a:lnTo>
                    <a:pt x="44" y="155"/>
                  </a:lnTo>
                  <a:lnTo>
                    <a:pt x="47" y="148"/>
                  </a:lnTo>
                  <a:lnTo>
                    <a:pt x="47" y="148"/>
                  </a:lnTo>
                  <a:lnTo>
                    <a:pt x="51" y="148"/>
                  </a:lnTo>
                  <a:lnTo>
                    <a:pt x="54" y="145"/>
                  </a:lnTo>
                  <a:lnTo>
                    <a:pt x="54" y="145"/>
                  </a:lnTo>
                  <a:lnTo>
                    <a:pt x="51" y="141"/>
                  </a:lnTo>
                  <a:lnTo>
                    <a:pt x="47" y="138"/>
                  </a:lnTo>
                  <a:lnTo>
                    <a:pt x="47" y="138"/>
                  </a:lnTo>
                  <a:lnTo>
                    <a:pt x="51" y="131"/>
                  </a:lnTo>
                  <a:lnTo>
                    <a:pt x="51" y="131"/>
                  </a:lnTo>
                  <a:lnTo>
                    <a:pt x="51" y="128"/>
                  </a:lnTo>
                  <a:lnTo>
                    <a:pt x="57" y="124"/>
                  </a:lnTo>
                  <a:lnTo>
                    <a:pt x="57" y="124"/>
                  </a:lnTo>
                  <a:lnTo>
                    <a:pt x="61" y="121"/>
                  </a:lnTo>
                  <a:lnTo>
                    <a:pt x="61" y="121"/>
                  </a:lnTo>
                  <a:lnTo>
                    <a:pt x="61" y="118"/>
                  </a:lnTo>
                  <a:lnTo>
                    <a:pt x="61" y="118"/>
                  </a:lnTo>
                  <a:lnTo>
                    <a:pt x="64" y="111"/>
                  </a:lnTo>
                  <a:lnTo>
                    <a:pt x="71" y="108"/>
                  </a:lnTo>
                  <a:lnTo>
                    <a:pt x="71" y="108"/>
                  </a:lnTo>
                  <a:lnTo>
                    <a:pt x="74" y="97"/>
                  </a:lnTo>
                  <a:lnTo>
                    <a:pt x="77" y="91"/>
                  </a:lnTo>
                  <a:lnTo>
                    <a:pt x="77" y="91"/>
                  </a:lnTo>
                  <a:lnTo>
                    <a:pt x="81" y="87"/>
                  </a:lnTo>
                  <a:lnTo>
                    <a:pt x="81" y="87"/>
                  </a:lnTo>
                  <a:lnTo>
                    <a:pt x="84" y="87"/>
                  </a:lnTo>
                  <a:lnTo>
                    <a:pt x="84" y="87"/>
                  </a:lnTo>
                  <a:lnTo>
                    <a:pt x="87" y="87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1"/>
                  </a:lnTo>
                  <a:lnTo>
                    <a:pt x="84" y="81"/>
                  </a:lnTo>
                  <a:lnTo>
                    <a:pt x="101" y="67"/>
                  </a:lnTo>
                  <a:lnTo>
                    <a:pt x="101" y="67"/>
                  </a:lnTo>
                  <a:lnTo>
                    <a:pt x="108" y="60"/>
                  </a:lnTo>
                  <a:lnTo>
                    <a:pt x="114" y="57"/>
                  </a:lnTo>
                  <a:lnTo>
                    <a:pt x="121" y="57"/>
                  </a:lnTo>
                  <a:lnTo>
                    <a:pt x="121" y="57"/>
                  </a:lnTo>
                  <a:lnTo>
                    <a:pt x="124" y="54"/>
                  </a:lnTo>
                  <a:lnTo>
                    <a:pt x="124" y="54"/>
                  </a:lnTo>
                  <a:lnTo>
                    <a:pt x="124" y="50"/>
                  </a:lnTo>
                  <a:lnTo>
                    <a:pt x="128" y="47"/>
                  </a:lnTo>
                  <a:lnTo>
                    <a:pt x="128" y="47"/>
                  </a:lnTo>
                  <a:lnTo>
                    <a:pt x="131" y="44"/>
                  </a:lnTo>
                  <a:lnTo>
                    <a:pt x="135" y="40"/>
                  </a:lnTo>
                  <a:lnTo>
                    <a:pt x="135" y="40"/>
                  </a:lnTo>
                  <a:lnTo>
                    <a:pt x="141" y="40"/>
                  </a:lnTo>
                  <a:lnTo>
                    <a:pt x="145" y="40"/>
                  </a:lnTo>
                  <a:lnTo>
                    <a:pt x="148" y="40"/>
                  </a:lnTo>
                  <a:lnTo>
                    <a:pt x="148" y="40"/>
                  </a:lnTo>
                  <a:lnTo>
                    <a:pt x="148" y="37"/>
                  </a:lnTo>
                  <a:lnTo>
                    <a:pt x="151" y="34"/>
                  </a:lnTo>
                  <a:lnTo>
                    <a:pt x="151" y="34"/>
                  </a:lnTo>
                  <a:lnTo>
                    <a:pt x="155" y="30"/>
                  </a:lnTo>
                  <a:lnTo>
                    <a:pt x="155" y="34"/>
                  </a:lnTo>
                  <a:lnTo>
                    <a:pt x="155" y="37"/>
                  </a:lnTo>
                  <a:lnTo>
                    <a:pt x="155" y="37"/>
                  </a:lnTo>
                  <a:lnTo>
                    <a:pt x="158" y="40"/>
                  </a:lnTo>
                  <a:lnTo>
                    <a:pt x="161" y="40"/>
                  </a:lnTo>
                  <a:lnTo>
                    <a:pt x="175" y="44"/>
                  </a:lnTo>
                  <a:lnTo>
                    <a:pt x="175" y="44"/>
                  </a:lnTo>
                  <a:lnTo>
                    <a:pt x="175" y="44"/>
                  </a:lnTo>
                  <a:lnTo>
                    <a:pt x="175" y="40"/>
                  </a:lnTo>
                  <a:lnTo>
                    <a:pt x="178" y="40"/>
                  </a:lnTo>
                  <a:lnTo>
                    <a:pt x="182" y="40"/>
                  </a:lnTo>
                  <a:lnTo>
                    <a:pt x="182" y="40"/>
                  </a:lnTo>
                  <a:lnTo>
                    <a:pt x="188" y="44"/>
                  </a:lnTo>
                  <a:lnTo>
                    <a:pt x="188" y="44"/>
                  </a:lnTo>
                  <a:lnTo>
                    <a:pt x="195" y="44"/>
                  </a:lnTo>
                  <a:lnTo>
                    <a:pt x="202" y="40"/>
                  </a:lnTo>
                  <a:lnTo>
                    <a:pt x="202" y="40"/>
                  </a:lnTo>
                  <a:lnTo>
                    <a:pt x="208" y="44"/>
                  </a:lnTo>
                  <a:lnTo>
                    <a:pt x="215" y="44"/>
                  </a:lnTo>
                  <a:lnTo>
                    <a:pt x="215" y="44"/>
                  </a:lnTo>
                  <a:lnTo>
                    <a:pt x="222" y="40"/>
                  </a:lnTo>
                  <a:lnTo>
                    <a:pt x="232" y="40"/>
                  </a:lnTo>
                  <a:lnTo>
                    <a:pt x="232" y="40"/>
                  </a:lnTo>
                  <a:lnTo>
                    <a:pt x="232" y="40"/>
                  </a:lnTo>
                  <a:lnTo>
                    <a:pt x="232" y="40"/>
                  </a:lnTo>
                  <a:lnTo>
                    <a:pt x="235" y="44"/>
                  </a:lnTo>
                  <a:lnTo>
                    <a:pt x="235" y="44"/>
                  </a:lnTo>
                  <a:lnTo>
                    <a:pt x="235" y="44"/>
                  </a:lnTo>
                  <a:lnTo>
                    <a:pt x="239" y="44"/>
                  </a:lnTo>
                  <a:lnTo>
                    <a:pt x="242" y="47"/>
                  </a:lnTo>
                  <a:lnTo>
                    <a:pt x="242" y="50"/>
                  </a:lnTo>
                  <a:lnTo>
                    <a:pt x="242" y="50"/>
                  </a:lnTo>
                  <a:lnTo>
                    <a:pt x="249" y="47"/>
                  </a:lnTo>
                  <a:lnTo>
                    <a:pt x="249" y="47"/>
                  </a:lnTo>
                  <a:lnTo>
                    <a:pt x="252" y="50"/>
                  </a:lnTo>
                  <a:lnTo>
                    <a:pt x="252" y="50"/>
                  </a:lnTo>
                  <a:lnTo>
                    <a:pt x="256" y="50"/>
                  </a:lnTo>
                  <a:lnTo>
                    <a:pt x="256" y="50"/>
                  </a:lnTo>
                  <a:lnTo>
                    <a:pt x="266" y="47"/>
                  </a:lnTo>
                  <a:lnTo>
                    <a:pt x="266" y="47"/>
                  </a:lnTo>
                  <a:lnTo>
                    <a:pt x="266" y="44"/>
                  </a:lnTo>
                  <a:lnTo>
                    <a:pt x="269" y="40"/>
                  </a:lnTo>
                  <a:lnTo>
                    <a:pt x="272" y="34"/>
                  </a:lnTo>
                  <a:lnTo>
                    <a:pt x="272" y="34"/>
                  </a:lnTo>
                  <a:lnTo>
                    <a:pt x="279" y="30"/>
                  </a:lnTo>
                  <a:lnTo>
                    <a:pt x="286" y="27"/>
                  </a:lnTo>
                  <a:lnTo>
                    <a:pt x="286" y="27"/>
                  </a:lnTo>
                  <a:lnTo>
                    <a:pt x="296" y="24"/>
                  </a:lnTo>
                  <a:lnTo>
                    <a:pt x="296" y="24"/>
                  </a:lnTo>
                  <a:lnTo>
                    <a:pt x="299" y="20"/>
                  </a:lnTo>
                  <a:lnTo>
                    <a:pt x="303" y="20"/>
                  </a:lnTo>
                  <a:lnTo>
                    <a:pt x="306" y="17"/>
                  </a:lnTo>
                  <a:lnTo>
                    <a:pt x="306" y="17"/>
                  </a:lnTo>
                  <a:lnTo>
                    <a:pt x="306" y="7"/>
                  </a:lnTo>
                  <a:lnTo>
                    <a:pt x="306" y="7"/>
                  </a:lnTo>
                  <a:lnTo>
                    <a:pt x="313" y="3"/>
                  </a:lnTo>
                  <a:lnTo>
                    <a:pt x="319" y="0"/>
                  </a:lnTo>
                  <a:lnTo>
                    <a:pt x="319" y="0"/>
                  </a:lnTo>
                  <a:close/>
                </a:path>
              </a:pathLst>
            </a:custGeom>
            <a:solidFill>
              <a:srgbClr val="C0C0C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EYInterstate" pitchFamily="2" charset="0"/>
                <a:cs typeface="Arial" charset="0"/>
              </a:endParaRPr>
            </a:p>
          </p:txBody>
        </p:sp>
        <p:sp>
          <p:nvSpPr>
            <p:cNvPr id="25" name="Freeform 39"/>
            <p:cNvSpPr>
              <a:spLocks/>
            </p:cNvSpPr>
            <p:nvPr/>
          </p:nvSpPr>
          <p:spPr bwMode="auto">
            <a:xfrm>
              <a:off x="1682" y="2921"/>
              <a:ext cx="265" cy="346"/>
            </a:xfrm>
            <a:custGeom>
              <a:avLst/>
              <a:gdLst/>
              <a:ahLst/>
              <a:cxnLst>
                <a:cxn ang="0">
                  <a:pos x="33" y="229"/>
                </a:cxn>
                <a:cxn ang="0">
                  <a:pos x="43" y="219"/>
                </a:cxn>
                <a:cxn ang="0">
                  <a:pos x="47" y="232"/>
                </a:cxn>
                <a:cxn ang="0">
                  <a:pos x="40" y="236"/>
                </a:cxn>
                <a:cxn ang="0">
                  <a:pos x="33" y="232"/>
                </a:cxn>
                <a:cxn ang="0">
                  <a:pos x="27" y="242"/>
                </a:cxn>
                <a:cxn ang="0">
                  <a:pos x="43" y="249"/>
                </a:cxn>
                <a:cxn ang="0">
                  <a:pos x="33" y="276"/>
                </a:cxn>
                <a:cxn ang="0">
                  <a:pos x="37" y="283"/>
                </a:cxn>
                <a:cxn ang="0">
                  <a:pos x="33" y="293"/>
                </a:cxn>
                <a:cxn ang="0">
                  <a:pos x="27" y="309"/>
                </a:cxn>
                <a:cxn ang="0">
                  <a:pos x="13" y="326"/>
                </a:cxn>
                <a:cxn ang="0">
                  <a:pos x="0" y="350"/>
                </a:cxn>
                <a:cxn ang="0">
                  <a:pos x="53" y="370"/>
                </a:cxn>
                <a:cxn ang="0">
                  <a:pos x="90" y="350"/>
                </a:cxn>
                <a:cxn ang="0">
                  <a:pos x="97" y="336"/>
                </a:cxn>
                <a:cxn ang="0">
                  <a:pos x="117" y="313"/>
                </a:cxn>
                <a:cxn ang="0">
                  <a:pos x="141" y="303"/>
                </a:cxn>
                <a:cxn ang="0">
                  <a:pos x="131" y="299"/>
                </a:cxn>
                <a:cxn ang="0">
                  <a:pos x="124" y="279"/>
                </a:cxn>
                <a:cxn ang="0">
                  <a:pos x="131" y="266"/>
                </a:cxn>
                <a:cxn ang="0">
                  <a:pos x="144" y="256"/>
                </a:cxn>
                <a:cxn ang="0">
                  <a:pos x="161" y="246"/>
                </a:cxn>
                <a:cxn ang="0">
                  <a:pos x="154" y="236"/>
                </a:cxn>
                <a:cxn ang="0">
                  <a:pos x="151" y="229"/>
                </a:cxn>
                <a:cxn ang="0">
                  <a:pos x="148" y="215"/>
                </a:cxn>
                <a:cxn ang="0">
                  <a:pos x="141" y="199"/>
                </a:cxn>
                <a:cxn ang="0">
                  <a:pos x="144" y="199"/>
                </a:cxn>
                <a:cxn ang="0">
                  <a:pos x="168" y="205"/>
                </a:cxn>
                <a:cxn ang="0">
                  <a:pos x="191" y="178"/>
                </a:cxn>
                <a:cxn ang="0">
                  <a:pos x="191" y="141"/>
                </a:cxn>
                <a:cxn ang="0">
                  <a:pos x="215" y="135"/>
                </a:cxn>
                <a:cxn ang="0">
                  <a:pos x="238" y="115"/>
                </a:cxn>
                <a:cxn ang="0">
                  <a:pos x="262" y="94"/>
                </a:cxn>
                <a:cxn ang="0">
                  <a:pos x="248" y="64"/>
                </a:cxn>
                <a:cxn ang="0">
                  <a:pos x="235" y="44"/>
                </a:cxn>
                <a:cxn ang="0">
                  <a:pos x="215" y="37"/>
                </a:cxn>
                <a:cxn ang="0">
                  <a:pos x="205" y="41"/>
                </a:cxn>
                <a:cxn ang="0">
                  <a:pos x="188" y="34"/>
                </a:cxn>
                <a:cxn ang="0">
                  <a:pos x="178" y="31"/>
                </a:cxn>
                <a:cxn ang="0">
                  <a:pos x="171" y="24"/>
                </a:cxn>
                <a:cxn ang="0">
                  <a:pos x="161" y="20"/>
                </a:cxn>
                <a:cxn ang="0">
                  <a:pos x="158" y="14"/>
                </a:cxn>
                <a:cxn ang="0">
                  <a:pos x="161" y="4"/>
                </a:cxn>
                <a:cxn ang="0">
                  <a:pos x="141" y="0"/>
                </a:cxn>
                <a:cxn ang="0">
                  <a:pos x="124" y="7"/>
                </a:cxn>
                <a:cxn ang="0">
                  <a:pos x="121" y="31"/>
                </a:cxn>
                <a:cxn ang="0">
                  <a:pos x="114" y="57"/>
                </a:cxn>
                <a:cxn ang="0">
                  <a:pos x="111" y="74"/>
                </a:cxn>
                <a:cxn ang="0">
                  <a:pos x="101" y="115"/>
                </a:cxn>
                <a:cxn ang="0">
                  <a:pos x="87" y="135"/>
                </a:cxn>
                <a:cxn ang="0">
                  <a:pos x="67" y="158"/>
                </a:cxn>
                <a:cxn ang="0">
                  <a:pos x="60" y="168"/>
                </a:cxn>
                <a:cxn ang="0">
                  <a:pos x="53" y="175"/>
                </a:cxn>
                <a:cxn ang="0">
                  <a:pos x="37" y="185"/>
                </a:cxn>
                <a:cxn ang="0">
                  <a:pos x="20" y="205"/>
                </a:cxn>
                <a:cxn ang="0">
                  <a:pos x="27" y="232"/>
                </a:cxn>
              </a:cxnLst>
              <a:rect l="0" t="0" r="r" b="b"/>
              <a:pathLst>
                <a:path w="265" h="370">
                  <a:moveTo>
                    <a:pt x="27" y="232"/>
                  </a:moveTo>
                  <a:lnTo>
                    <a:pt x="27" y="232"/>
                  </a:lnTo>
                  <a:lnTo>
                    <a:pt x="33" y="229"/>
                  </a:lnTo>
                  <a:lnTo>
                    <a:pt x="33" y="229"/>
                  </a:lnTo>
                  <a:lnTo>
                    <a:pt x="37" y="225"/>
                  </a:lnTo>
                  <a:lnTo>
                    <a:pt x="37" y="225"/>
                  </a:lnTo>
                  <a:lnTo>
                    <a:pt x="43" y="219"/>
                  </a:lnTo>
                  <a:lnTo>
                    <a:pt x="43" y="219"/>
                  </a:lnTo>
                  <a:lnTo>
                    <a:pt x="50" y="225"/>
                  </a:lnTo>
                  <a:lnTo>
                    <a:pt x="50" y="229"/>
                  </a:lnTo>
                  <a:lnTo>
                    <a:pt x="47" y="232"/>
                  </a:lnTo>
                  <a:lnTo>
                    <a:pt x="47" y="232"/>
                  </a:lnTo>
                  <a:lnTo>
                    <a:pt x="40" y="232"/>
                  </a:lnTo>
                  <a:lnTo>
                    <a:pt x="40" y="232"/>
                  </a:lnTo>
                  <a:lnTo>
                    <a:pt x="40" y="232"/>
                  </a:lnTo>
                  <a:lnTo>
                    <a:pt x="40" y="236"/>
                  </a:lnTo>
                  <a:lnTo>
                    <a:pt x="37" y="236"/>
                  </a:lnTo>
                  <a:lnTo>
                    <a:pt x="37" y="236"/>
                  </a:lnTo>
                  <a:lnTo>
                    <a:pt x="33" y="236"/>
                  </a:lnTo>
                  <a:lnTo>
                    <a:pt x="33" y="232"/>
                  </a:lnTo>
                  <a:lnTo>
                    <a:pt x="33" y="232"/>
                  </a:lnTo>
                  <a:lnTo>
                    <a:pt x="27" y="236"/>
                  </a:lnTo>
                  <a:lnTo>
                    <a:pt x="27" y="236"/>
                  </a:lnTo>
                  <a:lnTo>
                    <a:pt x="27" y="242"/>
                  </a:lnTo>
                  <a:lnTo>
                    <a:pt x="27" y="249"/>
                  </a:lnTo>
                  <a:lnTo>
                    <a:pt x="27" y="249"/>
                  </a:lnTo>
                  <a:lnTo>
                    <a:pt x="43" y="249"/>
                  </a:lnTo>
                  <a:lnTo>
                    <a:pt x="43" y="249"/>
                  </a:lnTo>
                  <a:lnTo>
                    <a:pt x="43" y="262"/>
                  </a:lnTo>
                  <a:lnTo>
                    <a:pt x="40" y="272"/>
                  </a:lnTo>
                  <a:lnTo>
                    <a:pt x="40" y="272"/>
                  </a:lnTo>
                  <a:lnTo>
                    <a:pt x="33" y="276"/>
                  </a:lnTo>
                  <a:lnTo>
                    <a:pt x="33" y="276"/>
                  </a:lnTo>
                  <a:lnTo>
                    <a:pt x="37" y="279"/>
                  </a:lnTo>
                  <a:lnTo>
                    <a:pt x="37" y="283"/>
                  </a:lnTo>
                  <a:lnTo>
                    <a:pt x="37" y="283"/>
                  </a:lnTo>
                  <a:lnTo>
                    <a:pt x="30" y="286"/>
                  </a:lnTo>
                  <a:lnTo>
                    <a:pt x="30" y="286"/>
                  </a:lnTo>
                  <a:lnTo>
                    <a:pt x="33" y="289"/>
                  </a:lnTo>
                  <a:lnTo>
                    <a:pt x="33" y="293"/>
                  </a:lnTo>
                  <a:lnTo>
                    <a:pt x="33" y="293"/>
                  </a:lnTo>
                  <a:lnTo>
                    <a:pt x="27" y="299"/>
                  </a:lnTo>
                  <a:lnTo>
                    <a:pt x="27" y="299"/>
                  </a:lnTo>
                  <a:lnTo>
                    <a:pt x="27" y="309"/>
                  </a:lnTo>
                  <a:lnTo>
                    <a:pt x="27" y="313"/>
                  </a:lnTo>
                  <a:lnTo>
                    <a:pt x="23" y="320"/>
                  </a:lnTo>
                  <a:lnTo>
                    <a:pt x="23" y="320"/>
                  </a:lnTo>
                  <a:lnTo>
                    <a:pt x="13" y="326"/>
                  </a:lnTo>
                  <a:lnTo>
                    <a:pt x="0" y="336"/>
                  </a:lnTo>
                  <a:lnTo>
                    <a:pt x="0" y="336"/>
                  </a:lnTo>
                  <a:lnTo>
                    <a:pt x="0" y="350"/>
                  </a:lnTo>
                  <a:lnTo>
                    <a:pt x="0" y="350"/>
                  </a:lnTo>
                  <a:lnTo>
                    <a:pt x="17" y="350"/>
                  </a:lnTo>
                  <a:lnTo>
                    <a:pt x="30" y="353"/>
                  </a:lnTo>
                  <a:lnTo>
                    <a:pt x="40" y="360"/>
                  </a:lnTo>
                  <a:lnTo>
                    <a:pt x="53" y="370"/>
                  </a:lnTo>
                  <a:lnTo>
                    <a:pt x="53" y="370"/>
                  </a:lnTo>
                  <a:lnTo>
                    <a:pt x="67" y="367"/>
                  </a:lnTo>
                  <a:lnTo>
                    <a:pt x="87" y="367"/>
                  </a:lnTo>
                  <a:lnTo>
                    <a:pt x="90" y="350"/>
                  </a:lnTo>
                  <a:lnTo>
                    <a:pt x="90" y="350"/>
                  </a:lnTo>
                  <a:lnTo>
                    <a:pt x="90" y="346"/>
                  </a:lnTo>
                  <a:lnTo>
                    <a:pt x="97" y="336"/>
                  </a:lnTo>
                  <a:lnTo>
                    <a:pt x="97" y="336"/>
                  </a:lnTo>
                  <a:lnTo>
                    <a:pt x="104" y="330"/>
                  </a:lnTo>
                  <a:lnTo>
                    <a:pt x="107" y="323"/>
                  </a:lnTo>
                  <a:lnTo>
                    <a:pt x="114" y="320"/>
                  </a:lnTo>
                  <a:lnTo>
                    <a:pt x="117" y="313"/>
                  </a:lnTo>
                  <a:lnTo>
                    <a:pt x="124" y="309"/>
                  </a:lnTo>
                  <a:lnTo>
                    <a:pt x="134" y="309"/>
                  </a:lnTo>
                  <a:lnTo>
                    <a:pt x="134" y="309"/>
                  </a:lnTo>
                  <a:lnTo>
                    <a:pt x="141" y="303"/>
                  </a:lnTo>
                  <a:lnTo>
                    <a:pt x="141" y="299"/>
                  </a:lnTo>
                  <a:lnTo>
                    <a:pt x="138" y="299"/>
                  </a:lnTo>
                  <a:lnTo>
                    <a:pt x="138" y="299"/>
                  </a:lnTo>
                  <a:lnTo>
                    <a:pt x="131" y="299"/>
                  </a:lnTo>
                  <a:lnTo>
                    <a:pt x="127" y="296"/>
                  </a:lnTo>
                  <a:lnTo>
                    <a:pt x="127" y="289"/>
                  </a:lnTo>
                  <a:lnTo>
                    <a:pt x="127" y="289"/>
                  </a:lnTo>
                  <a:lnTo>
                    <a:pt x="124" y="279"/>
                  </a:lnTo>
                  <a:lnTo>
                    <a:pt x="127" y="272"/>
                  </a:lnTo>
                  <a:lnTo>
                    <a:pt x="127" y="272"/>
                  </a:lnTo>
                  <a:lnTo>
                    <a:pt x="131" y="266"/>
                  </a:lnTo>
                  <a:lnTo>
                    <a:pt x="131" y="266"/>
                  </a:lnTo>
                  <a:lnTo>
                    <a:pt x="134" y="262"/>
                  </a:lnTo>
                  <a:lnTo>
                    <a:pt x="138" y="262"/>
                  </a:lnTo>
                  <a:lnTo>
                    <a:pt x="138" y="262"/>
                  </a:lnTo>
                  <a:lnTo>
                    <a:pt x="144" y="256"/>
                  </a:lnTo>
                  <a:lnTo>
                    <a:pt x="151" y="256"/>
                  </a:lnTo>
                  <a:lnTo>
                    <a:pt x="151" y="256"/>
                  </a:lnTo>
                  <a:lnTo>
                    <a:pt x="154" y="252"/>
                  </a:lnTo>
                  <a:lnTo>
                    <a:pt x="161" y="246"/>
                  </a:lnTo>
                  <a:lnTo>
                    <a:pt x="161" y="242"/>
                  </a:lnTo>
                  <a:lnTo>
                    <a:pt x="161" y="242"/>
                  </a:lnTo>
                  <a:lnTo>
                    <a:pt x="158" y="236"/>
                  </a:lnTo>
                  <a:lnTo>
                    <a:pt x="154" y="236"/>
                  </a:lnTo>
                  <a:lnTo>
                    <a:pt x="148" y="236"/>
                  </a:lnTo>
                  <a:lnTo>
                    <a:pt x="151" y="232"/>
                  </a:lnTo>
                  <a:lnTo>
                    <a:pt x="151" y="232"/>
                  </a:lnTo>
                  <a:lnTo>
                    <a:pt x="151" y="229"/>
                  </a:lnTo>
                  <a:lnTo>
                    <a:pt x="151" y="225"/>
                  </a:lnTo>
                  <a:lnTo>
                    <a:pt x="148" y="222"/>
                  </a:lnTo>
                  <a:lnTo>
                    <a:pt x="148" y="215"/>
                  </a:lnTo>
                  <a:lnTo>
                    <a:pt x="148" y="215"/>
                  </a:lnTo>
                  <a:lnTo>
                    <a:pt x="148" y="209"/>
                  </a:lnTo>
                  <a:lnTo>
                    <a:pt x="144" y="202"/>
                  </a:lnTo>
                  <a:lnTo>
                    <a:pt x="144" y="202"/>
                  </a:lnTo>
                  <a:lnTo>
                    <a:pt x="141" y="199"/>
                  </a:lnTo>
                  <a:lnTo>
                    <a:pt x="138" y="199"/>
                  </a:lnTo>
                  <a:lnTo>
                    <a:pt x="141" y="195"/>
                  </a:lnTo>
                  <a:lnTo>
                    <a:pt x="141" y="195"/>
                  </a:lnTo>
                  <a:lnTo>
                    <a:pt x="144" y="199"/>
                  </a:lnTo>
                  <a:lnTo>
                    <a:pt x="154" y="199"/>
                  </a:lnTo>
                  <a:lnTo>
                    <a:pt x="158" y="202"/>
                  </a:lnTo>
                  <a:lnTo>
                    <a:pt x="161" y="205"/>
                  </a:lnTo>
                  <a:lnTo>
                    <a:pt x="168" y="205"/>
                  </a:lnTo>
                  <a:lnTo>
                    <a:pt x="178" y="205"/>
                  </a:lnTo>
                  <a:lnTo>
                    <a:pt x="185" y="202"/>
                  </a:lnTo>
                  <a:lnTo>
                    <a:pt x="188" y="188"/>
                  </a:lnTo>
                  <a:lnTo>
                    <a:pt x="191" y="178"/>
                  </a:lnTo>
                  <a:lnTo>
                    <a:pt x="195" y="172"/>
                  </a:lnTo>
                  <a:lnTo>
                    <a:pt x="191" y="162"/>
                  </a:lnTo>
                  <a:lnTo>
                    <a:pt x="191" y="152"/>
                  </a:lnTo>
                  <a:lnTo>
                    <a:pt x="191" y="141"/>
                  </a:lnTo>
                  <a:lnTo>
                    <a:pt x="198" y="145"/>
                  </a:lnTo>
                  <a:lnTo>
                    <a:pt x="205" y="148"/>
                  </a:lnTo>
                  <a:lnTo>
                    <a:pt x="211" y="141"/>
                  </a:lnTo>
                  <a:lnTo>
                    <a:pt x="215" y="135"/>
                  </a:lnTo>
                  <a:lnTo>
                    <a:pt x="218" y="135"/>
                  </a:lnTo>
                  <a:lnTo>
                    <a:pt x="222" y="131"/>
                  </a:lnTo>
                  <a:lnTo>
                    <a:pt x="228" y="128"/>
                  </a:lnTo>
                  <a:lnTo>
                    <a:pt x="238" y="115"/>
                  </a:lnTo>
                  <a:lnTo>
                    <a:pt x="252" y="104"/>
                  </a:lnTo>
                  <a:lnTo>
                    <a:pt x="262" y="104"/>
                  </a:lnTo>
                  <a:lnTo>
                    <a:pt x="265" y="101"/>
                  </a:lnTo>
                  <a:lnTo>
                    <a:pt x="262" y="94"/>
                  </a:lnTo>
                  <a:lnTo>
                    <a:pt x="255" y="84"/>
                  </a:lnTo>
                  <a:lnTo>
                    <a:pt x="245" y="81"/>
                  </a:lnTo>
                  <a:lnTo>
                    <a:pt x="248" y="71"/>
                  </a:lnTo>
                  <a:lnTo>
                    <a:pt x="248" y="64"/>
                  </a:lnTo>
                  <a:lnTo>
                    <a:pt x="252" y="57"/>
                  </a:lnTo>
                  <a:lnTo>
                    <a:pt x="248" y="54"/>
                  </a:lnTo>
                  <a:lnTo>
                    <a:pt x="238" y="47"/>
                  </a:lnTo>
                  <a:lnTo>
                    <a:pt x="235" y="44"/>
                  </a:lnTo>
                  <a:lnTo>
                    <a:pt x="225" y="41"/>
                  </a:lnTo>
                  <a:lnTo>
                    <a:pt x="225" y="41"/>
                  </a:lnTo>
                  <a:lnTo>
                    <a:pt x="222" y="37"/>
                  </a:lnTo>
                  <a:lnTo>
                    <a:pt x="215" y="37"/>
                  </a:lnTo>
                  <a:lnTo>
                    <a:pt x="211" y="37"/>
                  </a:lnTo>
                  <a:lnTo>
                    <a:pt x="208" y="41"/>
                  </a:lnTo>
                  <a:lnTo>
                    <a:pt x="208" y="41"/>
                  </a:lnTo>
                  <a:lnTo>
                    <a:pt x="205" y="41"/>
                  </a:lnTo>
                  <a:lnTo>
                    <a:pt x="198" y="41"/>
                  </a:lnTo>
                  <a:lnTo>
                    <a:pt x="198" y="41"/>
                  </a:lnTo>
                  <a:lnTo>
                    <a:pt x="188" y="37"/>
                  </a:lnTo>
                  <a:lnTo>
                    <a:pt x="188" y="34"/>
                  </a:lnTo>
                  <a:lnTo>
                    <a:pt x="185" y="31"/>
                  </a:lnTo>
                  <a:lnTo>
                    <a:pt x="185" y="31"/>
                  </a:lnTo>
                  <a:lnTo>
                    <a:pt x="181" y="31"/>
                  </a:lnTo>
                  <a:lnTo>
                    <a:pt x="178" y="31"/>
                  </a:lnTo>
                  <a:lnTo>
                    <a:pt x="178" y="31"/>
                  </a:lnTo>
                  <a:lnTo>
                    <a:pt x="174" y="27"/>
                  </a:lnTo>
                  <a:lnTo>
                    <a:pt x="174" y="24"/>
                  </a:lnTo>
                  <a:lnTo>
                    <a:pt x="171" y="24"/>
                  </a:lnTo>
                  <a:lnTo>
                    <a:pt x="171" y="24"/>
                  </a:lnTo>
                  <a:lnTo>
                    <a:pt x="168" y="24"/>
                  </a:lnTo>
                  <a:lnTo>
                    <a:pt x="168" y="24"/>
                  </a:lnTo>
                  <a:lnTo>
                    <a:pt x="161" y="20"/>
                  </a:lnTo>
                  <a:lnTo>
                    <a:pt x="158" y="20"/>
                  </a:lnTo>
                  <a:lnTo>
                    <a:pt x="154" y="17"/>
                  </a:lnTo>
                  <a:lnTo>
                    <a:pt x="154" y="17"/>
                  </a:lnTo>
                  <a:lnTo>
                    <a:pt x="158" y="14"/>
                  </a:lnTo>
                  <a:lnTo>
                    <a:pt x="158" y="10"/>
                  </a:lnTo>
                  <a:lnTo>
                    <a:pt x="161" y="7"/>
                  </a:lnTo>
                  <a:lnTo>
                    <a:pt x="161" y="7"/>
                  </a:lnTo>
                  <a:lnTo>
                    <a:pt x="161" y="4"/>
                  </a:lnTo>
                  <a:lnTo>
                    <a:pt x="158" y="0"/>
                  </a:lnTo>
                  <a:lnTo>
                    <a:pt x="158" y="0"/>
                  </a:lnTo>
                  <a:lnTo>
                    <a:pt x="148" y="0"/>
                  </a:lnTo>
                  <a:lnTo>
                    <a:pt x="141" y="0"/>
                  </a:lnTo>
                  <a:lnTo>
                    <a:pt x="134" y="4"/>
                  </a:lnTo>
                  <a:lnTo>
                    <a:pt x="134" y="4"/>
                  </a:lnTo>
                  <a:lnTo>
                    <a:pt x="127" y="7"/>
                  </a:lnTo>
                  <a:lnTo>
                    <a:pt x="124" y="7"/>
                  </a:lnTo>
                  <a:lnTo>
                    <a:pt x="124" y="7"/>
                  </a:lnTo>
                  <a:lnTo>
                    <a:pt x="124" y="20"/>
                  </a:lnTo>
                  <a:lnTo>
                    <a:pt x="121" y="31"/>
                  </a:lnTo>
                  <a:lnTo>
                    <a:pt x="121" y="31"/>
                  </a:lnTo>
                  <a:lnTo>
                    <a:pt x="117" y="41"/>
                  </a:lnTo>
                  <a:lnTo>
                    <a:pt x="114" y="51"/>
                  </a:lnTo>
                  <a:lnTo>
                    <a:pt x="114" y="51"/>
                  </a:lnTo>
                  <a:lnTo>
                    <a:pt x="114" y="57"/>
                  </a:lnTo>
                  <a:lnTo>
                    <a:pt x="117" y="67"/>
                  </a:lnTo>
                  <a:lnTo>
                    <a:pt x="117" y="67"/>
                  </a:lnTo>
                  <a:lnTo>
                    <a:pt x="111" y="74"/>
                  </a:lnTo>
                  <a:lnTo>
                    <a:pt x="111" y="74"/>
                  </a:lnTo>
                  <a:lnTo>
                    <a:pt x="107" y="98"/>
                  </a:lnTo>
                  <a:lnTo>
                    <a:pt x="104" y="104"/>
                  </a:lnTo>
                  <a:lnTo>
                    <a:pt x="101" y="115"/>
                  </a:lnTo>
                  <a:lnTo>
                    <a:pt x="101" y="115"/>
                  </a:lnTo>
                  <a:lnTo>
                    <a:pt x="94" y="121"/>
                  </a:lnTo>
                  <a:lnTo>
                    <a:pt x="87" y="131"/>
                  </a:lnTo>
                  <a:lnTo>
                    <a:pt x="87" y="131"/>
                  </a:lnTo>
                  <a:lnTo>
                    <a:pt x="87" y="135"/>
                  </a:lnTo>
                  <a:lnTo>
                    <a:pt x="84" y="141"/>
                  </a:lnTo>
                  <a:lnTo>
                    <a:pt x="70" y="158"/>
                  </a:lnTo>
                  <a:lnTo>
                    <a:pt x="67" y="158"/>
                  </a:lnTo>
                  <a:lnTo>
                    <a:pt x="67" y="158"/>
                  </a:lnTo>
                  <a:lnTo>
                    <a:pt x="67" y="162"/>
                  </a:lnTo>
                  <a:lnTo>
                    <a:pt x="67" y="165"/>
                  </a:lnTo>
                  <a:lnTo>
                    <a:pt x="67" y="165"/>
                  </a:lnTo>
                  <a:lnTo>
                    <a:pt x="60" y="168"/>
                  </a:lnTo>
                  <a:lnTo>
                    <a:pt x="57" y="168"/>
                  </a:lnTo>
                  <a:lnTo>
                    <a:pt x="57" y="168"/>
                  </a:lnTo>
                  <a:lnTo>
                    <a:pt x="53" y="175"/>
                  </a:lnTo>
                  <a:lnTo>
                    <a:pt x="53" y="175"/>
                  </a:lnTo>
                  <a:lnTo>
                    <a:pt x="47" y="175"/>
                  </a:lnTo>
                  <a:lnTo>
                    <a:pt x="40" y="178"/>
                  </a:lnTo>
                  <a:lnTo>
                    <a:pt x="40" y="178"/>
                  </a:lnTo>
                  <a:lnTo>
                    <a:pt x="37" y="185"/>
                  </a:lnTo>
                  <a:lnTo>
                    <a:pt x="37" y="192"/>
                  </a:lnTo>
                  <a:lnTo>
                    <a:pt x="37" y="192"/>
                  </a:lnTo>
                  <a:lnTo>
                    <a:pt x="23" y="205"/>
                  </a:lnTo>
                  <a:lnTo>
                    <a:pt x="20" y="205"/>
                  </a:lnTo>
                  <a:lnTo>
                    <a:pt x="20" y="205"/>
                  </a:lnTo>
                  <a:lnTo>
                    <a:pt x="17" y="215"/>
                  </a:lnTo>
                  <a:lnTo>
                    <a:pt x="20" y="222"/>
                  </a:lnTo>
                  <a:lnTo>
                    <a:pt x="27" y="232"/>
                  </a:lnTo>
                  <a:lnTo>
                    <a:pt x="27" y="232"/>
                  </a:lnTo>
                  <a:close/>
                </a:path>
              </a:pathLst>
            </a:custGeom>
            <a:solidFill>
              <a:srgbClr val="C0C0C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EYInterstate" pitchFamily="2" charset="0"/>
                <a:cs typeface="Arial" charset="0"/>
              </a:endParaRPr>
            </a:p>
          </p:txBody>
        </p:sp>
        <p:sp>
          <p:nvSpPr>
            <p:cNvPr id="26" name="Freeform 40"/>
            <p:cNvSpPr>
              <a:spLocks/>
            </p:cNvSpPr>
            <p:nvPr/>
          </p:nvSpPr>
          <p:spPr bwMode="auto">
            <a:xfrm>
              <a:off x="3091" y="2311"/>
              <a:ext cx="449" cy="391"/>
            </a:xfrm>
            <a:custGeom>
              <a:avLst/>
              <a:gdLst/>
              <a:ahLst/>
              <a:cxnLst>
                <a:cxn ang="0">
                  <a:pos x="225" y="44"/>
                </a:cxn>
                <a:cxn ang="0">
                  <a:pos x="235" y="24"/>
                </a:cxn>
                <a:cxn ang="0">
                  <a:pos x="195" y="7"/>
                </a:cxn>
                <a:cxn ang="0">
                  <a:pos x="208" y="14"/>
                </a:cxn>
                <a:cxn ang="0">
                  <a:pos x="202" y="4"/>
                </a:cxn>
                <a:cxn ang="0">
                  <a:pos x="118" y="17"/>
                </a:cxn>
                <a:cxn ang="0">
                  <a:pos x="84" y="41"/>
                </a:cxn>
                <a:cxn ang="0">
                  <a:pos x="27" y="54"/>
                </a:cxn>
                <a:cxn ang="0">
                  <a:pos x="10" y="71"/>
                </a:cxn>
                <a:cxn ang="0">
                  <a:pos x="13" y="81"/>
                </a:cxn>
                <a:cxn ang="0">
                  <a:pos x="17" y="115"/>
                </a:cxn>
                <a:cxn ang="0">
                  <a:pos x="10" y="131"/>
                </a:cxn>
                <a:cxn ang="0">
                  <a:pos x="3" y="145"/>
                </a:cxn>
                <a:cxn ang="0">
                  <a:pos x="23" y="165"/>
                </a:cxn>
                <a:cxn ang="0">
                  <a:pos x="20" y="178"/>
                </a:cxn>
                <a:cxn ang="0">
                  <a:pos x="27" y="202"/>
                </a:cxn>
                <a:cxn ang="0">
                  <a:pos x="23" y="219"/>
                </a:cxn>
                <a:cxn ang="0">
                  <a:pos x="23" y="236"/>
                </a:cxn>
                <a:cxn ang="0">
                  <a:pos x="37" y="259"/>
                </a:cxn>
                <a:cxn ang="0">
                  <a:pos x="30" y="279"/>
                </a:cxn>
                <a:cxn ang="0">
                  <a:pos x="37" y="286"/>
                </a:cxn>
                <a:cxn ang="0">
                  <a:pos x="47" y="286"/>
                </a:cxn>
                <a:cxn ang="0">
                  <a:pos x="50" y="296"/>
                </a:cxn>
                <a:cxn ang="0">
                  <a:pos x="64" y="303"/>
                </a:cxn>
                <a:cxn ang="0">
                  <a:pos x="81" y="309"/>
                </a:cxn>
                <a:cxn ang="0">
                  <a:pos x="87" y="309"/>
                </a:cxn>
                <a:cxn ang="0">
                  <a:pos x="104" y="313"/>
                </a:cxn>
                <a:cxn ang="0">
                  <a:pos x="101" y="326"/>
                </a:cxn>
                <a:cxn ang="0">
                  <a:pos x="107" y="343"/>
                </a:cxn>
                <a:cxn ang="0">
                  <a:pos x="121" y="350"/>
                </a:cxn>
                <a:cxn ang="0">
                  <a:pos x="131" y="340"/>
                </a:cxn>
                <a:cxn ang="0">
                  <a:pos x="128" y="330"/>
                </a:cxn>
                <a:cxn ang="0">
                  <a:pos x="144" y="336"/>
                </a:cxn>
                <a:cxn ang="0">
                  <a:pos x="151" y="343"/>
                </a:cxn>
                <a:cxn ang="0">
                  <a:pos x="171" y="353"/>
                </a:cxn>
                <a:cxn ang="0">
                  <a:pos x="195" y="360"/>
                </a:cxn>
                <a:cxn ang="0">
                  <a:pos x="208" y="387"/>
                </a:cxn>
                <a:cxn ang="0">
                  <a:pos x="232" y="373"/>
                </a:cxn>
                <a:cxn ang="0">
                  <a:pos x="242" y="390"/>
                </a:cxn>
                <a:cxn ang="0">
                  <a:pos x="249" y="407"/>
                </a:cxn>
                <a:cxn ang="0">
                  <a:pos x="265" y="407"/>
                </a:cxn>
                <a:cxn ang="0">
                  <a:pos x="286" y="394"/>
                </a:cxn>
                <a:cxn ang="0">
                  <a:pos x="312" y="397"/>
                </a:cxn>
                <a:cxn ang="0">
                  <a:pos x="343" y="404"/>
                </a:cxn>
                <a:cxn ang="0">
                  <a:pos x="376" y="414"/>
                </a:cxn>
                <a:cxn ang="0">
                  <a:pos x="403" y="417"/>
                </a:cxn>
                <a:cxn ang="0">
                  <a:pos x="390" y="394"/>
                </a:cxn>
                <a:cxn ang="0">
                  <a:pos x="403" y="360"/>
                </a:cxn>
                <a:cxn ang="0">
                  <a:pos x="437" y="313"/>
                </a:cxn>
                <a:cxn ang="0">
                  <a:pos x="443" y="289"/>
                </a:cxn>
                <a:cxn ang="0">
                  <a:pos x="437" y="276"/>
                </a:cxn>
                <a:cxn ang="0">
                  <a:pos x="427" y="242"/>
                </a:cxn>
                <a:cxn ang="0">
                  <a:pos x="420" y="212"/>
                </a:cxn>
                <a:cxn ang="0">
                  <a:pos x="410" y="185"/>
                </a:cxn>
                <a:cxn ang="0">
                  <a:pos x="413" y="155"/>
                </a:cxn>
                <a:cxn ang="0">
                  <a:pos x="423" y="125"/>
                </a:cxn>
                <a:cxn ang="0">
                  <a:pos x="417" y="78"/>
                </a:cxn>
                <a:cxn ang="0">
                  <a:pos x="410" y="51"/>
                </a:cxn>
                <a:cxn ang="0">
                  <a:pos x="396" y="27"/>
                </a:cxn>
                <a:cxn ang="0">
                  <a:pos x="366" y="27"/>
                </a:cxn>
                <a:cxn ang="0">
                  <a:pos x="252" y="37"/>
                </a:cxn>
              </a:cxnLst>
              <a:rect l="0" t="0" r="r" b="b"/>
              <a:pathLst>
                <a:path w="447" h="417">
                  <a:moveTo>
                    <a:pt x="242" y="31"/>
                  </a:moveTo>
                  <a:lnTo>
                    <a:pt x="242" y="31"/>
                  </a:lnTo>
                  <a:lnTo>
                    <a:pt x="235" y="37"/>
                  </a:lnTo>
                  <a:lnTo>
                    <a:pt x="228" y="44"/>
                  </a:lnTo>
                  <a:lnTo>
                    <a:pt x="228" y="44"/>
                  </a:lnTo>
                  <a:lnTo>
                    <a:pt x="225" y="44"/>
                  </a:lnTo>
                  <a:lnTo>
                    <a:pt x="225" y="44"/>
                  </a:lnTo>
                  <a:lnTo>
                    <a:pt x="222" y="41"/>
                  </a:lnTo>
                  <a:lnTo>
                    <a:pt x="222" y="41"/>
                  </a:lnTo>
                  <a:lnTo>
                    <a:pt x="238" y="27"/>
                  </a:lnTo>
                  <a:lnTo>
                    <a:pt x="242" y="27"/>
                  </a:lnTo>
                  <a:lnTo>
                    <a:pt x="242" y="27"/>
                  </a:lnTo>
                  <a:lnTo>
                    <a:pt x="235" y="24"/>
                  </a:lnTo>
                  <a:lnTo>
                    <a:pt x="235" y="24"/>
                  </a:lnTo>
                  <a:lnTo>
                    <a:pt x="235" y="24"/>
                  </a:lnTo>
                  <a:lnTo>
                    <a:pt x="218" y="31"/>
                  </a:lnTo>
                  <a:lnTo>
                    <a:pt x="205" y="31"/>
                  </a:lnTo>
                  <a:lnTo>
                    <a:pt x="198" y="24"/>
                  </a:lnTo>
                  <a:lnTo>
                    <a:pt x="188" y="7"/>
                  </a:lnTo>
                  <a:lnTo>
                    <a:pt x="188" y="7"/>
                  </a:lnTo>
                  <a:lnTo>
                    <a:pt x="195" y="7"/>
                  </a:lnTo>
                  <a:lnTo>
                    <a:pt x="195" y="7"/>
                  </a:lnTo>
                  <a:lnTo>
                    <a:pt x="202" y="10"/>
                  </a:lnTo>
                  <a:lnTo>
                    <a:pt x="205" y="17"/>
                  </a:lnTo>
                  <a:lnTo>
                    <a:pt x="205" y="17"/>
                  </a:lnTo>
                  <a:lnTo>
                    <a:pt x="205" y="17"/>
                  </a:lnTo>
                  <a:lnTo>
                    <a:pt x="208" y="17"/>
                  </a:lnTo>
                  <a:lnTo>
                    <a:pt x="208" y="14"/>
                  </a:lnTo>
                  <a:lnTo>
                    <a:pt x="208" y="14"/>
                  </a:lnTo>
                  <a:lnTo>
                    <a:pt x="205" y="14"/>
                  </a:lnTo>
                  <a:lnTo>
                    <a:pt x="202" y="10"/>
                  </a:lnTo>
                  <a:lnTo>
                    <a:pt x="202" y="10"/>
                  </a:lnTo>
                  <a:lnTo>
                    <a:pt x="202" y="7"/>
                  </a:lnTo>
                  <a:lnTo>
                    <a:pt x="202" y="4"/>
                  </a:lnTo>
                  <a:lnTo>
                    <a:pt x="202" y="4"/>
                  </a:lnTo>
                  <a:lnTo>
                    <a:pt x="195" y="0"/>
                  </a:lnTo>
                  <a:lnTo>
                    <a:pt x="185" y="0"/>
                  </a:lnTo>
                  <a:lnTo>
                    <a:pt x="165" y="0"/>
                  </a:lnTo>
                  <a:lnTo>
                    <a:pt x="144" y="4"/>
                  </a:lnTo>
                  <a:lnTo>
                    <a:pt x="131" y="10"/>
                  </a:lnTo>
                  <a:lnTo>
                    <a:pt x="131" y="10"/>
                  </a:lnTo>
                  <a:lnTo>
                    <a:pt x="118" y="17"/>
                  </a:lnTo>
                  <a:lnTo>
                    <a:pt x="118" y="17"/>
                  </a:lnTo>
                  <a:lnTo>
                    <a:pt x="114" y="20"/>
                  </a:lnTo>
                  <a:lnTo>
                    <a:pt x="107" y="20"/>
                  </a:lnTo>
                  <a:lnTo>
                    <a:pt x="107" y="20"/>
                  </a:lnTo>
                  <a:lnTo>
                    <a:pt x="97" y="31"/>
                  </a:lnTo>
                  <a:lnTo>
                    <a:pt x="91" y="37"/>
                  </a:lnTo>
                  <a:lnTo>
                    <a:pt x="84" y="41"/>
                  </a:lnTo>
                  <a:lnTo>
                    <a:pt x="84" y="41"/>
                  </a:lnTo>
                  <a:lnTo>
                    <a:pt x="70" y="44"/>
                  </a:lnTo>
                  <a:lnTo>
                    <a:pt x="57" y="47"/>
                  </a:lnTo>
                  <a:lnTo>
                    <a:pt x="57" y="47"/>
                  </a:lnTo>
                  <a:lnTo>
                    <a:pt x="30" y="54"/>
                  </a:lnTo>
                  <a:lnTo>
                    <a:pt x="30" y="54"/>
                  </a:lnTo>
                  <a:lnTo>
                    <a:pt x="27" y="54"/>
                  </a:lnTo>
                  <a:lnTo>
                    <a:pt x="27" y="54"/>
                  </a:lnTo>
                  <a:lnTo>
                    <a:pt x="20" y="57"/>
                  </a:lnTo>
                  <a:lnTo>
                    <a:pt x="13" y="61"/>
                  </a:lnTo>
                  <a:lnTo>
                    <a:pt x="13" y="61"/>
                  </a:lnTo>
                  <a:lnTo>
                    <a:pt x="10" y="61"/>
                  </a:lnTo>
                  <a:lnTo>
                    <a:pt x="10" y="61"/>
                  </a:lnTo>
                  <a:lnTo>
                    <a:pt x="10" y="71"/>
                  </a:lnTo>
                  <a:lnTo>
                    <a:pt x="13" y="71"/>
                  </a:lnTo>
                  <a:lnTo>
                    <a:pt x="17" y="71"/>
                  </a:lnTo>
                  <a:lnTo>
                    <a:pt x="20" y="71"/>
                  </a:lnTo>
                  <a:lnTo>
                    <a:pt x="23" y="78"/>
                  </a:lnTo>
                  <a:lnTo>
                    <a:pt x="20" y="84"/>
                  </a:lnTo>
                  <a:lnTo>
                    <a:pt x="13" y="81"/>
                  </a:lnTo>
                  <a:lnTo>
                    <a:pt x="13" y="81"/>
                  </a:lnTo>
                  <a:lnTo>
                    <a:pt x="13" y="84"/>
                  </a:lnTo>
                  <a:lnTo>
                    <a:pt x="13" y="84"/>
                  </a:lnTo>
                  <a:lnTo>
                    <a:pt x="13" y="98"/>
                  </a:lnTo>
                  <a:lnTo>
                    <a:pt x="13" y="98"/>
                  </a:lnTo>
                  <a:lnTo>
                    <a:pt x="17" y="104"/>
                  </a:lnTo>
                  <a:lnTo>
                    <a:pt x="17" y="104"/>
                  </a:lnTo>
                  <a:lnTo>
                    <a:pt x="17" y="115"/>
                  </a:lnTo>
                  <a:lnTo>
                    <a:pt x="17" y="115"/>
                  </a:lnTo>
                  <a:lnTo>
                    <a:pt x="17" y="118"/>
                  </a:lnTo>
                  <a:lnTo>
                    <a:pt x="17" y="118"/>
                  </a:lnTo>
                  <a:lnTo>
                    <a:pt x="13" y="125"/>
                  </a:lnTo>
                  <a:lnTo>
                    <a:pt x="13" y="125"/>
                  </a:lnTo>
                  <a:lnTo>
                    <a:pt x="10" y="131"/>
                  </a:lnTo>
                  <a:lnTo>
                    <a:pt x="10" y="131"/>
                  </a:lnTo>
                  <a:lnTo>
                    <a:pt x="3" y="131"/>
                  </a:lnTo>
                  <a:lnTo>
                    <a:pt x="3" y="135"/>
                  </a:lnTo>
                  <a:lnTo>
                    <a:pt x="3" y="135"/>
                  </a:lnTo>
                  <a:lnTo>
                    <a:pt x="0" y="138"/>
                  </a:lnTo>
                  <a:lnTo>
                    <a:pt x="3" y="141"/>
                  </a:lnTo>
                  <a:lnTo>
                    <a:pt x="3" y="141"/>
                  </a:lnTo>
                  <a:lnTo>
                    <a:pt x="3" y="145"/>
                  </a:lnTo>
                  <a:lnTo>
                    <a:pt x="3" y="145"/>
                  </a:lnTo>
                  <a:lnTo>
                    <a:pt x="10" y="152"/>
                  </a:lnTo>
                  <a:lnTo>
                    <a:pt x="10" y="152"/>
                  </a:lnTo>
                  <a:lnTo>
                    <a:pt x="13" y="155"/>
                  </a:lnTo>
                  <a:lnTo>
                    <a:pt x="20" y="155"/>
                  </a:lnTo>
                  <a:lnTo>
                    <a:pt x="20" y="155"/>
                  </a:lnTo>
                  <a:lnTo>
                    <a:pt x="23" y="165"/>
                  </a:lnTo>
                  <a:lnTo>
                    <a:pt x="23" y="165"/>
                  </a:lnTo>
                  <a:lnTo>
                    <a:pt x="23" y="168"/>
                  </a:lnTo>
                  <a:lnTo>
                    <a:pt x="23" y="168"/>
                  </a:lnTo>
                  <a:lnTo>
                    <a:pt x="20" y="172"/>
                  </a:lnTo>
                  <a:lnTo>
                    <a:pt x="20" y="172"/>
                  </a:lnTo>
                  <a:lnTo>
                    <a:pt x="20" y="178"/>
                  </a:lnTo>
                  <a:lnTo>
                    <a:pt x="20" y="178"/>
                  </a:lnTo>
                  <a:lnTo>
                    <a:pt x="23" y="185"/>
                  </a:lnTo>
                  <a:lnTo>
                    <a:pt x="23" y="185"/>
                  </a:lnTo>
                  <a:lnTo>
                    <a:pt x="27" y="192"/>
                  </a:lnTo>
                  <a:lnTo>
                    <a:pt x="27" y="192"/>
                  </a:lnTo>
                  <a:lnTo>
                    <a:pt x="27" y="199"/>
                  </a:lnTo>
                  <a:lnTo>
                    <a:pt x="27" y="199"/>
                  </a:lnTo>
                  <a:lnTo>
                    <a:pt x="27" y="202"/>
                  </a:lnTo>
                  <a:lnTo>
                    <a:pt x="27" y="202"/>
                  </a:lnTo>
                  <a:lnTo>
                    <a:pt x="27" y="209"/>
                  </a:lnTo>
                  <a:lnTo>
                    <a:pt x="27" y="209"/>
                  </a:lnTo>
                  <a:lnTo>
                    <a:pt x="23" y="212"/>
                  </a:lnTo>
                  <a:lnTo>
                    <a:pt x="20" y="215"/>
                  </a:lnTo>
                  <a:lnTo>
                    <a:pt x="20" y="215"/>
                  </a:lnTo>
                  <a:lnTo>
                    <a:pt x="23" y="219"/>
                  </a:lnTo>
                  <a:lnTo>
                    <a:pt x="23" y="219"/>
                  </a:lnTo>
                  <a:lnTo>
                    <a:pt x="23" y="222"/>
                  </a:lnTo>
                  <a:lnTo>
                    <a:pt x="23" y="222"/>
                  </a:lnTo>
                  <a:lnTo>
                    <a:pt x="27" y="232"/>
                  </a:lnTo>
                  <a:lnTo>
                    <a:pt x="27" y="232"/>
                  </a:lnTo>
                  <a:lnTo>
                    <a:pt x="23" y="236"/>
                  </a:lnTo>
                  <a:lnTo>
                    <a:pt x="23" y="236"/>
                  </a:lnTo>
                  <a:lnTo>
                    <a:pt x="23" y="239"/>
                  </a:lnTo>
                  <a:lnTo>
                    <a:pt x="27" y="239"/>
                  </a:lnTo>
                  <a:lnTo>
                    <a:pt x="27" y="239"/>
                  </a:lnTo>
                  <a:lnTo>
                    <a:pt x="33" y="246"/>
                  </a:lnTo>
                  <a:lnTo>
                    <a:pt x="33" y="246"/>
                  </a:lnTo>
                  <a:lnTo>
                    <a:pt x="37" y="259"/>
                  </a:lnTo>
                  <a:lnTo>
                    <a:pt x="37" y="259"/>
                  </a:lnTo>
                  <a:lnTo>
                    <a:pt x="37" y="262"/>
                  </a:lnTo>
                  <a:lnTo>
                    <a:pt x="37" y="269"/>
                  </a:lnTo>
                  <a:lnTo>
                    <a:pt x="37" y="269"/>
                  </a:lnTo>
                  <a:lnTo>
                    <a:pt x="33" y="276"/>
                  </a:lnTo>
                  <a:lnTo>
                    <a:pt x="33" y="276"/>
                  </a:lnTo>
                  <a:lnTo>
                    <a:pt x="30" y="279"/>
                  </a:lnTo>
                  <a:lnTo>
                    <a:pt x="30" y="279"/>
                  </a:lnTo>
                  <a:lnTo>
                    <a:pt x="27" y="289"/>
                  </a:lnTo>
                  <a:lnTo>
                    <a:pt x="27" y="289"/>
                  </a:lnTo>
                  <a:lnTo>
                    <a:pt x="30" y="289"/>
                  </a:lnTo>
                  <a:lnTo>
                    <a:pt x="30" y="289"/>
                  </a:lnTo>
                  <a:lnTo>
                    <a:pt x="33" y="289"/>
                  </a:lnTo>
                  <a:lnTo>
                    <a:pt x="33" y="289"/>
                  </a:lnTo>
                  <a:lnTo>
                    <a:pt x="37" y="286"/>
                  </a:lnTo>
                  <a:lnTo>
                    <a:pt x="40" y="283"/>
                  </a:lnTo>
                  <a:lnTo>
                    <a:pt x="40" y="283"/>
                  </a:lnTo>
                  <a:lnTo>
                    <a:pt x="44" y="279"/>
                  </a:lnTo>
                  <a:lnTo>
                    <a:pt x="44" y="279"/>
                  </a:lnTo>
                  <a:lnTo>
                    <a:pt x="47" y="283"/>
                  </a:lnTo>
                  <a:lnTo>
                    <a:pt x="47" y="283"/>
                  </a:lnTo>
                  <a:lnTo>
                    <a:pt x="47" y="286"/>
                  </a:lnTo>
                  <a:lnTo>
                    <a:pt x="47" y="286"/>
                  </a:lnTo>
                  <a:lnTo>
                    <a:pt x="47" y="289"/>
                  </a:lnTo>
                  <a:lnTo>
                    <a:pt x="47" y="289"/>
                  </a:lnTo>
                  <a:lnTo>
                    <a:pt x="47" y="293"/>
                  </a:lnTo>
                  <a:lnTo>
                    <a:pt x="50" y="293"/>
                  </a:lnTo>
                  <a:lnTo>
                    <a:pt x="50" y="293"/>
                  </a:lnTo>
                  <a:lnTo>
                    <a:pt x="50" y="296"/>
                  </a:lnTo>
                  <a:lnTo>
                    <a:pt x="50" y="299"/>
                  </a:lnTo>
                  <a:lnTo>
                    <a:pt x="50" y="299"/>
                  </a:lnTo>
                  <a:lnTo>
                    <a:pt x="50" y="299"/>
                  </a:lnTo>
                  <a:lnTo>
                    <a:pt x="54" y="296"/>
                  </a:lnTo>
                  <a:lnTo>
                    <a:pt x="54" y="296"/>
                  </a:lnTo>
                  <a:lnTo>
                    <a:pt x="64" y="303"/>
                  </a:lnTo>
                  <a:lnTo>
                    <a:pt x="64" y="303"/>
                  </a:lnTo>
                  <a:lnTo>
                    <a:pt x="77" y="306"/>
                  </a:lnTo>
                  <a:lnTo>
                    <a:pt x="77" y="306"/>
                  </a:lnTo>
                  <a:lnTo>
                    <a:pt x="77" y="306"/>
                  </a:lnTo>
                  <a:lnTo>
                    <a:pt x="81" y="306"/>
                  </a:lnTo>
                  <a:lnTo>
                    <a:pt x="81" y="306"/>
                  </a:lnTo>
                  <a:lnTo>
                    <a:pt x="81" y="309"/>
                  </a:lnTo>
                  <a:lnTo>
                    <a:pt x="81" y="309"/>
                  </a:lnTo>
                  <a:lnTo>
                    <a:pt x="84" y="309"/>
                  </a:lnTo>
                  <a:lnTo>
                    <a:pt x="87" y="306"/>
                  </a:lnTo>
                  <a:lnTo>
                    <a:pt x="87" y="306"/>
                  </a:lnTo>
                  <a:lnTo>
                    <a:pt x="87" y="309"/>
                  </a:lnTo>
                  <a:lnTo>
                    <a:pt x="87" y="313"/>
                  </a:lnTo>
                  <a:lnTo>
                    <a:pt x="87" y="313"/>
                  </a:lnTo>
                  <a:lnTo>
                    <a:pt x="87" y="309"/>
                  </a:lnTo>
                  <a:lnTo>
                    <a:pt x="91" y="309"/>
                  </a:lnTo>
                  <a:lnTo>
                    <a:pt x="91" y="309"/>
                  </a:lnTo>
                  <a:lnTo>
                    <a:pt x="94" y="306"/>
                  </a:lnTo>
                  <a:lnTo>
                    <a:pt x="101" y="309"/>
                  </a:lnTo>
                  <a:lnTo>
                    <a:pt x="101" y="309"/>
                  </a:lnTo>
                  <a:lnTo>
                    <a:pt x="104" y="313"/>
                  </a:lnTo>
                  <a:lnTo>
                    <a:pt x="104" y="313"/>
                  </a:lnTo>
                  <a:lnTo>
                    <a:pt x="104" y="316"/>
                  </a:lnTo>
                  <a:lnTo>
                    <a:pt x="104" y="316"/>
                  </a:lnTo>
                  <a:lnTo>
                    <a:pt x="104" y="320"/>
                  </a:lnTo>
                  <a:lnTo>
                    <a:pt x="104" y="320"/>
                  </a:lnTo>
                  <a:lnTo>
                    <a:pt x="101" y="323"/>
                  </a:lnTo>
                  <a:lnTo>
                    <a:pt x="101" y="323"/>
                  </a:lnTo>
                  <a:lnTo>
                    <a:pt x="101" y="326"/>
                  </a:lnTo>
                  <a:lnTo>
                    <a:pt x="101" y="330"/>
                  </a:lnTo>
                  <a:lnTo>
                    <a:pt x="101" y="330"/>
                  </a:lnTo>
                  <a:lnTo>
                    <a:pt x="101" y="333"/>
                  </a:lnTo>
                  <a:lnTo>
                    <a:pt x="101" y="333"/>
                  </a:lnTo>
                  <a:lnTo>
                    <a:pt x="104" y="336"/>
                  </a:lnTo>
                  <a:lnTo>
                    <a:pt x="104" y="336"/>
                  </a:lnTo>
                  <a:lnTo>
                    <a:pt x="107" y="343"/>
                  </a:lnTo>
                  <a:lnTo>
                    <a:pt x="111" y="346"/>
                  </a:lnTo>
                  <a:lnTo>
                    <a:pt x="111" y="346"/>
                  </a:lnTo>
                  <a:lnTo>
                    <a:pt x="114" y="346"/>
                  </a:lnTo>
                  <a:lnTo>
                    <a:pt x="114" y="346"/>
                  </a:lnTo>
                  <a:lnTo>
                    <a:pt x="118" y="353"/>
                  </a:lnTo>
                  <a:lnTo>
                    <a:pt x="118" y="353"/>
                  </a:lnTo>
                  <a:lnTo>
                    <a:pt x="121" y="350"/>
                  </a:lnTo>
                  <a:lnTo>
                    <a:pt x="121" y="350"/>
                  </a:lnTo>
                  <a:lnTo>
                    <a:pt x="124" y="346"/>
                  </a:lnTo>
                  <a:lnTo>
                    <a:pt x="124" y="343"/>
                  </a:lnTo>
                  <a:lnTo>
                    <a:pt x="124" y="343"/>
                  </a:lnTo>
                  <a:lnTo>
                    <a:pt x="131" y="343"/>
                  </a:lnTo>
                  <a:lnTo>
                    <a:pt x="131" y="343"/>
                  </a:lnTo>
                  <a:lnTo>
                    <a:pt x="131" y="340"/>
                  </a:lnTo>
                  <a:lnTo>
                    <a:pt x="131" y="340"/>
                  </a:lnTo>
                  <a:lnTo>
                    <a:pt x="131" y="336"/>
                  </a:lnTo>
                  <a:lnTo>
                    <a:pt x="131" y="336"/>
                  </a:lnTo>
                  <a:lnTo>
                    <a:pt x="128" y="333"/>
                  </a:lnTo>
                  <a:lnTo>
                    <a:pt x="128" y="333"/>
                  </a:lnTo>
                  <a:lnTo>
                    <a:pt x="128" y="330"/>
                  </a:lnTo>
                  <a:lnTo>
                    <a:pt x="128" y="330"/>
                  </a:lnTo>
                  <a:lnTo>
                    <a:pt x="131" y="326"/>
                  </a:lnTo>
                  <a:lnTo>
                    <a:pt x="134" y="330"/>
                  </a:lnTo>
                  <a:lnTo>
                    <a:pt x="134" y="330"/>
                  </a:lnTo>
                  <a:lnTo>
                    <a:pt x="141" y="333"/>
                  </a:lnTo>
                  <a:lnTo>
                    <a:pt x="141" y="333"/>
                  </a:lnTo>
                  <a:lnTo>
                    <a:pt x="144" y="336"/>
                  </a:lnTo>
                  <a:lnTo>
                    <a:pt x="144" y="336"/>
                  </a:lnTo>
                  <a:lnTo>
                    <a:pt x="151" y="336"/>
                  </a:lnTo>
                  <a:lnTo>
                    <a:pt x="151" y="336"/>
                  </a:lnTo>
                  <a:lnTo>
                    <a:pt x="154" y="336"/>
                  </a:lnTo>
                  <a:lnTo>
                    <a:pt x="158" y="340"/>
                  </a:lnTo>
                  <a:lnTo>
                    <a:pt x="158" y="340"/>
                  </a:lnTo>
                  <a:lnTo>
                    <a:pt x="154" y="343"/>
                  </a:lnTo>
                  <a:lnTo>
                    <a:pt x="151" y="343"/>
                  </a:lnTo>
                  <a:lnTo>
                    <a:pt x="151" y="346"/>
                  </a:lnTo>
                  <a:lnTo>
                    <a:pt x="151" y="346"/>
                  </a:lnTo>
                  <a:lnTo>
                    <a:pt x="161" y="357"/>
                  </a:lnTo>
                  <a:lnTo>
                    <a:pt x="161" y="357"/>
                  </a:lnTo>
                  <a:lnTo>
                    <a:pt x="165" y="357"/>
                  </a:lnTo>
                  <a:lnTo>
                    <a:pt x="171" y="353"/>
                  </a:lnTo>
                  <a:lnTo>
                    <a:pt x="171" y="353"/>
                  </a:lnTo>
                  <a:lnTo>
                    <a:pt x="175" y="357"/>
                  </a:lnTo>
                  <a:lnTo>
                    <a:pt x="178" y="357"/>
                  </a:lnTo>
                  <a:lnTo>
                    <a:pt x="181" y="360"/>
                  </a:lnTo>
                  <a:lnTo>
                    <a:pt x="181" y="360"/>
                  </a:lnTo>
                  <a:lnTo>
                    <a:pt x="188" y="360"/>
                  </a:lnTo>
                  <a:lnTo>
                    <a:pt x="195" y="360"/>
                  </a:lnTo>
                  <a:lnTo>
                    <a:pt x="195" y="360"/>
                  </a:lnTo>
                  <a:lnTo>
                    <a:pt x="195" y="363"/>
                  </a:lnTo>
                  <a:lnTo>
                    <a:pt x="198" y="370"/>
                  </a:lnTo>
                  <a:lnTo>
                    <a:pt x="198" y="370"/>
                  </a:lnTo>
                  <a:lnTo>
                    <a:pt x="202" y="373"/>
                  </a:lnTo>
                  <a:lnTo>
                    <a:pt x="205" y="380"/>
                  </a:lnTo>
                  <a:lnTo>
                    <a:pt x="205" y="383"/>
                  </a:lnTo>
                  <a:lnTo>
                    <a:pt x="208" y="387"/>
                  </a:lnTo>
                  <a:lnTo>
                    <a:pt x="208" y="387"/>
                  </a:lnTo>
                  <a:lnTo>
                    <a:pt x="215" y="387"/>
                  </a:lnTo>
                  <a:lnTo>
                    <a:pt x="218" y="387"/>
                  </a:lnTo>
                  <a:lnTo>
                    <a:pt x="225" y="380"/>
                  </a:lnTo>
                  <a:lnTo>
                    <a:pt x="228" y="373"/>
                  </a:lnTo>
                  <a:lnTo>
                    <a:pt x="228" y="373"/>
                  </a:lnTo>
                  <a:lnTo>
                    <a:pt x="232" y="373"/>
                  </a:lnTo>
                  <a:lnTo>
                    <a:pt x="232" y="373"/>
                  </a:lnTo>
                  <a:lnTo>
                    <a:pt x="235" y="380"/>
                  </a:lnTo>
                  <a:lnTo>
                    <a:pt x="235" y="383"/>
                  </a:lnTo>
                  <a:lnTo>
                    <a:pt x="238" y="387"/>
                  </a:lnTo>
                  <a:lnTo>
                    <a:pt x="238" y="387"/>
                  </a:lnTo>
                  <a:lnTo>
                    <a:pt x="242" y="390"/>
                  </a:lnTo>
                  <a:lnTo>
                    <a:pt x="242" y="390"/>
                  </a:lnTo>
                  <a:lnTo>
                    <a:pt x="242" y="390"/>
                  </a:lnTo>
                  <a:lnTo>
                    <a:pt x="245" y="387"/>
                  </a:lnTo>
                  <a:lnTo>
                    <a:pt x="245" y="390"/>
                  </a:lnTo>
                  <a:lnTo>
                    <a:pt x="249" y="397"/>
                  </a:lnTo>
                  <a:lnTo>
                    <a:pt x="249" y="397"/>
                  </a:lnTo>
                  <a:lnTo>
                    <a:pt x="249" y="404"/>
                  </a:lnTo>
                  <a:lnTo>
                    <a:pt x="249" y="407"/>
                  </a:lnTo>
                  <a:lnTo>
                    <a:pt x="252" y="404"/>
                  </a:lnTo>
                  <a:lnTo>
                    <a:pt x="252" y="404"/>
                  </a:lnTo>
                  <a:lnTo>
                    <a:pt x="255" y="400"/>
                  </a:lnTo>
                  <a:lnTo>
                    <a:pt x="255" y="400"/>
                  </a:lnTo>
                  <a:lnTo>
                    <a:pt x="262" y="404"/>
                  </a:lnTo>
                  <a:lnTo>
                    <a:pt x="265" y="407"/>
                  </a:lnTo>
                  <a:lnTo>
                    <a:pt x="265" y="407"/>
                  </a:lnTo>
                  <a:lnTo>
                    <a:pt x="265" y="407"/>
                  </a:lnTo>
                  <a:lnTo>
                    <a:pt x="269" y="404"/>
                  </a:lnTo>
                  <a:lnTo>
                    <a:pt x="269" y="404"/>
                  </a:lnTo>
                  <a:lnTo>
                    <a:pt x="272" y="397"/>
                  </a:lnTo>
                  <a:lnTo>
                    <a:pt x="272" y="397"/>
                  </a:lnTo>
                  <a:lnTo>
                    <a:pt x="279" y="394"/>
                  </a:lnTo>
                  <a:lnTo>
                    <a:pt x="286" y="394"/>
                  </a:lnTo>
                  <a:lnTo>
                    <a:pt x="296" y="394"/>
                  </a:lnTo>
                  <a:lnTo>
                    <a:pt x="296" y="394"/>
                  </a:lnTo>
                  <a:lnTo>
                    <a:pt x="299" y="397"/>
                  </a:lnTo>
                  <a:lnTo>
                    <a:pt x="302" y="400"/>
                  </a:lnTo>
                  <a:lnTo>
                    <a:pt x="306" y="400"/>
                  </a:lnTo>
                  <a:lnTo>
                    <a:pt x="306" y="400"/>
                  </a:lnTo>
                  <a:lnTo>
                    <a:pt x="312" y="397"/>
                  </a:lnTo>
                  <a:lnTo>
                    <a:pt x="316" y="394"/>
                  </a:lnTo>
                  <a:lnTo>
                    <a:pt x="316" y="394"/>
                  </a:lnTo>
                  <a:lnTo>
                    <a:pt x="323" y="394"/>
                  </a:lnTo>
                  <a:lnTo>
                    <a:pt x="329" y="397"/>
                  </a:lnTo>
                  <a:lnTo>
                    <a:pt x="329" y="397"/>
                  </a:lnTo>
                  <a:lnTo>
                    <a:pt x="336" y="397"/>
                  </a:lnTo>
                  <a:lnTo>
                    <a:pt x="343" y="404"/>
                  </a:lnTo>
                  <a:lnTo>
                    <a:pt x="343" y="404"/>
                  </a:lnTo>
                  <a:lnTo>
                    <a:pt x="349" y="407"/>
                  </a:lnTo>
                  <a:lnTo>
                    <a:pt x="356" y="407"/>
                  </a:lnTo>
                  <a:lnTo>
                    <a:pt x="356" y="407"/>
                  </a:lnTo>
                  <a:lnTo>
                    <a:pt x="363" y="414"/>
                  </a:lnTo>
                  <a:lnTo>
                    <a:pt x="376" y="414"/>
                  </a:lnTo>
                  <a:lnTo>
                    <a:pt x="376" y="414"/>
                  </a:lnTo>
                  <a:lnTo>
                    <a:pt x="380" y="414"/>
                  </a:lnTo>
                  <a:lnTo>
                    <a:pt x="386" y="417"/>
                  </a:lnTo>
                  <a:lnTo>
                    <a:pt x="386" y="417"/>
                  </a:lnTo>
                  <a:lnTo>
                    <a:pt x="393" y="417"/>
                  </a:lnTo>
                  <a:lnTo>
                    <a:pt x="400" y="417"/>
                  </a:lnTo>
                  <a:lnTo>
                    <a:pt x="400" y="417"/>
                  </a:lnTo>
                  <a:lnTo>
                    <a:pt x="403" y="417"/>
                  </a:lnTo>
                  <a:lnTo>
                    <a:pt x="403" y="414"/>
                  </a:lnTo>
                  <a:lnTo>
                    <a:pt x="396" y="407"/>
                  </a:lnTo>
                  <a:lnTo>
                    <a:pt x="396" y="407"/>
                  </a:lnTo>
                  <a:lnTo>
                    <a:pt x="393" y="400"/>
                  </a:lnTo>
                  <a:lnTo>
                    <a:pt x="390" y="397"/>
                  </a:lnTo>
                  <a:lnTo>
                    <a:pt x="390" y="394"/>
                  </a:lnTo>
                  <a:lnTo>
                    <a:pt x="390" y="394"/>
                  </a:lnTo>
                  <a:lnTo>
                    <a:pt x="393" y="390"/>
                  </a:lnTo>
                  <a:lnTo>
                    <a:pt x="393" y="383"/>
                  </a:lnTo>
                  <a:lnTo>
                    <a:pt x="393" y="383"/>
                  </a:lnTo>
                  <a:lnTo>
                    <a:pt x="390" y="373"/>
                  </a:lnTo>
                  <a:lnTo>
                    <a:pt x="390" y="373"/>
                  </a:lnTo>
                  <a:lnTo>
                    <a:pt x="403" y="360"/>
                  </a:lnTo>
                  <a:lnTo>
                    <a:pt x="403" y="360"/>
                  </a:lnTo>
                  <a:lnTo>
                    <a:pt x="417" y="343"/>
                  </a:lnTo>
                  <a:lnTo>
                    <a:pt x="427" y="333"/>
                  </a:lnTo>
                  <a:lnTo>
                    <a:pt x="427" y="333"/>
                  </a:lnTo>
                  <a:lnTo>
                    <a:pt x="433" y="323"/>
                  </a:lnTo>
                  <a:lnTo>
                    <a:pt x="433" y="316"/>
                  </a:lnTo>
                  <a:lnTo>
                    <a:pt x="433" y="316"/>
                  </a:lnTo>
                  <a:lnTo>
                    <a:pt x="437" y="313"/>
                  </a:lnTo>
                  <a:lnTo>
                    <a:pt x="440" y="306"/>
                  </a:lnTo>
                  <a:lnTo>
                    <a:pt x="440" y="306"/>
                  </a:lnTo>
                  <a:lnTo>
                    <a:pt x="443" y="306"/>
                  </a:lnTo>
                  <a:lnTo>
                    <a:pt x="447" y="303"/>
                  </a:lnTo>
                  <a:lnTo>
                    <a:pt x="447" y="303"/>
                  </a:lnTo>
                  <a:lnTo>
                    <a:pt x="447" y="296"/>
                  </a:lnTo>
                  <a:lnTo>
                    <a:pt x="443" y="289"/>
                  </a:lnTo>
                  <a:lnTo>
                    <a:pt x="440" y="286"/>
                  </a:lnTo>
                  <a:lnTo>
                    <a:pt x="440" y="286"/>
                  </a:lnTo>
                  <a:lnTo>
                    <a:pt x="440" y="283"/>
                  </a:lnTo>
                  <a:lnTo>
                    <a:pt x="443" y="279"/>
                  </a:lnTo>
                  <a:lnTo>
                    <a:pt x="443" y="276"/>
                  </a:lnTo>
                  <a:lnTo>
                    <a:pt x="437" y="276"/>
                  </a:lnTo>
                  <a:lnTo>
                    <a:pt x="437" y="276"/>
                  </a:lnTo>
                  <a:lnTo>
                    <a:pt x="437" y="273"/>
                  </a:lnTo>
                  <a:lnTo>
                    <a:pt x="433" y="269"/>
                  </a:lnTo>
                  <a:lnTo>
                    <a:pt x="433" y="269"/>
                  </a:lnTo>
                  <a:lnTo>
                    <a:pt x="427" y="259"/>
                  </a:lnTo>
                  <a:lnTo>
                    <a:pt x="427" y="249"/>
                  </a:lnTo>
                  <a:lnTo>
                    <a:pt x="427" y="249"/>
                  </a:lnTo>
                  <a:lnTo>
                    <a:pt x="427" y="242"/>
                  </a:lnTo>
                  <a:lnTo>
                    <a:pt x="423" y="236"/>
                  </a:lnTo>
                  <a:lnTo>
                    <a:pt x="423" y="236"/>
                  </a:lnTo>
                  <a:lnTo>
                    <a:pt x="423" y="232"/>
                  </a:lnTo>
                  <a:lnTo>
                    <a:pt x="423" y="229"/>
                  </a:lnTo>
                  <a:lnTo>
                    <a:pt x="423" y="229"/>
                  </a:lnTo>
                  <a:lnTo>
                    <a:pt x="423" y="229"/>
                  </a:lnTo>
                  <a:lnTo>
                    <a:pt x="420" y="212"/>
                  </a:lnTo>
                  <a:lnTo>
                    <a:pt x="420" y="212"/>
                  </a:lnTo>
                  <a:lnTo>
                    <a:pt x="420" y="199"/>
                  </a:lnTo>
                  <a:lnTo>
                    <a:pt x="423" y="195"/>
                  </a:lnTo>
                  <a:lnTo>
                    <a:pt x="423" y="192"/>
                  </a:lnTo>
                  <a:lnTo>
                    <a:pt x="423" y="192"/>
                  </a:lnTo>
                  <a:lnTo>
                    <a:pt x="417" y="185"/>
                  </a:lnTo>
                  <a:lnTo>
                    <a:pt x="410" y="185"/>
                  </a:lnTo>
                  <a:lnTo>
                    <a:pt x="410" y="185"/>
                  </a:lnTo>
                  <a:lnTo>
                    <a:pt x="403" y="182"/>
                  </a:lnTo>
                  <a:lnTo>
                    <a:pt x="396" y="178"/>
                  </a:lnTo>
                  <a:lnTo>
                    <a:pt x="396" y="178"/>
                  </a:lnTo>
                  <a:lnTo>
                    <a:pt x="403" y="165"/>
                  </a:lnTo>
                  <a:lnTo>
                    <a:pt x="413" y="155"/>
                  </a:lnTo>
                  <a:lnTo>
                    <a:pt x="413" y="155"/>
                  </a:lnTo>
                  <a:lnTo>
                    <a:pt x="420" y="155"/>
                  </a:lnTo>
                  <a:lnTo>
                    <a:pt x="423" y="148"/>
                  </a:lnTo>
                  <a:lnTo>
                    <a:pt x="427" y="141"/>
                  </a:lnTo>
                  <a:lnTo>
                    <a:pt x="427" y="141"/>
                  </a:lnTo>
                  <a:lnTo>
                    <a:pt x="427" y="135"/>
                  </a:lnTo>
                  <a:lnTo>
                    <a:pt x="423" y="125"/>
                  </a:lnTo>
                  <a:lnTo>
                    <a:pt x="423" y="125"/>
                  </a:lnTo>
                  <a:lnTo>
                    <a:pt x="420" y="118"/>
                  </a:lnTo>
                  <a:lnTo>
                    <a:pt x="423" y="108"/>
                  </a:lnTo>
                  <a:lnTo>
                    <a:pt x="423" y="108"/>
                  </a:lnTo>
                  <a:lnTo>
                    <a:pt x="420" y="88"/>
                  </a:lnTo>
                  <a:lnTo>
                    <a:pt x="420" y="88"/>
                  </a:lnTo>
                  <a:lnTo>
                    <a:pt x="417" y="78"/>
                  </a:lnTo>
                  <a:lnTo>
                    <a:pt x="417" y="78"/>
                  </a:lnTo>
                  <a:lnTo>
                    <a:pt x="413" y="68"/>
                  </a:lnTo>
                  <a:lnTo>
                    <a:pt x="413" y="68"/>
                  </a:lnTo>
                  <a:lnTo>
                    <a:pt x="410" y="61"/>
                  </a:lnTo>
                  <a:lnTo>
                    <a:pt x="410" y="61"/>
                  </a:lnTo>
                  <a:lnTo>
                    <a:pt x="410" y="61"/>
                  </a:lnTo>
                  <a:lnTo>
                    <a:pt x="410" y="51"/>
                  </a:lnTo>
                  <a:lnTo>
                    <a:pt x="410" y="51"/>
                  </a:lnTo>
                  <a:lnTo>
                    <a:pt x="410" y="47"/>
                  </a:lnTo>
                  <a:lnTo>
                    <a:pt x="407" y="41"/>
                  </a:lnTo>
                  <a:lnTo>
                    <a:pt x="407" y="41"/>
                  </a:lnTo>
                  <a:lnTo>
                    <a:pt x="407" y="34"/>
                  </a:lnTo>
                  <a:lnTo>
                    <a:pt x="407" y="27"/>
                  </a:lnTo>
                  <a:lnTo>
                    <a:pt x="407" y="27"/>
                  </a:lnTo>
                  <a:lnTo>
                    <a:pt x="396" y="27"/>
                  </a:lnTo>
                  <a:lnTo>
                    <a:pt x="396" y="27"/>
                  </a:lnTo>
                  <a:lnTo>
                    <a:pt x="390" y="20"/>
                  </a:lnTo>
                  <a:lnTo>
                    <a:pt x="390" y="20"/>
                  </a:lnTo>
                  <a:lnTo>
                    <a:pt x="386" y="24"/>
                  </a:lnTo>
                  <a:lnTo>
                    <a:pt x="386" y="24"/>
                  </a:lnTo>
                  <a:lnTo>
                    <a:pt x="366" y="27"/>
                  </a:lnTo>
                  <a:lnTo>
                    <a:pt x="366" y="27"/>
                  </a:lnTo>
                  <a:lnTo>
                    <a:pt x="349" y="34"/>
                  </a:lnTo>
                  <a:lnTo>
                    <a:pt x="349" y="34"/>
                  </a:lnTo>
                  <a:lnTo>
                    <a:pt x="329" y="37"/>
                  </a:lnTo>
                  <a:lnTo>
                    <a:pt x="296" y="37"/>
                  </a:lnTo>
                  <a:lnTo>
                    <a:pt x="296" y="37"/>
                  </a:lnTo>
                  <a:lnTo>
                    <a:pt x="252" y="37"/>
                  </a:lnTo>
                  <a:lnTo>
                    <a:pt x="252" y="37"/>
                  </a:lnTo>
                  <a:lnTo>
                    <a:pt x="245" y="31"/>
                  </a:lnTo>
                  <a:lnTo>
                    <a:pt x="245" y="31"/>
                  </a:lnTo>
                  <a:lnTo>
                    <a:pt x="242" y="31"/>
                  </a:lnTo>
                  <a:lnTo>
                    <a:pt x="242" y="31"/>
                  </a:lnTo>
                  <a:close/>
                </a:path>
              </a:pathLst>
            </a:custGeom>
            <a:solidFill>
              <a:srgbClr val="C0C0C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EYInterstate" pitchFamily="2" charset="0"/>
                <a:cs typeface="Arial" charset="0"/>
              </a:endParaRPr>
            </a:p>
          </p:txBody>
        </p:sp>
        <p:sp>
          <p:nvSpPr>
            <p:cNvPr id="27" name="Freeform 41"/>
            <p:cNvSpPr>
              <a:spLocks noEditPoints="1"/>
            </p:cNvSpPr>
            <p:nvPr/>
          </p:nvSpPr>
          <p:spPr bwMode="auto">
            <a:xfrm>
              <a:off x="2788" y="1153"/>
              <a:ext cx="792" cy="909"/>
            </a:xfrm>
            <a:custGeom>
              <a:avLst/>
              <a:gdLst/>
              <a:ahLst/>
              <a:cxnLst>
                <a:cxn ang="0">
                  <a:pos x="545" y="114"/>
                </a:cxn>
                <a:cxn ang="0">
                  <a:pos x="528" y="104"/>
                </a:cxn>
                <a:cxn ang="0">
                  <a:pos x="494" y="127"/>
                </a:cxn>
                <a:cxn ang="0">
                  <a:pos x="471" y="124"/>
                </a:cxn>
                <a:cxn ang="0">
                  <a:pos x="447" y="144"/>
                </a:cxn>
                <a:cxn ang="0">
                  <a:pos x="444" y="181"/>
                </a:cxn>
                <a:cxn ang="0">
                  <a:pos x="424" y="195"/>
                </a:cxn>
                <a:cxn ang="0">
                  <a:pos x="390" y="198"/>
                </a:cxn>
                <a:cxn ang="0">
                  <a:pos x="387" y="218"/>
                </a:cxn>
                <a:cxn ang="0">
                  <a:pos x="424" y="231"/>
                </a:cxn>
                <a:cxn ang="0">
                  <a:pos x="394" y="252"/>
                </a:cxn>
                <a:cxn ang="0">
                  <a:pos x="387" y="282"/>
                </a:cxn>
                <a:cxn ang="0">
                  <a:pos x="340" y="339"/>
                </a:cxn>
                <a:cxn ang="0">
                  <a:pos x="303" y="443"/>
                </a:cxn>
                <a:cxn ang="0">
                  <a:pos x="276" y="467"/>
                </a:cxn>
                <a:cxn ang="0">
                  <a:pos x="212" y="544"/>
                </a:cxn>
                <a:cxn ang="0">
                  <a:pos x="155" y="568"/>
                </a:cxn>
                <a:cxn ang="0">
                  <a:pos x="135" y="605"/>
                </a:cxn>
                <a:cxn ang="0">
                  <a:pos x="118" y="628"/>
                </a:cxn>
                <a:cxn ang="0">
                  <a:pos x="51" y="652"/>
                </a:cxn>
                <a:cxn ang="0">
                  <a:pos x="31" y="665"/>
                </a:cxn>
                <a:cxn ang="0">
                  <a:pos x="54" y="725"/>
                </a:cxn>
                <a:cxn ang="0">
                  <a:pos x="21" y="749"/>
                </a:cxn>
                <a:cxn ang="0">
                  <a:pos x="31" y="799"/>
                </a:cxn>
                <a:cxn ang="0">
                  <a:pos x="4" y="823"/>
                </a:cxn>
                <a:cxn ang="0">
                  <a:pos x="21" y="877"/>
                </a:cxn>
                <a:cxn ang="0">
                  <a:pos x="58" y="967"/>
                </a:cxn>
                <a:cxn ang="0">
                  <a:pos x="145" y="924"/>
                </a:cxn>
                <a:cxn ang="0">
                  <a:pos x="199" y="867"/>
                </a:cxn>
                <a:cxn ang="0">
                  <a:pos x="232" y="877"/>
                </a:cxn>
                <a:cxn ang="0">
                  <a:pos x="266" y="789"/>
                </a:cxn>
                <a:cxn ang="0">
                  <a:pos x="266" y="631"/>
                </a:cxn>
                <a:cxn ang="0">
                  <a:pos x="326" y="551"/>
                </a:cxn>
                <a:cxn ang="0">
                  <a:pos x="360" y="403"/>
                </a:cxn>
                <a:cxn ang="0">
                  <a:pos x="421" y="329"/>
                </a:cxn>
                <a:cxn ang="0">
                  <a:pos x="471" y="252"/>
                </a:cxn>
                <a:cxn ang="0">
                  <a:pos x="528" y="198"/>
                </a:cxn>
                <a:cxn ang="0">
                  <a:pos x="575" y="191"/>
                </a:cxn>
                <a:cxn ang="0">
                  <a:pos x="636" y="211"/>
                </a:cxn>
                <a:cxn ang="0">
                  <a:pos x="662" y="147"/>
                </a:cxn>
                <a:cxn ang="0">
                  <a:pos x="716" y="121"/>
                </a:cxn>
                <a:cxn ang="0">
                  <a:pos x="746" y="151"/>
                </a:cxn>
                <a:cxn ang="0">
                  <a:pos x="787" y="114"/>
                </a:cxn>
                <a:cxn ang="0">
                  <a:pos x="777" y="43"/>
                </a:cxn>
                <a:cxn ang="0">
                  <a:pos x="710" y="20"/>
                </a:cxn>
                <a:cxn ang="0">
                  <a:pos x="679" y="10"/>
                </a:cxn>
                <a:cxn ang="0">
                  <a:pos x="662" y="43"/>
                </a:cxn>
                <a:cxn ang="0">
                  <a:pos x="632" y="26"/>
                </a:cxn>
                <a:cxn ang="0">
                  <a:pos x="619" y="26"/>
                </a:cxn>
                <a:cxn ang="0">
                  <a:pos x="595" y="67"/>
                </a:cxn>
                <a:cxn ang="0">
                  <a:pos x="34" y="810"/>
                </a:cxn>
                <a:cxn ang="0">
                  <a:pos x="10" y="773"/>
                </a:cxn>
                <a:cxn ang="0">
                  <a:pos x="54" y="725"/>
                </a:cxn>
                <a:cxn ang="0">
                  <a:pos x="98" y="618"/>
                </a:cxn>
                <a:cxn ang="0">
                  <a:pos x="202" y="564"/>
                </a:cxn>
                <a:cxn ang="0">
                  <a:pos x="320" y="262"/>
                </a:cxn>
                <a:cxn ang="0">
                  <a:pos x="367" y="228"/>
                </a:cxn>
                <a:cxn ang="0">
                  <a:pos x="407" y="164"/>
                </a:cxn>
                <a:cxn ang="0">
                  <a:pos x="484" y="134"/>
                </a:cxn>
                <a:cxn ang="0">
                  <a:pos x="595" y="43"/>
                </a:cxn>
                <a:cxn ang="0">
                  <a:pos x="578" y="80"/>
                </a:cxn>
                <a:cxn ang="0">
                  <a:pos x="555" y="67"/>
                </a:cxn>
              </a:cxnLst>
              <a:rect l="0" t="0" r="r" b="b"/>
              <a:pathLst>
                <a:path w="790" h="971">
                  <a:moveTo>
                    <a:pt x="552" y="80"/>
                  </a:moveTo>
                  <a:lnTo>
                    <a:pt x="552" y="80"/>
                  </a:lnTo>
                  <a:lnTo>
                    <a:pt x="548" y="80"/>
                  </a:lnTo>
                  <a:lnTo>
                    <a:pt x="545" y="80"/>
                  </a:lnTo>
                  <a:lnTo>
                    <a:pt x="545" y="80"/>
                  </a:lnTo>
                  <a:lnTo>
                    <a:pt x="545" y="90"/>
                  </a:lnTo>
                  <a:lnTo>
                    <a:pt x="545" y="90"/>
                  </a:lnTo>
                  <a:lnTo>
                    <a:pt x="538" y="90"/>
                  </a:lnTo>
                  <a:lnTo>
                    <a:pt x="541" y="100"/>
                  </a:lnTo>
                  <a:lnTo>
                    <a:pt x="541" y="100"/>
                  </a:lnTo>
                  <a:lnTo>
                    <a:pt x="545" y="100"/>
                  </a:lnTo>
                  <a:lnTo>
                    <a:pt x="548" y="100"/>
                  </a:lnTo>
                  <a:lnTo>
                    <a:pt x="548" y="100"/>
                  </a:lnTo>
                  <a:lnTo>
                    <a:pt x="548" y="104"/>
                  </a:lnTo>
                  <a:lnTo>
                    <a:pt x="548" y="104"/>
                  </a:lnTo>
                  <a:lnTo>
                    <a:pt x="552" y="104"/>
                  </a:lnTo>
                  <a:lnTo>
                    <a:pt x="555" y="104"/>
                  </a:lnTo>
                  <a:lnTo>
                    <a:pt x="555" y="104"/>
                  </a:lnTo>
                  <a:lnTo>
                    <a:pt x="555" y="107"/>
                  </a:lnTo>
                  <a:lnTo>
                    <a:pt x="558" y="107"/>
                  </a:lnTo>
                  <a:lnTo>
                    <a:pt x="558" y="107"/>
                  </a:lnTo>
                  <a:lnTo>
                    <a:pt x="558" y="107"/>
                  </a:lnTo>
                  <a:lnTo>
                    <a:pt x="555" y="114"/>
                  </a:lnTo>
                  <a:lnTo>
                    <a:pt x="555" y="114"/>
                  </a:lnTo>
                  <a:lnTo>
                    <a:pt x="545" y="114"/>
                  </a:lnTo>
                  <a:lnTo>
                    <a:pt x="545" y="114"/>
                  </a:lnTo>
                  <a:lnTo>
                    <a:pt x="545" y="110"/>
                  </a:lnTo>
                  <a:lnTo>
                    <a:pt x="541" y="107"/>
                  </a:lnTo>
                  <a:lnTo>
                    <a:pt x="541" y="107"/>
                  </a:lnTo>
                  <a:lnTo>
                    <a:pt x="541" y="107"/>
                  </a:lnTo>
                  <a:lnTo>
                    <a:pt x="541" y="104"/>
                  </a:lnTo>
                  <a:lnTo>
                    <a:pt x="535" y="104"/>
                  </a:lnTo>
                  <a:lnTo>
                    <a:pt x="535" y="104"/>
                  </a:lnTo>
                  <a:lnTo>
                    <a:pt x="535" y="110"/>
                  </a:lnTo>
                  <a:lnTo>
                    <a:pt x="538" y="114"/>
                  </a:lnTo>
                  <a:lnTo>
                    <a:pt x="541" y="114"/>
                  </a:lnTo>
                  <a:lnTo>
                    <a:pt x="538" y="121"/>
                  </a:lnTo>
                  <a:lnTo>
                    <a:pt x="538" y="121"/>
                  </a:lnTo>
                  <a:lnTo>
                    <a:pt x="531" y="121"/>
                  </a:lnTo>
                  <a:lnTo>
                    <a:pt x="531" y="121"/>
                  </a:lnTo>
                  <a:lnTo>
                    <a:pt x="531" y="107"/>
                  </a:lnTo>
                  <a:lnTo>
                    <a:pt x="525" y="94"/>
                  </a:lnTo>
                  <a:lnTo>
                    <a:pt x="525" y="94"/>
                  </a:lnTo>
                  <a:lnTo>
                    <a:pt x="521" y="90"/>
                  </a:lnTo>
                  <a:lnTo>
                    <a:pt x="521" y="90"/>
                  </a:lnTo>
                  <a:lnTo>
                    <a:pt x="518" y="97"/>
                  </a:lnTo>
                  <a:lnTo>
                    <a:pt x="518" y="97"/>
                  </a:lnTo>
                  <a:lnTo>
                    <a:pt x="521" y="104"/>
                  </a:lnTo>
                  <a:lnTo>
                    <a:pt x="521" y="104"/>
                  </a:lnTo>
                  <a:lnTo>
                    <a:pt x="528" y="104"/>
                  </a:lnTo>
                  <a:lnTo>
                    <a:pt x="528" y="104"/>
                  </a:lnTo>
                  <a:lnTo>
                    <a:pt x="528" y="117"/>
                  </a:lnTo>
                  <a:lnTo>
                    <a:pt x="528" y="117"/>
                  </a:lnTo>
                  <a:lnTo>
                    <a:pt x="521" y="124"/>
                  </a:lnTo>
                  <a:lnTo>
                    <a:pt x="521" y="124"/>
                  </a:lnTo>
                  <a:lnTo>
                    <a:pt x="521" y="134"/>
                  </a:lnTo>
                  <a:lnTo>
                    <a:pt x="521" y="144"/>
                  </a:lnTo>
                  <a:lnTo>
                    <a:pt x="518" y="147"/>
                  </a:lnTo>
                  <a:lnTo>
                    <a:pt x="518" y="147"/>
                  </a:lnTo>
                  <a:lnTo>
                    <a:pt x="521" y="134"/>
                  </a:lnTo>
                  <a:lnTo>
                    <a:pt x="521" y="121"/>
                  </a:lnTo>
                  <a:lnTo>
                    <a:pt x="515" y="117"/>
                  </a:lnTo>
                  <a:lnTo>
                    <a:pt x="515" y="117"/>
                  </a:lnTo>
                  <a:lnTo>
                    <a:pt x="515" y="121"/>
                  </a:lnTo>
                  <a:lnTo>
                    <a:pt x="511" y="121"/>
                  </a:lnTo>
                  <a:lnTo>
                    <a:pt x="511" y="121"/>
                  </a:lnTo>
                  <a:lnTo>
                    <a:pt x="508" y="124"/>
                  </a:lnTo>
                  <a:lnTo>
                    <a:pt x="505" y="127"/>
                  </a:lnTo>
                  <a:lnTo>
                    <a:pt x="505" y="127"/>
                  </a:lnTo>
                  <a:lnTo>
                    <a:pt x="505" y="131"/>
                  </a:lnTo>
                  <a:lnTo>
                    <a:pt x="505" y="131"/>
                  </a:lnTo>
                  <a:lnTo>
                    <a:pt x="505" y="131"/>
                  </a:lnTo>
                  <a:lnTo>
                    <a:pt x="505" y="127"/>
                  </a:lnTo>
                  <a:lnTo>
                    <a:pt x="505" y="127"/>
                  </a:lnTo>
                  <a:lnTo>
                    <a:pt x="494" y="127"/>
                  </a:lnTo>
                  <a:lnTo>
                    <a:pt x="494" y="127"/>
                  </a:lnTo>
                  <a:lnTo>
                    <a:pt x="494" y="121"/>
                  </a:lnTo>
                  <a:lnTo>
                    <a:pt x="498" y="121"/>
                  </a:lnTo>
                  <a:lnTo>
                    <a:pt x="498" y="121"/>
                  </a:lnTo>
                  <a:lnTo>
                    <a:pt x="501" y="117"/>
                  </a:lnTo>
                  <a:lnTo>
                    <a:pt x="505" y="117"/>
                  </a:lnTo>
                  <a:lnTo>
                    <a:pt x="505" y="117"/>
                  </a:lnTo>
                  <a:lnTo>
                    <a:pt x="505" y="107"/>
                  </a:lnTo>
                  <a:lnTo>
                    <a:pt x="505" y="107"/>
                  </a:lnTo>
                  <a:lnTo>
                    <a:pt x="494" y="100"/>
                  </a:lnTo>
                  <a:lnTo>
                    <a:pt x="494" y="100"/>
                  </a:lnTo>
                  <a:lnTo>
                    <a:pt x="494" y="104"/>
                  </a:lnTo>
                  <a:lnTo>
                    <a:pt x="494" y="104"/>
                  </a:lnTo>
                  <a:lnTo>
                    <a:pt x="484" y="104"/>
                  </a:lnTo>
                  <a:lnTo>
                    <a:pt x="484" y="104"/>
                  </a:lnTo>
                  <a:lnTo>
                    <a:pt x="478" y="110"/>
                  </a:lnTo>
                  <a:lnTo>
                    <a:pt x="478" y="110"/>
                  </a:lnTo>
                  <a:lnTo>
                    <a:pt x="474" y="117"/>
                  </a:lnTo>
                  <a:lnTo>
                    <a:pt x="474" y="117"/>
                  </a:lnTo>
                  <a:lnTo>
                    <a:pt x="481" y="121"/>
                  </a:lnTo>
                  <a:lnTo>
                    <a:pt x="481" y="124"/>
                  </a:lnTo>
                  <a:lnTo>
                    <a:pt x="481" y="124"/>
                  </a:lnTo>
                  <a:lnTo>
                    <a:pt x="478" y="124"/>
                  </a:lnTo>
                  <a:lnTo>
                    <a:pt x="471" y="124"/>
                  </a:lnTo>
                  <a:lnTo>
                    <a:pt x="471" y="124"/>
                  </a:lnTo>
                  <a:lnTo>
                    <a:pt x="471" y="127"/>
                  </a:lnTo>
                  <a:lnTo>
                    <a:pt x="471" y="131"/>
                  </a:lnTo>
                  <a:lnTo>
                    <a:pt x="471" y="131"/>
                  </a:lnTo>
                  <a:lnTo>
                    <a:pt x="461" y="131"/>
                  </a:lnTo>
                  <a:lnTo>
                    <a:pt x="461" y="131"/>
                  </a:lnTo>
                  <a:lnTo>
                    <a:pt x="461" y="151"/>
                  </a:lnTo>
                  <a:lnTo>
                    <a:pt x="461" y="151"/>
                  </a:lnTo>
                  <a:lnTo>
                    <a:pt x="471" y="151"/>
                  </a:lnTo>
                  <a:lnTo>
                    <a:pt x="474" y="154"/>
                  </a:lnTo>
                  <a:lnTo>
                    <a:pt x="478" y="158"/>
                  </a:lnTo>
                  <a:lnTo>
                    <a:pt x="478" y="158"/>
                  </a:lnTo>
                  <a:lnTo>
                    <a:pt x="481" y="164"/>
                  </a:lnTo>
                  <a:lnTo>
                    <a:pt x="481" y="164"/>
                  </a:lnTo>
                  <a:lnTo>
                    <a:pt x="474" y="164"/>
                  </a:lnTo>
                  <a:lnTo>
                    <a:pt x="474" y="161"/>
                  </a:lnTo>
                  <a:lnTo>
                    <a:pt x="468" y="154"/>
                  </a:lnTo>
                  <a:lnTo>
                    <a:pt x="468" y="154"/>
                  </a:lnTo>
                  <a:lnTo>
                    <a:pt x="461" y="158"/>
                  </a:lnTo>
                  <a:lnTo>
                    <a:pt x="461" y="158"/>
                  </a:lnTo>
                  <a:lnTo>
                    <a:pt x="461" y="151"/>
                  </a:lnTo>
                  <a:lnTo>
                    <a:pt x="461" y="147"/>
                  </a:lnTo>
                  <a:lnTo>
                    <a:pt x="461" y="147"/>
                  </a:lnTo>
                  <a:lnTo>
                    <a:pt x="454" y="144"/>
                  </a:lnTo>
                  <a:lnTo>
                    <a:pt x="454" y="144"/>
                  </a:lnTo>
                  <a:lnTo>
                    <a:pt x="447" y="144"/>
                  </a:lnTo>
                  <a:lnTo>
                    <a:pt x="447" y="144"/>
                  </a:lnTo>
                  <a:lnTo>
                    <a:pt x="447" y="151"/>
                  </a:lnTo>
                  <a:lnTo>
                    <a:pt x="447" y="151"/>
                  </a:lnTo>
                  <a:lnTo>
                    <a:pt x="441" y="151"/>
                  </a:lnTo>
                  <a:lnTo>
                    <a:pt x="437" y="154"/>
                  </a:lnTo>
                  <a:lnTo>
                    <a:pt x="437" y="154"/>
                  </a:lnTo>
                  <a:lnTo>
                    <a:pt x="434" y="164"/>
                  </a:lnTo>
                  <a:lnTo>
                    <a:pt x="431" y="178"/>
                  </a:lnTo>
                  <a:lnTo>
                    <a:pt x="431" y="178"/>
                  </a:lnTo>
                  <a:lnTo>
                    <a:pt x="434" y="178"/>
                  </a:lnTo>
                  <a:lnTo>
                    <a:pt x="434" y="181"/>
                  </a:lnTo>
                  <a:lnTo>
                    <a:pt x="431" y="181"/>
                  </a:lnTo>
                  <a:lnTo>
                    <a:pt x="431" y="181"/>
                  </a:lnTo>
                  <a:lnTo>
                    <a:pt x="431" y="188"/>
                  </a:lnTo>
                  <a:lnTo>
                    <a:pt x="431" y="188"/>
                  </a:lnTo>
                  <a:lnTo>
                    <a:pt x="431" y="188"/>
                  </a:lnTo>
                  <a:lnTo>
                    <a:pt x="434" y="191"/>
                  </a:lnTo>
                  <a:lnTo>
                    <a:pt x="434" y="191"/>
                  </a:lnTo>
                  <a:lnTo>
                    <a:pt x="437" y="191"/>
                  </a:lnTo>
                  <a:lnTo>
                    <a:pt x="437" y="191"/>
                  </a:lnTo>
                  <a:lnTo>
                    <a:pt x="441" y="191"/>
                  </a:lnTo>
                  <a:lnTo>
                    <a:pt x="444" y="191"/>
                  </a:lnTo>
                  <a:lnTo>
                    <a:pt x="444" y="191"/>
                  </a:lnTo>
                  <a:lnTo>
                    <a:pt x="444" y="181"/>
                  </a:lnTo>
                  <a:lnTo>
                    <a:pt x="444" y="181"/>
                  </a:lnTo>
                  <a:lnTo>
                    <a:pt x="451" y="178"/>
                  </a:lnTo>
                  <a:lnTo>
                    <a:pt x="454" y="178"/>
                  </a:lnTo>
                  <a:lnTo>
                    <a:pt x="454" y="178"/>
                  </a:lnTo>
                  <a:lnTo>
                    <a:pt x="454" y="178"/>
                  </a:lnTo>
                  <a:lnTo>
                    <a:pt x="444" y="184"/>
                  </a:lnTo>
                  <a:lnTo>
                    <a:pt x="444" y="184"/>
                  </a:lnTo>
                  <a:lnTo>
                    <a:pt x="447" y="195"/>
                  </a:lnTo>
                  <a:lnTo>
                    <a:pt x="447" y="195"/>
                  </a:lnTo>
                  <a:lnTo>
                    <a:pt x="451" y="195"/>
                  </a:lnTo>
                  <a:lnTo>
                    <a:pt x="451" y="201"/>
                  </a:lnTo>
                  <a:lnTo>
                    <a:pt x="451" y="201"/>
                  </a:lnTo>
                  <a:lnTo>
                    <a:pt x="441" y="201"/>
                  </a:lnTo>
                  <a:lnTo>
                    <a:pt x="434" y="201"/>
                  </a:lnTo>
                  <a:lnTo>
                    <a:pt x="431" y="205"/>
                  </a:lnTo>
                  <a:lnTo>
                    <a:pt x="431" y="205"/>
                  </a:lnTo>
                  <a:lnTo>
                    <a:pt x="431" y="211"/>
                  </a:lnTo>
                  <a:lnTo>
                    <a:pt x="431" y="211"/>
                  </a:lnTo>
                  <a:lnTo>
                    <a:pt x="427" y="215"/>
                  </a:lnTo>
                  <a:lnTo>
                    <a:pt x="427" y="215"/>
                  </a:lnTo>
                  <a:lnTo>
                    <a:pt x="427" y="211"/>
                  </a:lnTo>
                  <a:lnTo>
                    <a:pt x="424" y="208"/>
                  </a:lnTo>
                  <a:lnTo>
                    <a:pt x="424" y="208"/>
                  </a:lnTo>
                  <a:lnTo>
                    <a:pt x="424" y="191"/>
                  </a:lnTo>
                  <a:lnTo>
                    <a:pt x="424" y="191"/>
                  </a:lnTo>
                  <a:lnTo>
                    <a:pt x="424" y="195"/>
                  </a:lnTo>
                  <a:lnTo>
                    <a:pt x="421" y="195"/>
                  </a:lnTo>
                  <a:lnTo>
                    <a:pt x="421" y="195"/>
                  </a:lnTo>
                  <a:lnTo>
                    <a:pt x="421" y="188"/>
                  </a:lnTo>
                  <a:lnTo>
                    <a:pt x="421" y="188"/>
                  </a:lnTo>
                  <a:lnTo>
                    <a:pt x="417" y="188"/>
                  </a:lnTo>
                  <a:lnTo>
                    <a:pt x="417" y="188"/>
                  </a:lnTo>
                  <a:lnTo>
                    <a:pt x="417" y="191"/>
                  </a:lnTo>
                  <a:lnTo>
                    <a:pt x="417" y="191"/>
                  </a:lnTo>
                  <a:lnTo>
                    <a:pt x="417" y="191"/>
                  </a:lnTo>
                  <a:lnTo>
                    <a:pt x="417" y="195"/>
                  </a:lnTo>
                  <a:lnTo>
                    <a:pt x="417" y="198"/>
                  </a:lnTo>
                  <a:lnTo>
                    <a:pt x="414" y="201"/>
                  </a:lnTo>
                  <a:lnTo>
                    <a:pt x="414" y="201"/>
                  </a:lnTo>
                  <a:lnTo>
                    <a:pt x="407" y="201"/>
                  </a:lnTo>
                  <a:lnTo>
                    <a:pt x="407" y="201"/>
                  </a:lnTo>
                  <a:lnTo>
                    <a:pt x="407" y="184"/>
                  </a:lnTo>
                  <a:lnTo>
                    <a:pt x="407" y="184"/>
                  </a:lnTo>
                  <a:lnTo>
                    <a:pt x="404" y="188"/>
                  </a:lnTo>
                  <a:lnTo>
                    <a:pt x="400" y="188"/>
                  </a:lnTo>
                  <a:lnTo>
                    <a:pt x="400" y="188"/>
                  </a:lnTo>
                  <a:lnTo>
                    <a:pt x="397" y="208"/>
                  </a:lnTo>
                  <a:lnTo>
                    <a:pt x="397" y="208"/>
                  </a:lnTo>
                  <a:lnTo>
                    <a:pt x="387" y="215"/>
                  </a:lnTo>
                  <a:lnTo>
                    <a:pt x="387" y="215"/>
                  </a:lnTo>
                  <a:lnTo>
                    <a:pt x="390" y="198"/>
                  </a:lnTo>
                  <a:lnTo>
                    <a:pt x="394" y="191"/>
                  </a:lnTo>
                  <a:lnTo>
                    <a:pt x="390" y="181"/>
                  </a:lnTo>
                  <a:lnTo>
                    <a:pt x="384" y="178"/>
                  </a:lnTo>
                  <a:lnTo>
                    <a:pt x="384" y="178"/>
                  </a:lnTo>
                  <a:lnTo>
                    <a:pt x="380" y="191"/>
                  </a:lnTo>
                  <a:lnTo>
                    <a:pt x="370" y="195"/>
                  </a:lnTo>
                  <a:lnTo>
                    <a:pt x="370" y="195"/>
                  </a:lnTo>
                  <a:lnTo>
                    <a:pt x="370" y="201"/>
                  </a:lnTo>
                  <a:lnTo>
                    <a:pt x="367" y="201"/>
                  </a:lnTo>
                  <a:lnTo>
                    <a:pt x="367" y="208"/>
                  </a:lnTo>
                  <a:lnTo>
                    <a:pt x="367" y="208"/>
                  </a:lnTo>
                  <a:lnTo>
                    <a:pt x="380" y="205"/>
                  </a:lnTo>
                  <a:lnTo>
                    <a:pt x="380" y="208"/>
                  </a:lnTo>
                  <a:lnTo>
                    <a:pt x="380" y="208"/>
                  </a:lnTo>
                  <a:lnTo>
                    <a:pt x="373" y="215"/>
                  </a:lnTo>
                  <a:lnTo>
                    <a:pt x="373" y="215"/>
                  </a:lnTo>
                  <a:lnTo>
                    <a:pt x="373" y="218"/>
                  </a:lnTo>
                  <a:lnTo>
                    <a:pt x="373" y="218"/>
                  </a:lnTo>
                  <a:lnTo>
                    <a:pt x="387" y="215"/>
                  </a:lnTo>
                  <a:lnTo>
                    <a:pt x="387" y="218"/>
                  </a:lnTo>
                  <a:lnTo>
                    <a:pt x="387" y="218"/>
                  </a:lnTo>
                  <a:lnTo>
                    <a:pt x="390" y="218"/>
                  </a:lnTo>
                  <a:lnTo>
                    <a:pt x="390" y="218"/>
                  </a:lnTo>
                  <a:lnTo>
                    <a:pt x="387" y="218"/>
                  </a:lnTo>
                  <a:lnTo>
                    <a:pt x="387" y="218"/>
                  </a:lnTo>
                  <a:lnTo>
                    <a:pt x="380" y="225"/>
                  </a:lnTo>
                  <a:lnTo>
                    <a:pt x="380" y="225"/>
                  </a:lnTo>
                  <a:lnTo>
                    <a:pt x="373" y="238"/>
                  </a:lnTo>
                  <a:lnTo>
                    <a:pt x="373" y="238"/>
                  </a:lnTo>
                  <a:lnTo>
                    <a:pt x="377" y="235"/>
                  </a:lnTo>
                  <a:lnTo>
                    <a:pt x="380" y="231"/>
                  </a:lnTo>
                  <a:lnTo>
                    <a:pt x="380" y="231"/>
                  </a:lnTo>
                  <a:lnTo>
                    <a:pt x="380" y="231"/>
                  </a:lnTo>
                  <a:lnTo>
                    <a:pt x="384" y="235"/>
                  </a:lnTo>
                  <a:lnTo>
                    <a:pt x="384" y="238"/>
                  </a:lnTo>
                  <a:lnTo>
                    <a:pt x="384" y="238"/>
                  </a:lnTo>
                  <a:lnTo>
                    <a:pt x="387" y="235"/>
                  </a:lnTo>
                  <a:lnTo>
                    <a:pt x="387" y="231"/>
                  </a:lnTo>
                  <a:lnTo>
                    <a:pt x="387" y="231"/>
                  </a:lnTo>
                  <a:lnTo>
                    <a:pt x="394" y="235"/>
                  </a:lnTo>
                  <a:lnTo>
                    <a:pt x="397" y="238"/>
                  </a:lnTo>
                  <a:lnTo>
                    <a:pt x="397" y="238"/>
                  </a:lnTo>
                  <a:lnTo>
                    <a:pt x="404" y="228"/>
                  </a:lnTo>
                  <a:lnTo>
                    <a:pt x="404" y="228"/>
                  </a:lnTo>
                  <a:lnTo>
                    <a:pt x="410" y="228"/>
                  </a:lnTo>
                  <a:lnTo>
                    <a:pt x="417" y="231"/>
                  </a:lnTo>
                  <a:lnTo>
                    <a:pt x="417" y="231"/>
                  </a:lnTo>
                  <a:lnTo>
                    <a:pt x="421" y="228"/>
                  </a:lnTo>
                  <a:lnTo>
                    <a:pt x="424" y="225"/>
                  </a:lnTo>
                  <a:lnTo>
                    <a:pt x="424" y="231"/>
                  </a:lnTo>
                  <a:lnTo>
                    <a:pt x="424" y="231"/>
                  </a:lnTo>
                  <a:lnTo>
                    <a:pt x="444" y="228"/>
                  </a:lnTo>
                  <a:lnTo>
                    <a:pt x="444" y="228"/>
                  </a:lnTo>
                  <a:lnTo>
                    <a:pt x="444" y="221"/>
                  </a:lnTo>
                  <a:lnTo>
                    <a:pt x="447" y="221"/>
                  </a:lnTo>
                  <a:lnTo>
                    <a:pt x="447" y="221"/>
                  </a:lnTo>
                  <a:lnTo>
                    <a:pt x="454" y="228"/>
                  </a:lnTo>
                  <a:lnTo>
                    <a:pt x="454" y="228"/>
                  </a:lnTo>
                  <a:lnTo>
                    <a:pt x="444" y="231"/>
                  </a:lnTo>
                  <a:lnTo>
                    <a:pt x="434" y="238"/>
                  </a:lnTo>
                  <a:lnTo>
                    <a:pt x="434" y="238"/>
                  </a:lnTo>
                  <a:lnTo>
                    <a:pt x="417" y="235"/>
                  </a:lnTo>
                  <a:lnTo>
                    <a:pt x="417" y="235"/>
                  </a:lnTo>
                  <a:lnTo>
                    <a:pt x="414" y="238"/>
                  </a:lnTo>
                  <a:lnTo>
                    <a:pt x="414" y="242"/>
                  </a:lnTo>
                  <a:lnTo>
                    <a:pt x="414" y="245"/>
                  </a:lnTo>
                  <a:lnTo>
                    <a:pt x="414" y="245"/>
                  </a:lnTo>
                  <a:lnTo>
                    <a:pt x="407" y="245"/>
                  </a:lnTo>
                  <a:lnTo>
                    <a:pt x="404" y="242"/>
                  </a:lnTo>
                  <a:lnTo>
                    <a:pt x="400" y="242"/>
                  </a:lnTo>
                  <a:lnTo>
                    <a:pt x="390" y="245"/>
                  </a:lnTo>
                  <a:lnTo>
                    <a:pt x="390" y="245"/>
                  </a:lnTo>
                  <a:lnTo>
                    <a:pt x="390" y="252"/>
                  </a:lnTo>
                  <a:lnTo>
                    <a:pt x="394" y="252"/>
                  </a:lnTo>
                  <a:lnTo>
                    <a:pt x="394" y="252"/>
                  </a:lnTo>
                  <a:lnTo>
                    <a:pt x="397" y="258"/>
                  </a:lnTo>
                  <a:lnTo>
                    <a:pt x="397" y="258"/>
                  </a:lnTo>
                  <a:lnTo>
                    <a:pt x="390" y="258"/>
                  </a:lnTo>
                  <a:lnTo>
                    <a:pt x="384" y="258"/>
                  </a:lnTo>
                  <a:lnTo>
                    <a:pt x="384" y="258"/>
                  </a:lnTo>
                  <a:lnTo>
                    <a:pt x="377" y="265"/>
                  </a:lnTo>
                  <a:lnTo>
                    <a:pt x="377" y="265"/>
                  </a:lnTo>
                  <a:lnTo>
                    <a:pt x="377" y="268"/>
                  </a:lnTo>
                  <a:lnTo>
                    <a:pt x="377" y="272"/>
                  </a:lnTo>
                  <a:lnTo>
                    <a:pt x="380" y="272"/>
                  </a:lnTo>
                  <a:lnTo>
                    <a:pt x="380" y="272"/>
                  </a:lnTo>
                  <a:lnTo>
                    <a:pt x="377" y="282"/>
                  </a:lnTo>
                  <a:lnTo>
                    <a:pt x="380" y="282"/>
                  </a:lnTo>
                  <a:lnTo>
                    <a:pt x="380" y="282"/>
                  </a:lnTo>
                  <a:lnTo>
                    <a:pt x="384" y="275"/>
                  </a:lnTo>
                  <a:lnTo>
                    <a:pt x="390" y="272"/>
                  </a:lnTo>
                  <a:lnTo>
                    <a:pt x="390" y="272"/>
                  </a:lnTo>
                  <a:lnTo>
                    <a:pt x="397" y="268"/>
                  </a:lnTo>
                  <a:lnTo>
                    <a:pt x="397" y="268"/>
                  </a:lnTo>
                  <a:lnTo>
                    <a:pt x="400" y="268"/>
                  </a:lnTo>
                  <a:lnTo>
                    <a:pt x="400" y="272"/>
                  </a:lnTo>
                  <a:lnTo>
                    <a:pt x="390" y="275"/>
                  </a:lnTo>
                  <a:lnTo>
                    <a:pt x="390" y="275"/>
                  </a:lnTo>
                  <a:lnTo>
                    <a:pt x="387" y="282"/>
                  </a:lnTo>
                  <a:lnTo>
                    <a:pt x="387" y="282"/>
                  </a:lnTo>
                  <a:lnTo>
                    <a:pt x="397" y="289"/>
                  </a:lnTo>
                  <a:lnTo>
                    <a:pt x="397" y="289"/>
                  </a:lnTo>
                  <a:lnTo>
                    <a:pt x="397" y="292"/>
                  </a:lnTo>
                  <a:lnTo>
                    <a:pt x="397" y="292"/>
                  </a:lnTo>
                  <a:lnTo>
                    <a:pt x="387" y="292"/>
                  </a:lnTo>
                  <a:lnTo>
                    <a:pt x="387" y="292"/>
                  </a:lnTo>
                  <a:lnTo>
                    <a:pt x="384" y="289"/>
                  </a:lnTo>
                  <a:lnTo>
                    <a:pt x="384" y="285"/>
                  </a:lnTo>
                  <a:lnTo>
                    <a:pt x="380" y="285"/>
                  </a:lnTo>
                  <a:lnTo>
                    <a:pt x="380" y="285"/>
                  </a:lnTo>
                  <a:lnTo>
                    <a:pt x="367" y="305"/>
                  </a:lnTo>
                  <a:lnTo>
                    <a:pt x="367" y="305"/>
                  </a:lnTo>
                  <a:lnTo>
                    <a:pt x="384" y="305"/>
                  </a:lnTo>
                  <a:lnTo>
                    <a:pt x="384" y="312"/>
                  </a:lnTo>
                  <a:lnTo>
                    <a:pt x="384" y="312"/>
                  </a:lnTo>
                  <a:lnTo>
                    <a:pt x="367" y="315"/>
                  </a:lnTo>
                  <a:lnTo>
                    <a:pt x="360" y="319"/>
                  </a:lnTo>
                  <a:lnTo>
                    <a:pt x="353" y="322"/>
                  </a:lnTo>
                  <a:lnTo>
                    <a:pt x="353" y="322"/>
                  </a:lnTo>
                  <a:lnTo>
                    <a:pt x="353" y="329"/>
                  </a:lnTo>
                  <a:lnTo>
                    <a:pt x="350" y="332"/>
                  </a:lnTo>
                  <a:lnTo>
                    <a:pt x="350" y="332"/>
                  </a:lnTo>
                  <a:lnTo>
                    <a:pt x="340" y="332"/>
                  </a:lnTo>
                  <a:lnTo>
                    <a:pt x="340" y="339"/>
                  </a:lnTo>
                  <a:lnTo>
                    <a:pt x="340" y="339"/>
                  </a:lnTo>
                  <a:lnTo>
                    <a:pt x="333" y="342"/>
                  </a:lnTo>
                  <a:lnTo>
                    <a:pt x="333" y="342"/>
                  </a:lnTo>
                  <a:lnTo>
                    <a:pt x="330" y="352"/>
                  </a:lnTo>
                  <a:lnTo>
                    <a:pt x="333" y="359"/>
                  </a:lnTo>
                  <a:lnTo>
                    <a:pt x="330" y="363"/>
                  </a:lnTo>
                  <a:lnTo>
                    <a:pt x="323" y="369"/>
                  </a:lnTo>
                  <a:lnTo>
                    <a:pt x="323" y="369"/>
                  </a:lnTo>
                  <a:lnTo>
                    <a:pt x="323" y="383"/>
                  </a:lnTo>
                  <a:lnTo>
                    <a:pt x="323" y="383"/>
                  </a:lnTo>
                  <a:lnTo>
                    <a:pt x="350" y="383"/>
                  </a:lnTo>
                  <a:lnTo>
                    <a:pt x="350" y="383"/>
                  </a:lnTo>
                  <a:lnTo>
                    <a:pt x="323" y="393"/>
                  </a:lnTo>
                  <a:lnTo>
                    <a:pt x="300" y="406"/>
                  </a:lnTo>
                  <a:lnTo>
                    <a:pt x="300" y="406"/>
                  </a:lnTo>
                  <a:lnTo>
                    <a:pt x="293" y="410"/>
                  </a:lnTo>
                  <a:lnTo>
                    <a:pt x="293" y="413"/>
                  </a:lnTo>
                  <a:lnTo>
                    <a:pt x="306" y="410"/>
                  </a:lnTo>
                  <a:lnTo>
                    <a:pt x="320" y="403"/>
                  </a:lnTo>
                  <a:lnTo>
                    <a:pt x="310" y="410"/>
                  </a:lnTo>
                  <a:lnTo>
                    <a:pt x="310" y="410"/>
                  </a:lnTo>
                  <a:lnTo>
                    <a:pt x="303" y="423"/>
                  </a:lnTo>
                  <a:lnTo>
                    <a:pt x="300" y="430"/>
                  </a:lnTo>
                  <a:lnTo>
                    <a:pt x="300" y="436"/>
                  </a:lnTo>
                  <a:lnTo>
                    <a:pt x="300" y="436"/>
                  </a:lnTo>
                  <a:lnTo>
                    <a:pt x="303" y="443"/>
                  </a:lnTo>
                  <a:lnTo>
                    <a:pt x="303" y="443"/>
                  </a:lnTo>
                  <a:lnTo>
                    <a:pt x="296" y="436"/>
                  </a:lnTo>
                  <a:lnTo>
                    <a:pt x="293" y="436"/>
                  </a:lnTo>
                  <a:lnTo>
                    <a:pt x="293" y="436"/>
                  </a:lnTo>
                  <a:lnTo>
                    <a:pt x="289" y="443"/>
                  </a:lnTo>
                  <a:lnTo>
                    <a:pt x="293" y="453"/>
                  </a:lnTo>
                  <a:lnTo>
                    <a:pt x="293" y="453"/>
                  </a:lnTo>
                  <a:lnTo>
                    <a:pt x="296" y="453"/>
                  </a:lnTo>
                  <a:lnTo>
                    <a:pt x="296" y="453"/>
                  </a:lnTo>
                  <a:lnTo>
                    <a:pt x="300" y="463"/>
                  </a:lnTo>
                  <a:lnTo>
                    <a:pt x="300" y="463"/>
                  </a:lnTo>
                  <a:lnTo>
                    <a:pt x="306" y="463"/>
                  </a:lnTo>
                  <a:lnTo>
                    <a:pt x="306" y="463"/>
                  </a:lnTo>
                  <a:lnTo>
                    <a:pt x="300" y="467"/>
                  </a:lnTo>
                  <a:lnTo>
                    <a:pt x="300" y="467"/>
                  </a:lnTo>
                  <a:lnTo>
                    <a:pt x="300" y="467"/>
                  </a:lnTo>
                  <a:lnTo>
                    <a:pt x="293" y="470"/>
                  </a:lnTo>
                  <a:lnTo>
                    <a:pt x="293" y="470"/>
                  </a:lnTo>
                  <a:lnTo>
                    <a:pt x="293" y="460"/>
                  </a:lnTo>
                  <a:lnTo>
                    <a:pt x="293" y="460"/>
                  </a:lnTo>
                  <a:lnTo>
                    <a:pt x="289" y="460"/>
                  </a:lnTo>
                  <a:lnTo>
                    <a:pt x="286" y="463"/>
                  </a:lnTo>
                  <a:lnTo>
                    <a:pt x="279" y="467"/>
                  </a:lnTo>
                  <a:lnTo>
                    <a:pt x="279" y="467"/>
                  </a:lnTo>
                  <a:lnTo>
                    <a:pt x="276" y="467"/>
                  </a:lnTo>
                  <a:lnTo>
                    <a:pt x="276" y="467"/>
                  </a:lnTo>
                  <a:lnTo>
                    <a:pt x="276" y="470"/>
                  </a:lnTo>
                  <a:lnTo>
                    <a:pt x="276" y="470"/>
                  </a:lnTo>
                  <a:lnTo>
                    <a:pt x="273" y="470"/>
                  </a:lnTo>
                  <a:lnTo>
                    <a:pt x="273" y="470"/>
                  </a:lnTo>
                  <a:lnTo>
                    <a:pt x="259" y="487"/>
                  </a:lnTo>
                  <a:lnTo>
                    <a:pt x="259" y="487"/>
                  </a:lnTo>
                  <a:lnTo>
                    <a:pt x="259" y="490"/>
                  </a:lnTo>
                  <a:lnTo>
                    <a:pt x="259" y="497"/>
                  </a:lnTo>
                  <a:lnTo>
                    <a:pt x="259" y="497"/>
                  </a:lnTo>
                  <a:lnTo>
                    <a:pt x="252" y="500"/>
                  </a:lnTo>
                  <a:lnTo>
                    <a:pt x="249" y="504"/>
                  </a:lnTo>
                  <a:lnTo>
                    <a:pt x="249" y="504"/>
                  </a:lnTo>
                  <a:lnTo>
                    <a:pt x="246" y="507"/>
                  </a:lnTo>
                  <a:lnTo>
                    <a:pt x="246" y="507"/>
                  </a:lnTo>
                  <a:lnTo>
                    <a:pt x="242" y="510"/>
                  </a:lnTo>
                  <a:lnTo>
                    <a:pt x="236" y="510"/>
                  </a:lnTo>
                  <a:lnTo>
                    <a:pt x="236" y="510"/>
                  </a:lnTo>
                  <a:lnTo>
                    <a:pt x="236" y="514"/>
                  </a:lnTo>
                  <a:lnTo>
                    <a:pt x="236" y="517"/>
                  </a:lnTo>
                  <a:lnTo>
                    <a:pt x="236" y="517"/>
                  </a:lnTo>
                  <a:lnTo>
                    <a:pt x="222" y="531"/>
                  </a:lnTo>
                  <a:lnTo>
                    <a:pt x="209" y="541"/>
                  </a:lnTo>
                  <a:lnTo>
                    <a:pt x="209" y="541"/>
                  </a:lnTo>
                  <a:lnTo>
                    <a:pt x="212" y="544"/>
                  </a:lnTo>
                  <a:lnTo>
                    <a:pt x="212" y="547"/>
                  </a:lnTo>
                  <a:lnTo>
                    <a:pt x="212" y="547"/>
                  </a:lnTo>
                  <a:lnTo>
                    <a:pt x="205" y="551"/>
                  </a:lnTo>
                  <a:lnTo>
                    <a:pt x="199" y="551"/>
                  </a:lnTo>
                  <a:lnTo>
                    <a:pt x="199" y="551"/>
                  </a:lnTo>
                  <a:lnTo>
                    <a:pt x="199" y="557"/>
                  </a:lnTo>
                  <a:lnTo>
                    <a:pt x="195" y="568"/>
                  </a:lnTo>
                  <a:lnTo>
                    <a:pt x="195" y="568"/>
                  </a:lnTo>
                  <a:lnTo>
                    <a:pt x="189" y="571"/>
                  </a:lnTo>
                  <a:lnTo>
                    <a:pt x="189" y="571"/>
                  </a:lnTo>
                  <a:lnTo>
                    <a:pt x="185" y="571"/>
                  </a:lnTo>
                  <a:lnTo>
                    <a:pt x="182" y="574"/>
                  </a:lnTo>
                  <a:lnTo>
                    <a:pt x="182" y="568"/>
                  </a:lnTo>
                  <a:lnTo>
                    <a:pt x="182" y="568"/>
                  </a:lnTo>
                  <a:lnTo>
                    <a:pt x="182" y="568"/>
                  </a:lnTo>
                  <a:lnTo>
                    <a:pt x="182" y="564"/>
                  </a:lnTo>
                  <a:lnTo>
                    <a:pt x="182" y="564"/>
                  </a:lnTo>
                  <a:lnTo>
                    <a:pt x="179" y="564"/>
                  </a:lnTo>
                  <a:lnTo>
                    <a:pt x="179" y="568"/>
                  </a:lnTo>
                  <a:lnTo>
                    <a:pt x="179" y="568"/>
                  </a:lnTo>
                  <a:lnTo>
                    <a:pt x="175" y="564"/>
                  </a:lnTo>
                  <a:lnTo>
                    <a:pt x="175" y="564"/>
                  </a:lnTo>
                  <a:lnTo>
                    <a:pt x="175" y="564"/>
                  </a:lnTo>
                  <a:lnTo>
                    <a:pt x="165" y="564"/>
                  </a:lnTo>
                  <a:lnTo>
                    <a:pt x="155" y="568"/>
                  </a:lnTo>
                  <a:lnTo>
                    <a:pt x="155" y="568"/>
                  </a:lnTo>
                  <a:lnTo>
                    <a:pt x="155" y="578"/>
                  </a:lnTo>
                  <a:lnTo>
                    <a:pt x="155" y="578"/>
                  </a:lnTo>
                  <a:lnTo>
                    <a:pt x="182" y="574"/>
                  </a:lnTo>
                  <a:lnTo>
                    <a:pt x="182" y="574"/>
                  </a:lnTo>
                  <a:lnTo>
                    <a:pt x="182" y="584"/>
                  </a:lnTo>
                  <a:lnTo>
                    <a:pt x="182" y="584"/>
                  </a:lnTo>
                  <a:lnTo>
                    <a:pt x="179" y="581"/>
                  </a:lnTo>
                  <a:lnTo>
                    <a:pt x="179" y="581"/>
                  </a:lnTo>
                  <a:lnTo>
                    <a:pt x="175" y="578"/>
                  </a:lnTo>
                  <a:lnTo>
                    <a:pt x="175" y="578"/>
                  </a:lnTo>
                  <a:lnTo>
                    <a:pt x="155" y="581"/>
                  </a:lnTo>
                  <a:lnTo>
                    <a:pt x="155" y="581"/>
                  </a:lnTo>
                  <a:lnTo>
                    <a:pt x="148" y="591"/>
                  </a:lnTo>
                  <a:lnTo>
                    <a:pt x="148" y="591"/>
                  </a:lnTo>
                  <a:lnTo>
                    <a:pt x="142" y="591"/>
                  </a:lnTo>
                  <a:lnTo>
                    <a:pt x="131" y="591"/>
                  </a:lnTo>
                  <a:lnTo>
                    <a:pt x="131" y="591"/>
                  </a:lnTo>
                  <a:lnTo>
                    <a:pt x="125" y="598"/>
                  </a:lnTo>
                  <a:lnTo>
                    <a:pt x="125" y="601"/>
                  </a:lnTo>
                  <a:lnTo>
                    <a:pt x="125" y="601"/>
                  </a:lnTo>
                  <a:lnTo>
                    <a:pt x="135" y="601"/>
                  </a:lnTo>
                  <a:lnTo>
                    <a:pt x="135" y="601"/>
                  </a:lnTo>
                  <a:lnTo>
                    <a:pt x="135" y="605"/>
                  </a:lnTo>
                  <a:lnTo>
                    <a:pt x="135" y="605"/>
                  </a:lnTo>
                  <a:lnTo>
                    <a:pt x="135" y="605"/>
                  </a:lnTo>
                  <a:lnTo>
                    <a:pt x="131" y="605"/>
                  </a:lnTo>
                  <a:lnTo>
                    <a:pt x="125" y="608"/>
                  </a:lnTo>
                  <a:lnTo>
                    <a:pt x="125" y="605"/>
                  </a:lnTo>
                  <a:lnTo>
                    <a:pt x="125" y="605"/>
                  </a:lnTo>
                  <a:lnTo>
                    <a:pt x="118" y="605"/>
                  </a:lnTo>
                  <a:lnTo>
                    <a:pt x="118" y="605"/>
                  </a:lnTo>
                  <a:lnTo>
                    <a:pt x="115" y="598"/>
                  </a:lnTo>
                  <a:lnTo>
                    <a:pt x="115" y="598"/>
                  </a:lnTo>
                  <a:lnTo>
                    <a:pt x="111" y="598"/>
                  </a:lnTo>
                  <a:lnTo>
                    <a:pt x="105" y="601"/>
                  </a:lnTo>
                  <a:lnTo>
                    <a:pt x="105" y="601"/>
                  </a:lnTo>
                  <a:lnTo>
                    <a:pt x="105" y="601"/>
                  </a:lnTo>
                  <a:lnTo>
                    <a:pt x="105" y="601"/>
                  </a:lnTo>
                  <a:lnTo>
                    <a:pt x="101" y="601"/>
                  </a:lnTo>
                  <a:lnTo>
                    <a:pt x="101" y="601"/>
                  </a:lnTo>
                  <a:lnTo>
                    <a:pt x="108" y="611"/>
                  </a:lnTo>
                  <a:lnTo>
                    <a:pt x="108" y="611"/>
                  </a:lnTo>
                  <a:lnTo>
                    <a:pt x="108" y="618"/>
                  </a:lnTo>
                  <a:lnTo>
                    <a:pt x="108" y="618"/>
                  </a:lnTo>
                  <a:lnTo>
                    <a:pt x="111" y="621"/>
                  </a:lnTo>
                  <a:lnTo>
                    <a:pt x="111" y="621"/>
                  </a:lnTo>
                  <a:lnTo>
                    <a:pt x="125" y="621"/>
                  </a:lnTo>
                  <a:lnTo>
                    <a:pt x="125" y="621"/>
                  </a:lnTo>
                  <a:lnTo>
                    <a:pt x="118" y="628"/>
                  </a:lnTo>
                  <a:lnTo>
                    <a:pt x="118" y="628"/>
                  </a:lnTo>
                  <a:lnTo>
                    <a:pt x="118" y="631"/>
                  </a:lnTo>
                  <a:lnTo>
                    <a:pt x="118" y="635"/>
                  </a:lnTo>
                  <a:lnTo>
                    <a:pt x="118" y="635"/>
                  </a:lnTo>
                  <a:lnTo>
                    <a:pt x="108" y="628"/>
                  </a:lnTo>
                  <a:lnTo>
                    <a:pt x="101" y="625"/>
                  </a:lnTo>
                  <a:lnTo>
                    <a:pt x="95" y="625"/>
                  </a:lnTo>
                  <a:lnTo>
                    <a:pt x="95" y="625"/>
                  </a:lnTo>
                  <a:lnTo>
                    <a:pt x="84" y="628"/>
                  </a:lnTo>
                  <a:lnTo>
                    <a:pt x="84" y="628"/>
                  </a:lnTo>
                  <a:lnTo>
                    <a:pt x="81" y="625"/>
                  </a:lnTo>
                  <a:lnTo>
                    <a:pt x="78" y="625"/>
                  </a:lnTo>
                  <a:lnTo>
                    <a:pt x="78" y="625"/>
                  </a:lnTo>
                  <a:lnTo>
                    <a:pt x="71" y="635"/>
                  </a:lnTo>
                  <a:lnTo>
                    <a:pt x="71" y="635"/>
                  </a:lnTo>
                  <a:lnTo>
                    <a:pt x="71" y="638"/>
                  </a:lnTo>
                  <a:lnTo>
                    <a:pt x="71" y="641"/>
                  </a:lnTo>
                  <a:lnTo>
                    <a:pt x="71" y="641"/>
                  </a:lnTo>
                  <a:lnTo>
                    <a:pt x="68" y="638"/>
                  </a:lnTo>
                  <a:lnTo>
                    <a:pt x="61" y="638"/>
                  </a:lnTo>
                  <a:lnTo>
                    <a:pt x="61" y="638"/>
                  </a:lnTo>
                  <a:lnTo>
                    <a:pt x="61" y="638"/>
                  </a:lnTo>
                  <a:lnTo>
                    <a:pt x="51" y="645"/>
                  </a:lnTo>
                  <a:lnTo>
                    <a:pt x="51" y="645"/>
                  </a:lnTo>
                  <a:lnTo>
                    <a:pt x="51" y="652"/>
                  </a:lnTo>
                  <a:lnTo>
                    <a:pt x="51" y="652"/>
                  </a:lnTo>
                  <a:lnTo>
                    <a:pt x="58" y="652"/>
                  </a:lnTo>
                  <a:lnTo>
                    <a:pt x="58" y="652"/>
                  </a:lnTo>
                  <a:lnTo>
                    <a:pt x="54" y="652"/>
                  </a:lnTo>
                  <a:lnTo>
                    <a:pt x="54" y="655"/>
                  </a:lnTo>
                  <a:lnTo>
                    <a:pt x="54" y="655"/>
                  </a:lnTo>
                  <a:lnTo>
                    <a:pt x="47" y="652"/>
                  </a:lnTo>
                  <a:lnTo>
                    <a:pt x="47" y="652"/>
                  </a:lnTo>
                  <a:lnTo>
                    <a:pt x="44" y="655"/>
                  </a:lnTo>
                  <a:lnTo>
                    <a:pt x="44" y="655"/>
                  </a:lnTo>
                  <a:lnTo>
                    <a:pt x="44" y="652"/>
                  </a:lnTo>
                  <a:lnTo>
                    <a:pt x="44" y="652"/>
                  </a:lnTo>
                  <a:lnTo>
                    <a:pt x="37" y="648"/>
                  </a:lnTo>
                  <a:lnTo>
                    <a:pt x="37" y="648"/>
                  </a:lnTo>
                  <a:lnTo>
                    <a:pt x="34" y="655"/>
                  </a:lnTo>
                  <a:lnTo>
                    <a:pt x="34" y="655"/>
                  </a:lnTo>
                  <a:lnTo>
                    <a:pt x="37" y="655"/>
                  </a:lnTo>
                  <a:lnTo>
                    <a:pt x="37" y="655"/>
                  </a:lnTo>
                  <a:lnTo>
                    <a:pt x="37" y="662"/>
                  </a:lnTo>
                  <a:lnTo>
                    <a:pt x="37" y="662"/>
                  </a:lnTo>
                  <a:lnTo>
                    <a:pt x="31" y="662"/>
                  </a:lnTo>
                  <a:lnTo>
                    <a:pt x="31" y="662"/>
                  </a:lnTo>
                  <a:lnTo>
                    <a:pt x="31" y="662"/>
                  </a:lnTo>
                  <a:lnTo>
                    <a:pt x="31" y="665"/>
                  </a:lnTo>
                  <a:lnTo>
                    <a:pt x="31" y="665"/>
                  </a:lnTo>
                  <a:lnTo>
                    <a:pt x="24" y="668"/>
                  </a:lnTo>
                  <a:lnTo>
                    <a:pt x="24" y="675"/>
                  </a:lnTo>
                  <a:lnTo>
                    <a:pt x="24" y="675"/>
                  </a:lnTo>
                  <a:lnTo>
                    <a:pt x="34" y="672"/>
                  </a:lnTo>
                  <a:lnTo>
                    <a:pt x="34" y="672"/>
                  </a:lnTo>
                  <a:lnTo>
                    <a:pt x="24" y="678"/>
                  </a:lnTo>
                  <a:lnTo>
                    <a:pt x="24" y="678"/>
                  </a:lnTo>
                  <a:lnTo>
                    <a:pt x="24" y="689"/>
                  </a:lnTo>
                  <a:lnTo>
                    <a:pt x="24" y="689"/>
                  </a:lnTo>
                  <a:lnTo>
                    <a:pt x="31" y="692"/>
                  </a:lnTo>
                  <a:lnTo>
                    <a:pt x="31" y="692"/>
                  </a:lnTo>
                  <a:lnTo>
                    <a:pt x="27" y="699"/>
                  </a:lnTo>
                  <a:lnTo>
                    <a:pt x="27" y="702"/>
                  </a:lnTo>
                  <a:lnTo>
                    <a:pt x="27" y="702"/>
                  </a:lnTo>
                  <a:lnTo>
                    <a:pt x="21" y="702"/>
                  </a:lnTo>
                  <a:lnTo>
                    <a:pt x="21" y="702"/>
                  </a:lnTo>
                  <a:lnTo>
                    <a:pt x="21" y="712"/>
                  </a:lnTo>
                  <a:lnTo>
                    <a:pt x="21" y="722"/>
                  </a:lnTo>
                  <a:lnTo>
                    <a:pt x="21" y="722"/>
                  </a:lnTo>
                  <a:lnTo>
                    <a:pt x="34" y="725"/>
                  </a:lnTo>
                  <a:lnTo>
                    <a:pt x="51" y="725"/>
                  </a:lnTo>
                  <a:lnTo>
                    <a:pt x="51" y="725"/>
                  </a:lnTo>
                  <a:lnTo>
                    <a:pt x="51" y="725"/>
                  </a:lnTo>
                  <a:lnTo>
                    <a:pt x="51" y="725"/>
                  </a:lnTo>
                  <a:lnTo>
                    <a:pt x="54" y="725"/>
                  </a:lnTo>
                  <a:lnTo>
                    <a:pt x="54" y="725"/>
                  </a:lnTo>
                  <a:lnTo>
                    <a:pt x="51" y="725"/>
                  </a:lnTo>
                  <a:lnTo>
                    <a:pt x="51" y="725"/>
                  </a:lnTo>
                  <a:lnTo>
                    <a:pt x="34" y="729"/>
                  </a:lnTo>
                  <a:lnTo>
                    <a:pt x="27" y="729"/>
                  </a:lnTo>
                  <a:lnTo>
                    <a:pt x="17" y="725"/>
                  </a:lnTo>
                  <a:lnTo>
                    <a:pt x="17" y="725"/>
                  </a:lnTo>
                  <a:lnTo>
                    <a:pt x="17" y="719"/>
                  </a:lnTo>
                  <a:lnTo>
                    <a:pt x="17" y="719"/>
                  </a:lnTo>
                  <a:lnTo>
                    <a:pt x="17" y="719"/>
                  </a:lnTo>
                  <a:lnTo>
                    <a:pt x="14" y="719"/>
                  </a:lnTo>
                  <a:lnTo>
                    <a:pt x="14" y="722"/>
                  </a:lnTo>
                  <a:lnTo>
                    <a:pt x="10" y="719"/>
                  </a:lnTo>
                  <a:lnTo>
                    <a:pt x="10" y="719"/>
                  </a:lnTo>
                  <a:lnTo>
                    <a:pt x="10" y="725"/>
                  </a:lnTo>
                  <a:lnTo>
                    <a:pt x="10" y="725"/>
                  </a:lnTo>
                  <a:lnTo>
                    <a:pt x="17" y="725"/>
                  </a:lnTo>
                  <a:lnTo>
                    <a:pt x="17" y="725"/>
                  </a:lnTo>
                  <a:lnTo>
                    <a:pt x="17" y="729"/>
                  </a:lnTo>
                  <a:lnTo>
                    <a:pt x="14" y="732"/>
                  </a:lnTo>
                  <a:lnTo>
                    <a:pt x="14" y="732"/>
                  </a:lnTo>
                  <a:lnTo>
                    <a:pt x="21" y="736"/>
                  </a:lnTo>
                  <a:lnTo>
                    <a:pt x="21" y="739"/>
                  </a:lnTo>
                  <a:lnTo>
                    <a:pt x="21" y="739"/>
                  </a:lnTo>
                  <a:lnTo>
                    <a:pt x="21" y="749"/>
                  </a:lnTo>
                  <a:lnTo>
                    <a:pt x="21" y="749"/>
                  </a:lnTo>
                  <a:lnTo>
                    <a:pt x="17" y="749"/>
                  </a:lnTo>
                  <a:lnTo>
                    <a:pt x="17" y="749"/>
                  </a:lnTo>
                  <a:lnTo>
                    <a:pt x="17" y="749"/>
                  </a:lnTo>
                  <a:lnTo>
                    <a:pt x="14" y="752"/>
                  </a:lnTo>
                  <a:lnTo>
                    <a:pt x="14" y="752"/>
                  </a:lnTo>
                  <a:lnTo>
                    <a:pt x="14" y="749"/>
                  </a:lnTo>
                  <a:lnTo>
                    <a:pt x="10" y="749"/>
                  </a:lnTo>
                  <a:lnTo>
                    <a:pt x="10" y="749"/>
                  </a:lnTo>
                  <a:lnTo>
                    <a:pt x="10" y="756"/>
                  </a:lnTo>
                  <a:lnTo>
                    <a:pt x="10" y="756"/>
                  </a:lnTo>
                  <a:lnTo>
                    <a:pt x="14" y="756"/>
                  </a:lnTo>
                  <a:lnTo>
                    <a:pt x="14" y="756"/>
                  </a:lnTo>
                  <a:lnTo>
                    <a:pt x="17" y="752"/>
                  </a:lnTo>
                  <a:lnTo>
                    <a:pt x="17" y="752"/>
                  </a:lnTo>
                  <a:lnTo>
                    <a:pt x="21" y="766"/>
                  </a:lnTo>
                  <a:lnTo>
                    <a:pt x="17" y="776"/>
                  </a:lnTo>
                  <a:lnTo>
                    <a:pt x="17" y="786"/>
                  </a:lnTo>
                  <a:lnTo>
                    <a:pt x="21" y="799"/>
                  </a:lnTo>
                  <a:lnTo>
                    <a:pt x="21" y="799"/>
                  </a:lnTo>
                  <a:lnTo>
                    <a:pt x="27" y="789"/>
                  </a:lnTo>
                  <a:lnTo>
                    <a:pt x="27" y="789"/>
                  </a:lnTo>
                  <a:lnTo>
                    <a:pt x="31" y="789"/>
                  </a:lnTo>
                  <a:lnTo>
                    <a:pt x="31" y="789"/>
                  </a:lnTo>
                  <a:lnTo>
                    <a:pt x="31" y="799"/>
                  </a:lnTo>
                  <a:lnTo>
                    <a:pt x="31" y="799"/>
                  </a:lnTo>
                  <a:lnTo>
                    <a:pt x="24" y="799"/>
                  </a:lnTo>
                  <a:lnTo>
                    <a:pt x="17" y="799"/>
                  </a:lnTo>
                  <a:lnTo>
                    <a:pt x="17" y="799"/>
                  </a:lnTo>
                  <a:lnTo>
                    <a:pt x="17" y="806"/>
                  </a:lnTo>
                  <a:lnTo>
                    <a:pt x="17" y="810"/>
                  </a:lnTo>
                  <a:lnTo>
                    <a:pt x="17" y="810"/>
                  </a:lnTo>
                  <a:lnTo>
                    <a:pt x="14" y="810"/>
                  </a:lnTo>
                  <a:lnTo>
                    <a:pt x="10" y="810"/>
                  </a:lnTo>
                  <a:lnTo>
                    <a:pt x="10" y="810"/>
                  </a:lnTo>
                  <a:lnTo>
                    <a:pt x="14" y="820"/>
                  </a:lnTo>
                  <a:lnTo>
                    <a:pt x="17" y="826"/>
                  </a:lnTo>
                  <a:lnTo>
                    <a:pt x="17" y="826"/>
                  </a:lnTo>
                  <a:lnTo>
                    <a:pt x="17" y="826"/>
                  </a:lnTo>
                  <a:lnTo>
                    <a:pt x="17" y="826"/>
                  </a:lnTo>
                  <a:lnTo>
                    <a:pt x="14" y="826"/>
                  </a:lnTo>
                  <a:lnTo>
                    <a:pt x="14" y="826"/>
                  </a:lnTo>
                  <a:lnTo>
                    <a:pt x="14" y="830"/>
                  </a:lnTo>
                  <a:lnTo>
                    <a:pt x="10" y="830"/>
                  </a:lnTo>
                  <a:lnTo>
                    <a:pt x="10" y="830"/>
                  </a:lnTo>
                  <a:lnTo>
                    <a:pt x="10" y="813"/>
                  </a:lnTo>
                  <a:lnTo>
                    <a:pt x="10" y="813"/>
                  </a:lnTo>
                  <a:lnTo>
                    <a:pt x="4" y="813"/>
                  </a:lnTo>
                  <a:lnTo>
                    <a:pt x="4" y="813"/>
                  </a:lnTo>
                  <a:lnTo>
                    <a:pt x="4" y="823"/>
                  </a:lnTo>
                  <a:lnTo>
                    <a:pt x="0" y="836"/>
                  </a:lnTo>
                  <a:lnTo>
                    <a:pt x="0" y="836"/>
                  </a:lnTo>
                  <a:lnTo>
                    <a:pt x="7" y="836"/>
                  </a:lnTo>
                  <a:lnTo>
                    <a:pt x="7" y="836"/>
                  </a:lnTo>
                  <a:lnTo>
                    <a:pt x="7" y="840"/>
                  </a:lnTo>
                  <a:lnTo>
                    <a:pt x="4" y="840"/>
                  </a:lnTo>
                  <a:lnTo>
                    <a:pt x="4" y="840"/>
                  </a:lnTo>
                  <a:lnTo>
                    <a:pt x="4" y="850"/>
                  </a:lnTo>
                  <a:lnTo>
                    <a:pt x="7" y="860"/>
                  </a:lnTo>
                  <a:lnTo>
                    <a:pt x="7" y="860"/>
                  </a:lnTo>
                  <a:lnTo>
                    <a:pt x="24" y="860"/>
                  </a:lnTo>
                  <a:lnTo>
                    <a:pt x="24" y="860"/>
                  </a:lnTo>
                  <a:lnTo>
                    <a:pt x="27" y="850"/>
                  </a:lnTo>
                  <a:lnTo>
                    <a:pt x="27" y="850"/>
                  </a:lnTo>
                  <a:lnTo>
                    <a:pt x="27" y="860"/>
                  </a:lnTo>
                  <a:lnTo>
                    <a:pt x="27" y="860"/>
                  </a:lnTo>
                  <a:lnTo>
                    <a:pt x="31" y="860"/>
                  </a:lnTo>
                  <a:lnTo>
                    <a:pt x="31" y="863"/>
                  </a:lnTo>
                  <a:lnTo>
                    <a:pt x="27" y="863"/>
                  </a:lnTo>
                  <a:lnTo>
                    <a:pt x="27" y="863"/>
                  </a:lnTo>
                  <a:lnTo>
                    <a:pt x="27" y="867"/>
                  </a:lnTo>
                  <a:lnTo>
                    <a:pt x="31" y="870"/>
                  </a:lnTo>
                  <a:lnTo>
                    <a:pt x="31" y="870"/>
                  </a:lnTo>
                  <a:lnTo>
                    <a:pt x="24" y="877"/>
                  </a:lnTo>
                  <a:lnTo>
                    <a:pt x="21" y="877"/>
                  </a:lnTo>
                  <a:lnTo>
                    <a:pt x="21" y="877"/>
                  </a:lnTo>
                  <a:lnTo>
                    <a:pt x="24" y="887"/>
                  </a:lnTo>
                  <a:lnTo>
                    <a:pt x="24" y="887"/>
                  </a:lnTo>
                  <a:lnTo>
                    <a:pt x="10" y="883"/>
                  </a:lnTo>
                  <a:lnTo>
                    <a:pt x="10" y="883"/>
                  </a:lnTo>
                  <a:lnTo>
                    <a:pt x="7" y="897"/>
                  </a:lnTo>
                  <a:lnTo>
                    <a:pt x="7" y="897"/>
                  </a:lnTo>
                  <a:lnTo>
                    <a:pt x="4" y="900"/>
                  </a:lnTo>
                  <a:lnTo>
                    <a:pt x="4" y="900"/>
                  </a:lnTo>
                  <a:lnTo>
                    <a:pt x="7" y="910"/>
                  </a:lnTo>
                  <a:lnTo>
                    <a:pt x="7" y="910"/>
                  </a:lnTo>
                  <a:lnTo>
                    <a:pt x="7" y="914"/>
                  </a:lnTo>
                  <a:lnTo>
                    <a:pt x="7" y="917"/>
                  </a:lnTo>
                  <a:lnTo>
                    <a:pt x="7" y="917"/>
                  </a:lnTo>
                  <a:lnTo>
                    <a:pt x="34" y="947"/>
                  </a:lnTo>
                  <a:lnTo>
                    <a:pt x="34" y="947"/>
                  </a:lnTo>
                  <a:lnTo>
                    <a:pt x="41" y="947"/>
                  </a:lnTo>
                  <a:lnTo>
                    <a:pt x="41" y="947"/>
                  </a:lnTo>
                  <a:lnTo>
                    <a:pt x="37" y="957"/>
                  </a:lnTo>
                  <a:lnTo>
                    <a:pt x="47" y="961"/>
                  </a:lnTo>
                  <a:lnTo>
                    <a:pt x="47" y="961"/>
                  </a:lnTo>
                  <a:lnTo>
                    <a:pt x="51" y="964"/>
                  </a:lnTo>
                  <a:lnTo>
                    <a:pt x="51" y="967"/>
                  </a:lnTo>
                  <a:lnTo>
                    <a:pt x="51" y="967"/>
                  </a:lnTo>
                  <a:lnTo>
                    <a:pt x="58" y="967"/>
                  </a:lnTo>
                  <a:lnTo>
                    <a:pt x="61" y="964"/>
                  </a:lnTo>
                  <a:lnTo>
                    <a:pt x="68" y="967"/>
                  </a:lnTo>
                  <a:lnTo>
                    <a:pt x="68" y="967"/>
                  </a:lnTo>
                  <a:lnTo>
                    <a:pt x="71" y="971"/>
                  </a:lnTo>
                  <a:lnTo>
                    <a:pt x="78" y="967"/>
                  </a:lnTo>
                  <a:lnTo>
                    <a:pt x="84" y="964"/>
                  </a:lnTo>
                  <a:lnTo>
                    <a:pt x="84" y="964"/>
                  </a:lnTo>
                  <a:lnTo>
                    <a:pt x="88" y="967"/>
                  </a:lnTo>
                  <a:lnTo>
                    <a:pt x="95" y="967"/>
                  </a:lnTo>
                  <a:lnTo>
                    <a:pt x="95" y="967"/>
                  </a:lnTo>
                  <a:lnTo>
                    <a:pt x="98" y="964"/>
                  </a:lnTo>
                  <a:lnTo>
                    <a:pt x="101" y="957"/>
                  </a:lnTo>
                  <a:lnTo>
                    <a:pt x="101" y="957"/>
                  </a:lnTo>
                  <a:lnTo>
                    <a:pt x="105" y="957"/>
                  </a:lnTo>
                  <a:lnTo>
                    <a:pt x="108" y="961"/>
                  </a:lnTo>
                  <a:lnTo>
                    <a:pt x="108" y="961"/>
                  </a:lnTo>
                  <a:lnTo>
                    <a:pt x="118" y="951"/>
                  </a:lnTo>
                  <a:lnTo>
                    <a:pt x="128" y="941"/>
                  </a:lnTo>
                  <a:lnTo>
                    <a:pt x="128" y="941"/>
                  </a:lnTo>
                  <a:lnTo>
                    <a:pt x="135" y="934"/>
                  </a:lnTo>
                  <a:lnTo>
                    <a:pt x="138" y="930"/>
                  </a:lnTo>
                  <a:lnTo>
                    <a:pt x="138" y="930"/>
                  </a:lnTo>
                  <a:lnTo>
                    <a:pt x="138" y="924"/>
                  </a:lnTo>
                  <a:lnTo>
                    <a:pt x="138" y="924"/>
                  </a:lnTo>
                  <a:lnTo>
                    <a:pt x="145" y="924"/>
                  </a:lnTo>
                  <a:lnTo>
                    <a:pt x="148" y="924"/>
                  </a:lnTo>
                  <a:lnTo>
                    <a:pt x="148" y="924"/>
                  </a:lnTo>
                  <a:lnTo>
                    <a:pt x="152" y="920"/>
                  </a:lnTo>
                  <a:lnTo>
                    <a:pt x="152" y="917"/>
                  </a:lnTo>
                  <a:lnTo>
                    <a:pt x="148" y="914"/>
                  </a:lnTo>
                  <a:lnTo>
                    <a:pt x="148" y="914"/>
                  </a:lnTo>
                  <a:lnTo>
                    <a:pt x="158" y="910"/>
                  </a:lnTo>
                  <a:lnTo>
                    <a:pt x="165" y="907"/>
                  </a:lnTo>
                  <a:lnTo>
                    <a:pt x="165" y="907"/>
                  </a:lnTo>
                  <a:lnTo>
                    <a:pt x="165" y="900"/>
                  </a:lnTo>
                  <a:lnTo>
                    <a:pt x="165" y="900"/>
                  </a:lnTo>
                  <a:lnTo>
                    <a:pt x="172" y="907"/>
                  </a:lnTo>
                  <a:lnTo>
                    <a:pt x="179" y="907"/>
                  </a:lnTo>
                  <a:lnTo>
                    <a:pt x="182" y="904"/>
                  </a:lnTo>
                  <a:lnTo>
                    <a:pt x="182" y="904"/>
                  </a:lnTo>
                  <a:lnTo>
                    <a:pt x="182" y="897"/>
                  </a:lnTo>
                  <a:lnTo>
                    <a:pt x="182" y="897"/>
                  </a:lnTo>
                  <a:lnTo>
                    <a:pt x="189" y="890"/>
                  </a:lnTo>
                  <a:lnTo>
                    <a:pt x="189" y="890"/>
                  </a:lnTo>
                  <a:lnTo>
                    <a:pt x="192" y="887"/>
                  </a:lnTo>
                  <a:lnTo>
                    <a:pt x="192" y="880"/>
                  </a:lnTo>
                  <a:lnTo>
                    <a:pt x="189" y="867"/>
                  </a:lnTo>
                  <a:lnTo>
                    <a:pt x="189" y="867"/>
                  </a:lnTo>
                  <a:lnTo>
                    <a:pt x="199" y="867"/>
                  </a:lnTo>
                  <a:lnTo>
                    <a:pt x="199" y="867"/>
                  </a:lnTo>
                  <a:lnTo>
                    <a:pt x="199" y="846"/>
                  </a:lnTo>
                  <a:lnTo>
                    <a:pt x="199" y="843"/>
                  </a:lnTo>
                  <a:lnTo>
                    <a:pt x="202" y="840"/>
                  </a:lnTo>
                  <a:lnTo>
                    <a:pt x="202" y="840"/>
                  </a:lnTo>
                  <a:lnTo>
                    <a:pt x="199" y="863"/>
                  </a:lnTo>
                  <a:lnTo>
                    <a:pt x="199" y="883"/>
                  </a:lnTo>
                  <a:lnTo>
                    <a:pt x="199" y="883"/>
                  </a:lnTo>
                  <a:lnTo>
                    <a:pt x="205" y="890"/>
                  </a:lnTo>
                  <a:lnTo>
                    <a:pt x="205" y="890"/>
                  </a:lnTo>
                  <a:lnTo>
                    <a:pt x="205" y="897"/>
                  </a:lnTo>
                  <a:lnTo>
                    <a:pt x="205" y="897"/>
                  </a:lnTo>
                  <a:lnTo>
                    <a:pt x="212" y="897"/>
                  </a:lnTo>
                  <a:lnTo>
                    <a:pt x="212" y="897"/>
                  </a:lnTo>
                  <a:lnTo>
                    <a:pt x="219" y="900"/>
                  </a:lnTo>
                  <a:lnTo>
                    <a:pt x="219" y="900"/>
                  </a:lnTo>
                  <a:lnTo>
                    <a:pt x="219" y="900"/>
                  </a:lnTo>
                  <a:lnTo>
                    <a:pt x="219" y="900"/>
                  </a:lnTo>
                  <a:lnTo>
                    <a:pt x="222" y="900"/>
                  </a:lnTo>
                  <a:lnTo>
                    <a:pt x="222" y="904"/>
                  </a:lnTo>
                  <a:lnTo>
                    <a:pt x="226" y="907"/>
                  </a:lnTo>
                  <a:lnTo>
                    <a:pt x="226" y="907"/>
                  </a:lnTo>
                  <a:lnTo>
                    <a:pt x="229" y="907"/>
                  </a:lnTo>
                  <a:lnTo>
                    <a:pt x="232" y="907"/>
                  </a:lnTo>
                  <a:lnTo>
                    <a:pt x="232" y="897"/>
                  </a:lnTo>
                  <a:lnTo>
                    <a:pt x="232" y="877"/>
                  </a:lnTo>
                  <a:lnTo>
                    <a:pt x="232" y="877"/>
                  </a:lnTo>
                  <a:lnTo>
                    <a:pt x="232" y="867"/>
                  </a:lnTo>
                  <a:lnTo>
                    <a:pt x="232" y="860"/>
                  </a:lnTo>
                  <a:lnTo>
                    <a:pt x="232" y="857"/>
                  </a:lnTo>
                  <a:lnTo>
                    <a:pt x="232" y="857"/>
                  </a:lnTo>
                  <a:lnTo>
                    <a:pt x="236" y="853"/>
                  </a:lnTo>
                  <a:lnTo>
                    <a:pt x="239" y="850"/>
                  </a:lnTo>
                  <a:lnTo>
                    <a:pt x="239" y="850"/>
                  </a:lnTo>
                  <a:lnTo>
                    <a:pt x="239" y="846"/>
                  </a:lnTo>
                  <a:lnTo>
                    <a:pt x="239" y="843"/>
                  </a:lnTo>
                  <a:lnTo>
                    <a:pt x="239" y="843"/>
                  </a:lnTo>
                  <a:lnTo>
                    <a:pt x="242" y="840"/>
                  </a:lnTo>
                  <a:lnTo>
                    <a:pt x="249" y="840"/>
                  </a:lnTo>
                  <a:lnTo>
                    <a:pt x="249" y="840"/>
                  </a:lnTo>
                  <a:lnTo>
                    <a:pt x="252" y="833"/>
                  </a:lnTo>
                  <a:lnTo>
                    <a:pt x="256" y="826"/>
                  </a:lnTo>
                  <a:lnTo>
                    <a:pt x="256" y="826"/>
                  </a:lnTo>
                  <a:lnTo>
                    <a:pt x="256" y="820"/>
                  </a:lnTo>
                  <a:lnTo>
                    <a:pt x="259" y="813"/>
                  </a:lnTo>
                  <a:lnTo>
                    <a:pt x="259" y="813"/>
                  </a:lnTo>
                  <a:lnTo>
                    <a:pt x="266" y="803"/>
                  </a:lnTo>
                  <a:lnTo>
                    <a:pt x="266" y="803"/>
                  </a:lnTo>
                  <a:lnTo>
                    <a:pt x="269" y="796"/>
                  </a:lnTo>
                  <a:lnTo>
                    <a:pt x="266" y="789"/>
                  </a:lnTo>
                  <a:lnTo>
                    <a:pt x="266" y="789"/>
                  </a:lnTo>
                  <a:lnTo>
                    <a:pt x="263" y="773"/>
                  </a:lnTo>
                  <a:lnTo>
                    <a:pt x="263" y="773"/>
                  </a:lnTo>
                  <a:lnTo>
                    <a:pt x="263" y="766"/>
                  </a:lnTo>
                  <a:lnTo>
                    <a:pt x="263" y="766"/>
                  </a:lnTo>
                  <a:lnTo>
                    <a:pt x="266" y="762"/>
                  </a:lnTo>
                  <a:lnTo>
                    <a:pt x="279" y="762"/>
                  </a:lnTo>
                  <a:lnTo>
                    <a:pt x="279" y="762"/>
                  </a:lnTo>
                  <a:lnTo>
                    <a:pt x="286" y="756"/>
                  </a:lnTo>
                  <a:lnTo>
                    <a:pt x="289" y="742"/>
                  </a:lnTo>
                  <a:lnTo>
                    <a:pt x="289" y="742"/>
                  </a:lnTo>
                  <a:lnTo>
                    <a:pt x="283" y="722"/>
                  </a:lnTo>
                  <a:lnTo>
                    <a:pt x="283" y="722"/>
                  </a:lnTo>
                  <a:lnTo>
                    <a:pt x="279" y="722"/>
                  </a:lnTo>
                  <a:lnTo>
                    <a:pt x="276" y="722"/>
                  </a:lnTo>
                  <a:lnTo>
                    <a:pt x="276" y="722"/>
                  </a:lnTo>
                  <a:lnTo>
                    <a:pt x="269" y="712"/>
                  </a:lnTo>
                  <a:lnTo>
                    <a:pt x="266" y="702"/>
                  </a:lnTo>
                  <a:lnTo>
                    <a:pt x="266" y="702"/>
                  </a:lnTo>
                  <a:lnTo>
                    <a:pt x="269" y="678"/>
                  </a:lnTo>
                  <a:lnTo>
                    <a:pt x="269" y="658"/>
                  </a:lnTo>
                  <a:lnTo>
                    <a:pt x="269" y="658"/>
                  </a:lnTo>
                  <a:lnTo>
                    <a:pt x="266" y="652"/>
                  </a:lnTo>
                  <a:lnTo>
                    <a:pt x="263" y="638"/>
                  </a:lnTo>
                  <a:lnTo>
                    <a:pt x="263" y="638"/>
                  </a:lnTo>
                  <a:lnTo>
                    <a:pt x="266" y="631"/>
                  </a:lnTo>
                  <a:lnTo>
                    <a:pt x="266" y="631"/>
                  </a:lnTo>
                  <a:lnTo>
                    <a:pt x="269" y="615"/>
                  </a:lnTo>
                  <a:lnTo>
                    <a:pt x="269" y="615"/>
                  </a:lnTo>
                  <a:lnTo>
                    <a:pt x="269" y="608"/>
                  </a:lnTo>
                  <a:lnTo>
                    <a:pt x="269" y="608"/>
                  </a:lnTo>
                  <a:lnTo>
                    <a:pt x="266" y="601"/>
                  </a:lnTo>
                  <a:lnTo>
                    <a:pt x="263" y="594"/>
                  </a:lnTo>
                  <a:lnTo>
                    <a:pt x="263" y="594"/>
                  </a:lnTo>
                  <a:lnTo>
                    <a:pt x="269" y="588"/>
                  </a:lnTo>
                  <a:lnTo>
                    <a:pt x="269" y="588"/>
                  </a:lnTo>
                  <a:lnTo>
                    <a:pt x="269" y="584"/>
                  </a:lnTo>
                  <a:lnTo>
                    <a:pt x="269" y="578"/>
                  </a:lnTo>
                  <a:lnTo>
                    <a:pt x="269" y="578"/>
                  </a:lnTo>
                  <a:lnTo>
                    <a:pt x="276" y="571"/>
                  </a:lnTo>
                  <a:lnTo>
                    <a:pt x="276" y="571"/>
                  </a:lnTo>
                  <a:lnTo>
                    <a:pt x="283" y="564"/>
                  </a:lnTo>
                  <a:lnTo>
                    <a:pt x="283" y="564"/>
                  </a:lnTo>
                  <a:lnTo>
                    <a:pt x="293" y="557"/>
                  </a:lnTo>
                  <a:lnTo>
                    <a:pt x="293" y="557"/>
                  </a:lnTo>
                  <a:lnTo>
                    <a:pt x="300" y="551"/>
                  </a:lnTo>
                  <a:lnTo>
                    <a:pt x="300" y="551"/>
                  </a:lnTo>
                  <a:lnTo>
                    <a:pt x="313" y="547"/>
                  </a:lnTo>
                  <a:lnTo>
                    <a:pt x="313" y="547"/>
                  </a:lnTo>
                  <a:lnTo>
                    <a:pt x="320" y="547"/>
                  </a:lnTo>
                  <a:lnTo>
                    <a:pt x="326" y="551"/>
                  </a:lnTo>
                  <a:lnTo>
                    <a:pt x="326" y="551"/>
                  </a:lnTo>
                  <a:lnTo>
                    <a:pt x="336" y="557"/>
                  </a:lnTo>
                  <a:lnTo>
                    <a:pt x="336" y="557"/>
                  </a:lnTo>
                  <a:lnTo>
                    <a:pt x="340" y="551"/>
                  </a:lnTo>
                  <a:lnTo>
                    <a:pt x="343" y="541"/>
                  </a:lnTo>
                  <a:lnTo>
                    <a:pt x="343" y="541"/>
                  </a:lnTo>
                  <a:lnTo>
                    <a:pt x="347" y="531"/>
                  </a:lnTo>
                  <a:lnTo>
                    <a:pt x="343" y="524"/>
                  </a:lnTo>
                  <a:lnTo>
                    <a:pt x="343" y="524"/>
                  </a:lnTo>
                  <a:lnTo>
                    <a:pt x="340" y="517"/>
                  </a:lnTo>
                  <a:lnTo>
                    <a:pt x="333" y="514"/>
                  </a:lnTo>
                  <a:lnTo>
                    <a:pt x="333" y="514"/>
                  </a:lnTo>
                  <a:lnTo>
                    <a:pt x="330" y="510"/>
                  </a:lnTo>
                  <a:lnTo>
                    <a:pt x="330" y="507"/>
                  </a:lnTo>
                  <a:lnTo>
                    <a:pt x="330" y="507"/>
                  </a:lnTo>
                  <a:lnTo>
                    <a:pt x="330" y="507"/>
                  </a:lnTo>
                  <a:lnTo>
                    <a:pt x="340" y="487"/>
                  </a:lnTo>
                  <a:lnTo>
                    <a:pt x="357" y="463"/>
                  </a:lnTo>
                  <a:lnTo>
                    <a:pt x="357" y="463"/>
                  </a:lnTo>
                  <a:lnTo>
                    <a:pt x="357" y="457"/>
                  </a:lnTo>
                  <a:lnTo>
                    <a:pt x="357" y="447"/>
                  </a:lnTo>
                  <a:lnTo>
                    <a:pt x="357" y="447"/>
                  </a:lnTo>
                  <a:lnTo>
                    <a:pt x="360" y="416"/>
                  </a:lnTo>
                  <a:lnTo>
                    <a:pt x="360" y="416"/>
                  </a:lnTo>
                  <a:lnTo>
                    <a:pt x="360" y="403"/>
                  </a:lnTo>
                  <a:lnTo>
                    <a:pt x="360" y="403"/>
                  </a:lnTo>
                  <a:lnTo>
                    <a:pt x="363" y="400"/>
                  </a:lnTo>
                  <a:lnTo>
                    <a:pt x="363" y="400"/>
                  </a:lnTo>
                  <a:lnTo>
                    <a:pt x="370" y="403"/>
                  </a:lnTo>
                  <a:lnTo>
                    <a:pt x="370" y="403"/>
                  </a:lnTo>
                  <a:lnTo>
                    <a:pt x="380" y="400"/>
                  </a:lnTo>
                  <a:lnTo>
                    <a:pt x="387" y="396"/>
                  </a:lnTo>
                  <a:lnTo>
                    <a:pt x="387" y="396"/>
                  </a:lnTo>
                  <a:lnTo>
                    <a:pt x="387" y="386"/>
                  </a:lnTo>
                  <a:lnTo>
                    <a:pt x="387" y="376"/>
                  </a:lnTo>
                  <a:lnTo>
                    <a:pt x="387" y="376"/>
                  </a:lnTo>
                  <a:lnTo>
                    <a:pt x="387" y="373"/>
                  </a:lnTo>
                  <a:lnTo>
                    <a:pt x="390" y="369"/>
                  </a:lnTo>
                  <a:lnTo>
                    <a:pt x="397" y="363"/>
                  </a:lnTo>
                  <a:lnTo>
                    <a:pt x="397" y="363"/>
                  </a:lnTo>
                  <a:lnTo>
                    <a:pt x="404" y="352"/>
                  </a:lnTo>
                  <a:lnTo>
                    <a:pt x="404" y="352"/>
                  </a:lnTo>
                  <a:lnTo>
                    <a:pt x="407" y="346"/>
                  </a:lnTo>
                  <a:lnTo>
                    <a:pt x="407" y="346"/>
                  </a:lnTo>
                  <a:lnTo>
                    <a:pt x="414" y="339"/>
                  </a:lnTo>
                  <a:lnTo>
                    <a:pt x="414" y="339"/>
                  </a:lnTo>
                  <a:lnTo>
                    <a:pt x="421" y="336"/>
                  </a:lnTo>
                  <a:lnTo>
                    <a:pt x="421" y="332"/>
                  </a:lnTo>
                  <a:lnTo>
                    <a:pt x="421" y="329"/>
                  </a:lnTo>
                  <a:lnTo>
                    <a:pt x="421" y="329"/>
                  </a:lnTo>
                  <a:lnTo>
                    <a:pt x="421" y="322"/>
                  </a:lnTo>
                  <a:lnTo>
                    <a:pt x="417" y="315"/>
                  </a:lnTo>
                  <a:lnTo>
                    <a:pt x="417" y="315"/>
                  </a:lnTo>
                  <a:lnTo>
                    <a:pt x="414" y="312"/>
                  </a:lnTo>
                  <a:lnTo>
                    <a:pt x="414" y="309"/>
                  </a:lnTo>
                  <a:lnTo>
                    <a:pt x="414" y="309"/>
                  </a:lnTo>
                  <a:lnTo>
                    <a:pt x="417" y="302"/>
                  </a:lnTo>
                  <a:lnTo>
                    <a:pt x="417" y="302"/>
                  </a:lnTo>
                  <a:lnTo>
                    <a:pt x="421" y="302"/>
                  </a:lnTo>
                  <a:lnTo>
                    <a:pt x="421" y="302"/>
                  </a:lnTo>
                  <a:lnTo>
                    <a:pt x="424" y="295"/>
                  </a:lnTo>
                  <a:lnTo>
                    <a:pt x="427" y="292"/>
                  </a:lnTo>
                  <a:lnTo>
                    <a:pt x="427" y="292"/>
                  </a:lnTo>
                  <a:lnTo>
                    <a:pt x="431" y="282"/>
                  </a:lnTo>
                  <a:lnTo>
                    <a:pt x="434" y="268"/>
                  </a:lnTo>
                  <a:lnTo>
                    <a:pt x="434" y="268"/>
                  </a:lnTo>
                  <a:lnTo>
                    <a:pt x="441" y="258"/>
                  </a:lnTo>
                  <a:lnTo>
                    <a:pt x="447" y="258"/>
                  </a:lnTo>
                  <a:lnTo>
                    <a:pt x="447" y="258"/>
                  </a:lnTo>
                  <a:lnTo>
                    <a:pt x="454" y="262"/>
                  </a:lnTo>
                  <a:lnTo>
                    <a:pt x="457" y="265"/>
                  </a:lnTo>
                  <a:lnTo>
                    <a:pt x="457" y="265"/>
                  </a:lnTo>
                  <a:lnTo>
                    <a:pt x="468" y="258"/>
                  </a:lnTo>
                  <a:lnTo>
                    <a:pt x="468" y="258"/>
                  </a:lnTo>
                  <a:lnTo>
                    <a:pt x="471" y="252"/>
                  </a:lnTo>
                  <a:lnTo>
                    <a:pt x="471" y="245"/>
                  </a:lnTo>
                  <a:lnTo>
                    <a:pt x="474" y="238"/>
                  </a:lnTo>
                  <a:lnTo>
                    <a:pt x="474" y="231"/>
                  </a:lnTo>
                  <a:lnTo>
                    <a:pt x="474" y="231"/>
                  </a:lnTo>
                  <a:lnTo>
                    <a:pt x="481" y="231"/>
                  </a:lnTo>
                  <a:lnTo>
                    <a:pt x="488" y="231"/>
                  </a:lnTo>
                  <a:lnTo>
                    <a:pt x="488" y="231"/>
                  </a:lnTo>
                  <a:lnTo>
                    <a:pt x="494" y="231"/>
                  </a:lnTo>
                  <a:lnTo>
                    <a:pt x="498" y="235"/>
                  </a:lnTo>
                  <a:lnTo>
                    <a:pt x="498" y="235"/>
                  </a:lnTo>
                  <a:lnTo>
                    <a:pt x="515" y="242"/>
                  </a:lnTo>
                  <a:lnTo>
                    <a:pt x="515" y="242"/>
                  </a:lnTo>
                  <a:lnTo>
                    <a:pt x="521" y="248"/>
                  </a:lnTo>
                  <a:lnTo>
                    <a:pt x="525" y="248"/>
                  </a:lnTo>
                  <a:lnTo>
                    <a:pt x="525" y="248"/>
                  </a:lnTo>
                  <a:lnTo>
                    <a:pt x="528" y="245"/>
                  </a:lnTo>
                  <a:lnTo>
                    <a:pt x="528" y="245"/>
                  </a:lnTo>
                  <a:lnTo>
                    <a:pt x="531" y="238"/>
                  </a:lnTo>
                  <a:lnTo>
                    <a:pt x="531" y="238"/>
                  </a:lnTo>
                  <a:lnTo>
                    <a:pt x="535" y="228"/>
                  </a:lnTo>
                  <a:lnTo>
                    <a:pt x="535" y="228"/>
                  </a:lnTo>
                  <a:lnTo>
                    <a:pt x="538" y="218"/>
                  </a:lnTo>
                  <a:lnTo>
                    <a:pt x="538" y="218"/>
                  </a:lnTo>
                  <a:lnTo>
                    <a:pt x="535" y="208"/>
                  </a:lnTo>
                  <a:lnTo>
                    <a:pt x="528" y="198"/>
                  </a:lnTo>
                  <a:lnTo>
                    <a:pt x="528" y="198"/>
                  </a:lnTo>
                  <a:lnTo>
                    <a:pt x="528" y="198"/>
                  </a:lnTo>
                  <a:lnTo>
                    <a:pt x="531" y="198"/>
                  </a:lnTo>
                  <a:lnTo>
                    <a:pt x="538" y="195"/>
                  </a:lnTo>
                  <a:lnTo>
                    <a:pt x="538" y="195"/>
                  </a:lnTo>
                  <a:lnTo>
                    <a:pt x="541" y="191"/>
                  </a:lnTo>
                  <a:lnTo>
                    <a:pt x="541" y="191"/>
                  </a:lnTo>
                  <a:lnTo>
                    <a:pt x="541" y="191"/>
                  </a:lnTo>
                  <a:lnTo>
                    <a:pt x="548" y="195"/>
                  </a:lnTo>
                  <a:lnTo>
                    <a:pt x="548" y="195"/>
                  </a:lnTo>
                  <a:lnTo>
                    <a:pt x="552" y="195"/>
                  </a:lnTo>
                  <a:lnTo>
                    <a:pt x="555" y="195"/>
                  </a:lnTo>
                  <a:lnTo>
                    <a:pt x="555" y="195"/>
                  </a:lnTo>
                  <a:lnTo>
                    <a:pt x="555" y="195"/>
                  </a:lnTo>
                  <a:lnTo>
                    <a:pt x="555" y="191"/>
                  </a:lnTo>
                  <a:lnTo>
                    <a:pt x="555" y="184"/>
                  </a:lnTo>
                  <a:lnTo>
                    <a:pt x="555" y="181"/>
                  </a:lnTo>
                  <a:lnTo>
                    <a:pt x="555" y="181"/>
                  </a:lnTo>
                  <a:lnTo>
                    <a:pt x="562" y="178"/>
                  </a:lnTo>
                  <a:lnTo>
                    <a:pt x="568" y="174"/>
                  </a:lnTo>
                  <a:lnTo>
                    <a:pt x="568" y="174"/>
                  </a:lnTo>
                  <a:lnTo>
                    <a:pt x="572" y="178"/>
                  </a:lnTo>
                  <a:lnTo>
                    <a:pt x="575" y="184"/>
                  </a:lnTo>
                  <a:lnTo>
                    <a:pt x="575" y="191"/>
                  </a:lnTo>
                  <a:lnTo>
                    <a:pt x="575" y="191"/>
                  </a:lnTo>
                  <a:lnTo>
                    <a:pt x="578" y="198"/>
                  </a:lnTo>
                  <a:lnTo>
                    <a:pt x="578" y="198"/>
                  </a:lnTo>
                  <a:lnTo>
                    <a:pt x="582" y="211"/>
                  </a:lnTo>
                  <a:lnTo>
                    <a:pt x="582" y="211"/>
                  </a:lnTo>
                  <a:lnTo>
                    <a:pt x="582" y="211"/>
                  </a:lnTo>
                  <a:lnTo>
                    <a:pt x="585" y="211"/>
                  </a:lnTo>
                  <a:lnTo>
                    <a:pt x="585" y="211"/>
                  </a:lnTo>
                  <a:lnTo>
                    <a:pt x="592" y="211"/>
                  </a:lnTo>
                  <a:lnTo>
                    <a:pt x="595" y="218"/>
                  </a:lnTo>
                  <a:lnTo>
                    <a:pt x="595" y="218"/>
                  </a:lnTo>
                  <a:lnTo>
                    <a:pt x="605" y="218"/>
                  </a:lnTo>
                  <a:lnTo>
                    <a:pt x="605" y="218"/>
                  </a:lnTo>
                  <a:lnTo>
                    <a:pt x="605" y="221"/>
                  </a:lnTo>
                  <a:lnTo>
                    <a:pt x="605" y="221"/>
                  </a:lnTo>
                  <a:lnTo>
                    <a:pt x="609" y="218"/>
                  </a:lnTo>
                  <a:lnTo>
                    <a:pt x="615" y="215"/>
                  </a:lnTo>
                  <a:lnTo>
                    <a:pt x="615" y="215"/>
                  </a:lnTo>
                  <a:lnTo>
                    <a:pt x="622" y="211"/>
                  </a:lnTo>
                  <a:lnTo>
                    <a:pt x="622" y="211"/>
                  </a:lnTo>
                  <a:lnTo>
                    <a:pt x="626" y="208"/>
                  </a:lnTo>
                  <a:lnTo>
                    <a:pt x="626" y="208"/>
                  </a:lnTo>
                  <a:lnTo>
                    <a:pt x="629" y="205"/>
                  </a:lnTo>
                  <a:lnTo>
                    <a:pt x="629" y="205"/>
                  </a:lnTo>
                  <a:lnTo>
                    <a:pt x="632" y="205"/>
                  </a:lnTo>
                  <a:lnTo>
                    <a:pt x="636" y="211"/>
                  </a:lnTo>
                  <a:lnTo>
                    <a:pt x="636" y="211"/>
                  </a:lnTo>
                  <a:lnTo>
                    <a:pt x="646" y="211"/>
                  </a:lnTo>
                  <a:lnTo>
                    <a:pt x="646" y="211"/>
                  </a:lnTo>
                  <a:lnTo>
                    <a:pt x="646" y="215"/>
                  </a:lnTo>
                  <a:lnTo>
                    <a:pt x="649" y="218"/>
                  </a:lnTo>
                  <a:lnTo>
                    <a:pt x="649" y="218"/>
                  </a:lnTo>
                  <a:lnTo>
                    <a:pt x="652" y="215"/>
                  </a:lnTo>
                  <a:lnTo>
                    <a:pt x="656" y="211"/>
                  </a:lnTo>
                  <a:lnTo>
                    <a:pt x="656" y="211"/>
                  </a:lnTo>
                  <a:lnTo>
                    <a:pt x="656" y="208"/>
                  </a:lnTo>
                  <a:lnTo>
                    <a:pt x="652" y="201"/>
                  </a:lnTo>
                  <a:lnTo>
                    <a:pt x="652" y="201"/>
                  </a:lnTo>
                  <a:lnTo>
                    <a:pt x="652" y="195"/>
                  </a:lnTo>
                  <a:lnTo>
                    <a:pt x="652" y="195"/>
                  </a:lnTo>
                  <a:lnTo>
                    <a:pt x="656" y="188"/>
                  </a:lnTo>
                  <a:lnTo>
                    <a:pt x="656" y="188"/>
                  </a:lnTo>
                  <a:lnTo>
                    <a:pt x="662" y="184"/>
                  </a:lnTo>
                  <a:lnTo>
                    <a:pt x="666" y="178"/>
                  </a:lnTo>
                  <a:lnTo>
                    <a:pt x="666" y="178"/>
                  </a:lnTo>
                  <a:lnTo>
                    <a:pt x="666" y="174"/>
                  </a:lnTo>
                  <a:lnTo>
                    <a:pt x="666" y="171"/>
                  </a:lnTo>
                  <a:lnTo>
                    <a:pt x="666" y="171"/>
                  </a:lnTo>
                  <a:lnTo>
                    <a:pt x="662" y="158"/>
                  </a:lnTo>
                  <a:lnTo>
                    <a:pt x="662" y="158"/>
                  </a:lnTo>
                  <a:lnTo>
                    <a:pt x="662" y="147"/>
                  </a:lnTo>
                  <a:lnTo>
                    <a:pt x="662" y="147"/>
                  </a:lnTo>
                  <a:lnTo>
                    <a:pt x="666" y="137"/>
                  </a:lnTo>
                  <a:lnTo>
                    <a:pt x="666" y="137"/>
                  </a:lnTo>
                  <a:lnTo>
                    <a:pt x="662" y="131"/>
                  </a:lnTo>
                  <a:lnTo>
                    <a:pt x="666" y="127"/>
                  </a:lnTo>
                  <a:lnTo>
                    <a:pt x="666" y="127"/>
                  </a:lnTo>
                  <a:lnTo>
                    <a:pt x="669" y="121"/>
                  </a:lnTo>
                  <a:lnTo>
                    <a:pt x="673" y="114"/>
                  </a:lnTo>
                  <a:lnTo>
                    <a:pt x="673" y="114"/>
                  </a:lnTo>
                  <a:lnTo>
                    <a:pt x="676" y="110"/>
                  </a:lnTo>
                  <a:lnTo>
                    <a:pt x="676" y="110"/>
                  </a:lnTo>
                  <a:lnTo>
                    <a:pt x="683" y="107"/>
                  </a:lnTo>
                  <a:lnTo>
                    <a:pt x="683" y="107"/>
                  </a:lnTo>
                  <a:lnTo>
                    <a:pt x="689" y="104"/>
                  </a:lnTo>
                  <a:lnTo>
                    <a:pt x="689" y="104"/>
                  </a:lnTo>
                  <a:lnTo>
                    <a:pt x="693" y="100"/>
                  </a:lnTo>
                  <a:lnTo>
                    <a:pt x="696" y="97"/>
                  </a:lnTo>
                  <a:lnTo>
                    <a:pt x="696" y="97"/>
                  </a:lnTo>
                  <a:lnTo>
                    <a:pt x="703" y="97"/>
                  </a:lnTo>
                  <a:lnTo>
                    <a:pt x="703" y="97"/>
                  </a:lnTo>
                  <a:lnTo>
                    <a:pt x="706" y="100"/>
                  </a:lnTo>
                  <a:lnTo>
                    <a:pt x="710" y="104"/>
                  </a:lnTo>
                  <a:lnTo>
                    <a:pt x="710" y="110"/>
                  </a:lnTo>
                  <a:lnTo>
                    <a:pt x="710" y="110"/>
                  </a:lnTo>
                  <a:lnTo>
                    <a:pt x="716" y="121"/>
                  </a:lnTo>
                  <a:lnTo>
                    <a:pt x="716" y="121"/>
                  </a:lnTo>
                  <a:lnTo>
                    <a:pt x="720" y="121"/>
                  </a:lnTo>
                  <a:lnTo>
                    <a:pt x="726" y="124"/>
                  </a:lnTo>
                  <a:lnTo>
                    <a:pt x="726" y="124"/>
                  </a:lnTo>
                  <a:lnTo>
                    <a:pt x="733" y="124"/>
                  </a:lnTo>
                  <a:lnTo>
                    <a:pt x="733" y="124"/>
                  </a:lnTo>
                  <a:lnTo>
                    <a:pt x="736" y="127"/>
                  </a:lnTo>
                  <a:lnTo>
                    <a:pt x="740" y="134"/>
                  </a:lnTo>
                  <a:lnTo>
                    <a:pt x="740" y="134"/>
                  </a:lnTo>
                  <a:lnTo>
                    <a:pt x="743" y="141"/>
                  </a:lnTo>
                  <a:lnTo>
                    <a:pt x="743" y="147"/>
                  </a:lnTo>
                  <a:lnTo>
                    <a:pt x="743" y="147"/>
                  </a:lnTo>
                  <a:lnTo>
                    <a:pt x="743" y="151"/>
                  </a:lnTo>
                  <a:lnTo>
                    <a:pt x="740" y="158"/>
                  </a:lnTo>
                  <a:lnTo>
                    <a:pt x="740" y="158"/>
                  </a:lnTo>
                  <a:lnTo>
                    <a:pt x="743" y="164"/>
                  </a:lnTo>
                  <a:lnTo>
                    <a:pt x="743" y="164"/>
                  </a:lnTo>
                  <a:lnTo>
                    <a:pt x="746" y="164"/>
                  </a:lnTo>
                  <a:lnTo>
                    <a:pt x="746" y="164"/>
                  </a:lnTo>
                  <a:lnTo>
                    <a:pt x="746" y="164"/>
                  </a:lnTo>
                  <a:lnTo>
                    <a:pt x="750" y="161"/>
                  </a:lnTo>
                  <a:lnTo>
                    <a:pt x="750" y="161"/>
                  </a:lnTo>
                  <a:lnTo>
                    <a:pt x="746" y="154"/>
                  </a:lnTo>
                  <a:lnTo>
                    <a:pt x="746" y="151"/>
                  </a:lnTo>
                  <a:lnTo>
                    <a:pt x="746" y="151"/>
                  </a:lnTo>
                  <a:lnTo>
                    <a:pt x="750" y="147"/>
                  </a:lnTo>
                  <a:lnTo>
                    <a:pt x="750" y="147"/>
                  </a:lnTo>
                  <a:lnTo>
                    <a:pt x="753" y="144"/>
                  </a:lnTo>
                  <a:lnTo>
                    <a:pt x="753" y="144"/>
                  </a:lnTo>
                  <a:lnTo>
                    <a:pt x="753" y="137"/>
                  </a:lnTo>
                  <a:lnTo>
                    <a:pt x="753" y="137"/>
                  </a:lnTo>
                  <a:lnTo>
                    <a:pt x="757" y="134"/>
                  </a:lnTo>
                  <a:lnTo>
                    <a:pt x="760" y="131"/>
                  </a:lnTo>
                  <a:lnTo>
                    <a:pt x="763" y="127"/>
                  </a:lnTo>
                  <a:lnTo>
                    <a:pt x="767" y="124"/>
                  </a:lnTo>
                  <a:lnTo>
                    <a:pt x="767" y="124"/>
                  </a:lnTo>
                  <a:lnTo>
                    <a:pt x="767" y="121"/>
                  </a:lnTo>
                  <a:lnTo>
                    <a:pt x="763" y="114"/>
                  </a:lnTo>
                  <a:lnTo>
                    <a:pt x="763" y="110"/>
                  </a:lnTo>
                  <a:lnTo>
                    <a:pt x="767" y="107"/>
                  </a:lnTo>
                  <a:lnTo>
                    <a:pt x="767" y="107"/>
                  </a:lnTo>
                  <a:lnTo>
                    <a:pt x="770" y="107"/>
                  </a:lnTo>
                  <a:lnTo>
                    <a:pt x="773" y="110"/>
                  </a:lnTo>
                  <a:lnTo>
                    <a:pt x="773" y="110"/>
                  </a:lnTo>
                  <a:lnTo>
                    <a:pt x="777" y="114"/>
                  </a:lnTo>
                  <a:lnTo>
                    <a:pt x="780" y="117"/>
                  </a:lnTo>
                  <a:lnTo>
                    <a:pt x="780" y="117"/>
                  </a:lnTo>
                  <a:lnTo>
                    <a:pt x="783" y="117"/>
                  </a:lnTo>
                  <a:lnTo>
                    <a:pt x="783" y="117"/>
                  </a:lnTo>
                  <a:lnTo>
                    <a:pt x="787" y="114"/>
                  </a:lnTo>
                  <a:lnTo>
                    <a:pt x="787" y="114"/>
                  </a:lnTo>
                  <a:lnTo>
                    <a:pt x="790" y="107"/>
                  </a:lnTo>
                  <a:lnTo>
                    <a:pt x="790" y="104"/>
                  </a:lnTo>
                  <a:lnTo>
                    <a:pt x="787" y="90"/>
                  </a:lnTo>
                  <a:lnTo>
                    <a:pt x="787" y="90"/>
                  </a:lnTo>
                  <a:lnTo>
                    <a:pt x="770" y="90"/>
                  </a:lnTo>
                  <a:lnTo>
                    <a:pt x="767" y="87"/>
                  </a:lnTo>
                  <a:lnTo>
                    <a:pt x="767" y="87"/>
                  </a:lnTo>
                  <a:lnTo>
                    <a:pt x="763" y="90"/>
                  </a:lnTo>
                  <a:lnTo>
                    <a:pt x="763" y="90"/>
                  </a:lnTo>
                  <a:lnTo>
                    <a:pt x="763" y="90"/>
                  </a:lnTo>
                  <a:lnTo>
                    <a:pt x="746" y="87"/>
                  </a:lnTo>
                  <a:lnTo>
                    <a:pt x="746" y="87"/>
                  </a:lnTo>
                  <a:lnTo>
                    <a:pt x="746" y="80"/>
                  </a:lnTo>
                  <a:lnTo>
                    <a:pt x="746" y="80"/>
                  </a:lnTo>
                  <a:lnTo>
                    <a:pt x="730" y="74"/>
                  </a:lnTo>
                  <a:lnTo>
                    <a:pt x="730" y="74"/>
                  </a:lnTo>
                  <a:lnTo>
                    <a:pt x="746" y="74"/>
                  </a:lnTo>
                  <a:lnTo>
                    <a:pt x="757" y="70"/>
                  </a:lnTo>
                  <a:lnTo>
                    <a:pt x="763" y="63"/>
                  </a:lnTo>
                  <a:lnTo>
                    <a:pt x="770" y="53"/>
                  </a:lnTo>
                  <a:lnTo>
                    <a:pt x="770" y="53"/>
                  </a:lnTo>
                  <a:lnTo>
                    <a:pt x="777" y="53"/>
                  </a:lnTo>
                  <a:lnTo>
                    <a:pt x="777" y="53"/>
                  </a:lnTo>
                  <a:lnTo>
                    <a:pt x="777" y="43"/>
                  </a:lnTo>
                  <a:lnTo>
                    <a:pt x="777" y="43"/>
                  </a:lnTo>
                  <a:lnTo>
                    <a:pt x="767" y="43"/>
                  </a:lnTo>
                  <a:lnTo>
                    <a:pt x="767" y="43"/>
                  </a:lnTo>
                  <a:lnTo>
                    <a:pt x="763" y="37"/>
                  </a:lnTo>
                  <a:lnTo>
                    <a:pt x="760" y="33"/>
                  </a:lnTo>
                  <a:lnTo>
                    <a:pt x="760" y="33"/>
                  </a:lnTo>
                  <a:lnTo>
                    <a:pt x="757" y="30"/>
                  </a:lnTo>
                  <a:lnTo>
                    <a:pt x="750" y="30"/>
                  </a:lnTo>
                  <a:lnTo>
                    <a:pt x="750" y="26"/>
                  </a:lnTo>
                  <a:lnTo>
                    <a:pt x="750" y="26"/>
                  </a:lnTo>
                  <a:lnTo>
                    <a:pt x="746" y="26"/>
                  </a:lnTo>
                  <a:lnTo>
                    <a:pt x="743" y="30"/>
                  </a:lnTo>
                  <a:lnTo>
                    <a:pt x="743" y="30"/>
                  </a:lnTo>
                  <a:lnTo>
                    <a:pt x="743" y="26"/>
                  </a:lnTo>
                  <a:lnTo>
                    <a:pt x="743" y="23"/>
                  </a:lnTo>
                  <a:lnTo>
                    <a:pt x="740" y="23"/>
                  </a:lnTo>
                  <a:lnTo>
                    <a:pt x="740" y="23"/>
                  </a:lnTo>
                  <a:lnTo>
                    <a:pt x="733" y="30"/>
                  </a:lnTo>
                  <a:lnTo>
                    <a:pt x="733" y="30"/>
                  </a:lnTo>
                  <a:lnTo>
                    <a:pt x="733" y="20"/>
                  </a:lnTo>
                  <a:lnTo>
                    <a:pt x="733" y="20"/>
                  </a:lnTo>
                  <a:lnTo>
                    <a:pt x="730" y="16"/>
                  </a:lnTo>
                  <a:lnTo>
                    <a:pt x="723" y="16"/>
                  </a:lnTo>
                  <a:lnTo>
                    <a:pt x="723" y="16"/>
                  </a:lnTo>
                  <a:lnTo>
                    <a:pt x="710" y="20"/>
                  </a:lnTo>
                  <a:lnTo>
                    <a:pt x="710" y="20"/>
                  </a:lnTo>
                  <a:lnTo>
                    <a:pt x="713" y="50"/>
                  </a:lnTo>
                  <a:lnTo>
                    <a:pt x="713" y="50"/>
                  </a:lnTo>
                  <a:lnTo>
                    <a:pt x="706" y="43"/>
                  </a:lnTo>
                  <a:lnTo>
                    <a:pt x="706" y="43"/>
                  </a:lnTo>
                  <a:lnTo>
                    <a:pt x="699" y="47"/>
                  </a:lnTo>
                  <a:lnTo>
                    <a:pt x="699" y="47"/>
                  </a:lnTo>
                  <a:lnTo>
                    <a:pt x="706" y="33"/>
                  </a:lnTo>
                  <a:lnTo>
                    <a:pt x="703" y="30"/>
                  </a:lnTo>
                  <a:lnTo>
                    <a:pt x="696" y="26"/>
                  </a:lnTo>
                  <a:lnTo>
                    <a:pt x="696" y="26"/>
                  </a:lnTo>
                  <a:lnTo>
                    <a:pt x="703" y="20"/>
                  </a:lnTo>
                  <a:lnTo>
                    <a:pt x="706" y="6"/>
                  </a:lnTo>
                  <a:lnTo>
                    <a:pt x="706" y="6"/>
                  </a:lnTo>
                  <a:lnTo>
                    <a:pt x="699" y="10"/>
                  </a:lnTo>
                  <a:lnTo>
                    <a:pt x="699" y="10"/>
                  </a:lnTo>
                  <a:lnTo>
                    <a:pt x="696" y="3"/>
                  </a:lnTo>
                  <a:lnTo>
                    <a:pt x="696" y="3"/>
                  </a:lnTo>
                  <a:lnTo>
                    <a:pt x="693" y="3"/>
                  </a:lnTo>
                  <a:lnTo>
                    <a:pt x="689" y="6"/>
                  </a:lnTo>
                  <a:lnTo>
                    <a:pt x="689" y="6"/>
                  </a:lnTo>
                  <a:lnTo>
                    <a:pt x="686" y="3"/>
                  </a:lnTo>
                  <a:lnTo>
                    <a:pt x="683" y="0"/>
                  </a:lnTo>
                  <a:lnTo>
                    <a:pt x="683" y="0"/>
                  </a:lnTo>
                  <a:lnTo>
                    <a:pt x="679" y="10"/>
                  </a:lnTo>
                  <a:lnTo>
                    <a:pt x="679" y="10"/>
                  </a:lnTo>
                  <a:lnTo>
                    <a:pt x="676" y="10"/>
                  </a:lnTo>
                  <a:lnTo>
                    <a:pt x="673" y="10"/>
                  </a:lnTo>
                  <a:lnTo>
                    <a:pt x="673" y="10"/>
                  </a:lnTo>
                  <a:lnTo>
                    <a:pt x="673" y="20"/>
                  </a:lnTo>
                  <a:lnTo>
                    <a:pt x="673" y="20"/>
                  </a:lnTo>
                  <a:lnTo>
                    <a:pt x="679" y="20"/>
                  </a:lnTo>
                  <a:lnTo>
                    <a:pt x="679" y="20"/>
                  </a:lnTo>
                  <a:lnTo>
                    <a:pt x="683" y="23"/>
                  </a:lnTo>
                  <a:lnTo>
                    <a:pt x="683" y="26"/>
                  </a:lnTo>
                  <a:lnTo>
                    <a:pt x="679" y="33"/>
                  </a:lnTo>
                  <a:lnTo>
                    <a:pt x="676" y="33"/>
                  </a:lnTo>
                  <a:lnTo>
                    <a:pt x="676" y="33"/>
                  </a:lnTo>
                  <a:lnTo>
                    <a:pt x="676" y="43"/>
                  </a:lnTo>
                  <a:lnTo>
                    <a:pt x="676" y="43"/>
                  </a:lnTo>
                  <a:lnTo>
                    <a:pt x="669" y="57"/>
                  </a:lnTo>
                  <a:lnTo>
                    <a:pt x="669" y="57"/>
                  </a:lnTo>
                  <a:lnTo>
                    <a:pt x="666" y="57"/>
                  </a:lnTo>
                  <a:lnTo>
                    <a:pt x="666" y="57"/>
                  </a:lnTo>
                  <a:lnTo>
                    <a:pt x="662" y="53"/>
                  </a:lnTo>
                  <a:lnTo>
                    <a:pt x="666" y="53"/>
                  </a:lnTo>
                  <a:lnTo>
                    <a:pt x="666" y="53"/>
                  </a:lnTo>
                  <a:lnTo>
                    <a:pt x="666" y="43"/>
                  </a:lnTo>
                  <a:lnTo>
                    <a:pt x="666" y="43"/>
                  </a:lnTo>
                  <a:lnTo>
                    <a:pt x="662" y="43"/>
                  </a:lnTo>
                  <a:lnTo>
                    <a:pt x="659" y="43"/>
                  </a:lnTo>
                  <a:lnTo>
                    <a:pt x="659" y="43"/>
                  </a:lnTo>
                  <a:lnTo>
                    <a:pt x="662" y="30"/>
                  </a:lnTo>
                  <a:lnTo>
                    <a:pt x="659" y="20"/>
                  </a:lnTo>
                  <a:lnTo>
                    <a:pt x="659" y="20"/>
                  </a:lnTo>
                  <a:lnTo>
                    <a:pt x="656" y="20"/>
                  </a:lnTo>
                  <a:lnTo>
                    <a:pt x="656" y="20"/>
                  </a:lnTo>
                  <a:lnTo>
                    <a:pt x="649" y="33"/>
                  </a:lnTo>
                  <a:lnTo>
                    <a:pt x="649" y="33"/>
                  </a:lnTo>
                  <a:lnTo>
                    <a:pt x="636" y="87"/>
                  </a:lnTo>
                  <a:lnTo>
                    <a:pt x="636" y="87"/>
                  </a:lnTo>
                  <a:lnTo>
                    <a:pt x="629" y="87"/>
                  </a:lnTo>
                  <a:lnTo>
                    <a:pt x="629" y="87"/>
                  </a:lnTo>
                  <a:lnTo>
                    <a:pt x="632" y="70"/>
                  </a:lnTo>
                  <a:lnTo>
                    <a:pt x="636" y="57"/>
                  </a:lnTo>
                  <a:lnTo>
                    <a:pt x="636" y="57"/>
                  </a:lnTo>
                  <a:lnTo>
                    <a:pt x="632" y="53"/>
                  </a:lnTo>
                  <a:lnTo>
                    <a:pt x="632" y="50"/>
                  </a:lnTo>
                  <a:lnTo>
                    <a:pt x="636" y="47"/>
                  </a:lnTo>
                  <a:lnTo>
                    <a:pt x="636" y="47"/>
                  </a:lnTo>
                  <a:lnTo>
                    <a:pt x="639" y="37"/>
                  </a:lnTo>
                  <a:lnTo>
                    <a:pt x="642" y="26"/>
                  </a:lnTo>
                  <a:lnTo>
                    <a:pt x="642" y="26"/>
                  </a:lnTo>
                  <a:lnTo>
                    <a:pt x="632" y="26"/>
                  </a:lnTo>
                  <a:lnTo>
                    <a:pt x="632" y="26"/>
                  </a:lnTo>
                  <a:lnTo>
                    <a:pt x="642" y="20"/>
                  </a:lnTo>
                  <a:lnTo>
                    <a:pt x="646" y="16"/>
                  </a:lnTo>
                  <a:lnTo>
                    <a:pt x="646" y="13"/>
                  </a:lnTo>
                  <a:lnTo>
                    <a:pt x="636" y="6"/>
                  </a:lnTo>
                  <a:lnTo>
                    <a:pt x="636" y="6"/>
                  </a:lnTo>
                  <a:lnTo>
                    <a:pt x="632" y="6"/>
                  </a:lnTo>
                  <a:lnTo>
                    <a:pt x="632" y="6"/>
                  </a:lnTo>
                  <a:lnTo>
                    <a:pt x="636" y="10"/>
                  </a:lnTo>
                  <a:lnTo>
                    <a:pt x="636" y="10"/>
                  </a:lnTo>
                  <a:lnTo>
                    <a:pt x="632" y="13"/>
                  </a:lnTo>
                  <a:lnTo>
                    <a:pt x="629" y="13"/>
                  </a:lnTo>
                  <a:lnTo>
                    <a:pt x="629" y="16"/>
                  </a:lnTo>
                  <a:lnTo>
                    <a:pt x="629" y="16"/>
                  </a:lnTo>
                  <a:lnTo>
                    <a:pt x="629" y="20"/>
                  </a:lnTo>
                  <a:lnTo>
                    <a:pt x="632" y="20"/>
                  </a:lnTo>
                  <a:lnTo>
                    <a:pt x="632" y="20"/>
                  </a:lnTo>
                  <a:lnTo>
                    <a:pt x="632" y="26"/>
                  </a:lnTo>
                  <a:lnTo>
                    <a:pt x="632" y="30"/>
                  </a:lnTo>
                  <a:lnTo>
                    <a:pt x="632" y="30"/>
                  </a:lnTo>
                  <a:lnTo>
                    <a:pt x="629" y="33"/>
                  </a:lnTo>
                  <a:lnTo>
                    <a:pt x="629" y="33"/>
                  </a:lnTo>
                  <a:lnTo>
                    <a:pt x="622" y="23"/>
                  </a:lnTo>
                  <a:lnTo>
                    <a:pt x="622" y="23"/>
                  </a:lnTo>
                  <a:lnTo>
                    <a:pt x="619" y="26"/>
                  </a:lnTo>
                  <a:lnTo>
                    <a:pt x="619" y="26"/>
                  </a:lnTo>
                  <a:lnTo>
                    <a:pt x="615" y="26"/>
                  </a:lnTo>
                  <a:lnTo>
                    <a:pt x="612" y="26"/>
                  </a:lnTo>
                  <a:lnTo>
                    <a:pt x="612" y="26"/>
                  </a:lnTo>
                  <a:lnTo>
                    <a:pt x="612" y="26"/>
                  </a:lnTo>
                  <a:lnTo>
                    <a:pt x="612" y="30"/>
                  </a:lnTo>
                  <a:lnTo>
                    <a:pt x="612" y="30"/>
                  </a:lnTo>
                  <a:lnTo>
                    <a:pt x="612" y="33"/>
                  </a:lnTo>
                  <a:lnTo>
                    <a:pt x="612" y="33"/>
                  </a:lnTo>
                  <a:lnTo>
                    <a:pt x="609" y="37"/>
                  </a:lnTo>
                  <a:lnTo>
                    <a:pt x="605" y="37"/>
                  </a:lnTo>
                  <a:lnTo>
                    <a:pt x="605" y="37"/>
                  </a:lnTo>
                  <a:lnTo>
                    <a:pt x="605" y="43"/>
                  </a:lnTo>
                  <a:lnTo>
                    <a:pt x="605" y="43"/>
                  </a:lnTo>
                  <a:lnTo>
                    <a:pt x="612" y="47"/>
                  </a:lnTo>
                  <a:lnTo>
                    <a:pt x="612" y="47"/>
                  </a:lnTo>
                  <a:lnTo>
                    <a:pt x="612" y="53"/>
                  </a:lnTo>
                  <a:lnTo>
                    <a:pt x="612" y="53"/>
                  </a:lnTo>
                  <a:lnTo>
                    <a:pt x="605" y="53"/>
                  </a:lnTo>
                  <a:lnTo>
                    <a:pt x="602" y="53"/>
                  </a:lnTo>
                  <a:lnTo>
                    <a:pt x="602" y="60"/>
                  </a:lnTo>
                  <a:lnTo>
                    <a:pt x="602" y="60"/>
                  </a:lnTo>
                  <a:lnTo>
                    <a:pt x="602" y="60"/>
                  </a:lnTo>
                  <a:lnTo>
                    <a:pt x="605" y="67"/>
                  </a:lnTo>
                  <a:lnTo>
                    <a:pt x="605" y="67"/>
                  </a:lnTo>
                  <a:lnTo>
                    <a:pt x="595" y="67"/>
                  </a:lnTo>
                  <a:lnTo>
                    <a:pt x="595" y="67"/>
                  </a:lnTo>
                  <a:lnTo>
                    <a:pt x="589" y="80"/>
                  </a:lnTo>
                  <a:lnTo>
                    <a:pt x="585" y="100"/>
                  </a:lnTo>
                  <a:lnTo>
                    <a:pt x="582" y="100"/>
                  </a:lnTo>
                  <a:lnTo>
                    <a:pt x="582" y="100"/>
                  </a:lnTo>
                  <a:lnTo>
                    <a:pt x="578" y="90"/>
                  </a:lnTo>
                  <a:lnTo>
                    <a:pt x="578" y="90"/>
                  </a:lnTo>
                  <a:lnTo>
                    <a:pt x="562" y="90"/>
                  </a:lnTo>
                  <a:lnTo>
                    <a:pt x="562" y="90"/>
                  </a:lnTo>
                  <a:lnTo>
                    <a:pt x="552" y="80"/>
                  </a:lnTo>
                  <a:lnTo>
                    <a:pt x="552" y="80"/>
                  </a:lnTo>
                  <a:close/>
                  <a:moveTo>
                    <a:pt x="10" y="830"/>
                  </a:moveTo>
                  <a:lnTo>
                    <a:pt x="10" y="830"/>
                  </a:lnTo>
                  <a:lnTo>
                    <a:pt x="7" y="836"/>
                  </a:lnTo>
                  <a:lnTo>
                    <a:pt x="7" y="836"/>
                  </a:lnTo>
                  <a:lnTo>
                    <a:pt x="7" y="836"/>
                  </a:lnTo>
                  <a:lnTo>
                    <a:pt x="7" y="836"/>
                  </a:lnTo>
                  <a:lnTo>
                    <a:pt x="10" y="830"/>
                  </a:lnTo>
                  <a:lnTo>
                    <a:pt x="10" y="830"/>
                  </a:lnTo>
                  <a:close/>
                  <a:moveTo>
                    <a:pt x="34" y="803"/>
                  </a:moveTo>
                  <a:lnTo>
                    <a:pt x="34" y="803"/>
                  </a:lnTo>
                  <a:lnTo>
                    <a:pt x="37" y="803"/>
                  </a:lnTo>
                  <a:lnTo>
                    <a:pt x="37" y="806"/>
                  </a:lnTo>
                  <a:lnTo>
                    <a:pt x="37" y="806"/>
                  </a:lnTo>
                  <a:lnTo>
                    <a:pt x="34" y="810"/>
                  </a:lnTo>
                  <a:lnTo>
                    <a:pt x="31" y="816"/>
                  </a:lnTo>
                  <a:lnTo>
                    <a:pt x="31" y="816"/>
                  </a:lnTo>
                  <a:lnTo>
                    <a:pt x="31" y="816"/>
                  </a:lnTo>
                  <a:lnTo>
                    <a:pt x="31" y="833"/>
                  </a:lnTo>
                  <a:lnTo>
                    <a:pt x="31" y="833"/>
                  </a:lnTo>
                  <a:lnTo>
                    <a:pt x="21" y="830"/>
                  </a:lnTo>
                  <a:lnTo>
                    <a:pt x="21" y="830"/>
                  </a:lnTo>
                  <a:lnTo>
                    <a:pt x="21" y="830"/>
                  </a:lnTo>
                  <a:lnTo>
                    <a:pt x="17" y="823"/>
                  </a:lnTo>
                  <a:lnTo>
                    <a:pt x="21" y="816"/>
                  </a:lnTo>
                  <a:lnTo>
                    <a:pt x="34" y="803"/>
                  </a:lnTo>
                  <a:close/>
                  <a:moveTo>
                    <a:pt x="10" y="796"/>
                  </a:moveTo>
                  <a:lnTo>
                    <a:pt x="7" y="799"/>
                  </a:lnTo>
                  <a:lnTo>
                    <a:pt x="7" y="799"/>
                  </a:lnTo>
                  <a:lnTo>
                    <a:pt x="7" y="799"/>
                  </a:lnTo>
                  <a:lnTo>
                    <a:pt x="7" y="803"/>
                  </a:lnTo>
                  <a:lnTo>
                    <a:pt x="7" y="806"/>
                  </a:lnTo>
                  <a:lnTo>
                    <a:pt x="7" y="806"/>
                  </a:lnTo>
                  <a:lnTo>
                    <a:pt x="14" y="806"/>
                  </a:lnTo>
                  <a:lnTo>
                    <a:pt x="14" y="806"/>
                  </a:lnTo>
                  <a:lnTo>
                    <a:pt x="14" y="799"/>
                  </a:lnTo>
                  <a:lnTo>
                    <a:pt x="14" y="796"/>
                  </a:lnTo>
                  <a:lnTo>
                    <a:pt x="10" y="796"/>
                  </a:lnTo>
                  <a:lnTo>
                    <a:pt x="10" y="796"/>
                  </a:lnTo>
                  <a:close/>
                  <a:moveTo>
                    <a:pt x="10" y="773"/>
                  </a:moveTo>
                  <a:lnTo>
                    <a:pt x="10" y="773"/>
                  </a:lnTo>
                  <a:lnTo>
                    <a:pt x="7" y="779"/>
                  </a:lnTo>
                  <a:lnTo>
                    <a:pt x="7" y="779"/>
                  </a:lnTo>
                  <a:lnTo>
                    <a:pt x="7" y="786"/>
                  </a:lnTo>
                  <a:lnTo>
                    <a:pt x="7" y="786"/>
                  </a:lnTo>
                  <a:lnTo>
                    <a:pt x="7" y="786"/>
                  </a:lnTo>
                  <a:lnTo>
                    <a:pt x="10" y="789"/>
                  </a:lnTo>
                  <a:lnTo>
                    <a:pt x="10" y="789"/>
                  </a:lnTo>
                  <a:lnTo>
                    <a:pt x="10" y="786"/>
                  </a:lnTo>
                  <a:lnTo>
                    <a:pt x="10" y="783"/>
                  </a:lnTo>
                  <a:lnTo>
                    <a:pt x="10" y="783"/>
                  </a:lnTo>
                  <a:lnTo>
                    <a:pt x="14" y="779"/>
                  </a:lnTo>
                  <a:lnTo>
                    <a:pt x="14" y="776"/>
                  </a:lnTo>
                  <a:lnTo>
                    <a:pt x="10" y="773"/>
                  </a:lnTo>
                  <a:close/>
                  <a:moveTo>
                    <a:pt x="24" y="749"/>
                  </a:moveTo>
                  <a:lnTo>
                    <a:pt x="24" y="749"/>
                  </a:lnTo>
                  <a:lnTo>
                    <a:pt x="24" y="749"/>
                  </a:lnTo>
                  <a:lnTo>
                    <a:pt x="24" y="749"/>
                  </a:lnTo>
                  <a:lnTo>
                    <a:pt x="21" y="752"/>
                  </a:lnTo>
                  <a:lnTo>
                    <a:pt x="21" y="752"/>
                  </a:lnTo>
                  <a:lnTo>
                    <a:pt x="21" y="749"/>
                  </a:lnTo>
                  <a:lnTo>
                    <a:pt x="24" y="749"/>
                  </a:lnTo>
                  <a:lnTo>
                    <a:pt x="24" y="749"/>
                  </a:lnTo>
                  <a:close/>
                  <a:moveTo>
                    <a:pt x="54" y="725"/>
                  </a:moveTo>
                  <a:lnTo>
                    <a:pt x="54" y="725"/>
                  </a:lnTo>
                  <a:lnTo>
                    <a:pt x="61" y="729"/>
                  </a:lnTo>
                  <a:lnTo>
                    <a:pt x="61" y="729"/>
                  </a:lnTo>
                  <a:lnTo>
                    <a:pt x="61" y="732"/>
                  </a:lnTo>
                  <a:lnTo>
                    <a:pt x="58" y="732"/>
                  </a:lnTo>
                  <a:lnTo>
                    <a:pt x="58" y="732"/>
                  </a:lnTo>
                  <a:lnTo>
                    <a:pt x="54" y="729"/>
                  </a:lnTo>
                  <a:lnTo>
                    <a:pt x="54" y="725"/>
                  </a:lnTo>
                  <a:lnTo>
                    <a:pt x="54" y="725"/>
                  </a:lnTo>
                  <a:lnTo>
                    <a:pt x="54" y="725"/>
                  </a:lnTo>
                  <a:close/>
                  <a:moveTo>
                    <a:pt x="44" y="668"/>
                  </a:moveTo>
                  <a:lnTo>
                    <a:pt x="44" y="668"/>
                  </a:lnTo>
                  <a:lnTo>
                    <a:pt x="47" y="672"/>
                  </a:lnTo>
                  <a:lnTo>
                    <a:pt x="47" y="672"/>
                  </a:lnTo>
                  <a:lnTo>
                    <a:pt x="34" y="672"/>
                  </a:lnTo>
                  <a:lnTo>
                    <a:pt x="34" y="672"/>
                  </a:lnTo>
                  <a:lnTo>
                    <a:pt x="44" y="668"/>
                  </a:lnTo>
                  <a:lnTo>
                    <a:pt x="44" y="668"/>
                  </a:lnTo>
                  <a:close/>
                  <a:moveTo>
                    <a:pt x="95" y="618"/>
                  </a:moveTo>
                  <a:lnTo>
                    <a:pt x="95" y="618"/>
                  </a:lnTo>
                  <a:lnTo>
                    <a:pt x="91" y="625"/>
                  </a:lnTo>
                  <a:lnTo>
                    <a:pt x="91" y="625"/>
                  </a:lnTo>
                  <a:lnTo>
                    <a:pt x="98" y="625"/>
                  </a:lnTo>
                  <a:lnTo>
                    <a:pt x="98" y="625"/>
                  </a:lnTo>
                  <a:lnTo>
                    <a:pt x="101" y="618"/>
                  </a:lnTo>
                  <a:lnTo>
                    <a:pt x="98" y="618"/>
                  </a:lnTo>
                  <a:lnTo>
                    <a:pt x="95" y="618"/>
                  </a:lnTo>
                  <a:lnTo>
                    <a:pt x="95" y="618"/>
                  </a:lnTo>
                  <a:close/>
                  <a:moveTo>
                    <a:pt x="135" y="574"/>
                  </a:moveTo>
                  <a:lnTo>
                    <a:pt x="135" y="574"/>
                  </a:lnTo>
                  <a:lnTo>
                    <a:pt x="135" y="578"/>
                  </a:lnTo>
                  <a:lnTo>
                    <a:pt x="138" y="581"/>
                  </a:lnTo>
                  <a:lnTo>
                    <a:pt x="138" y="581"/>
                  </a:lnTo>
                  <a:lnTo>
                    <a:pt x="138" y="581"/>
                  </a:lnTo>
                  <a:lnTo>
                    <a:pt x="148" y="581"/>
                  </a:lnTo>
                  <a:lnTo>
                    <a:pt x="148" y="581"/>
                  </a:lnTo>
                  <a:lnTo>
                    <a:pt x="148" y="581"/>
                  </a:lnTo>
                  <a:lnTo>
                    <a:pt x="148" y="578"/>
                  </a:lnTo>
                  <a:lnTo>
                    <a:pt x="148" y="574"/>
                  </a:lnTo>
                  <a:lnTo>
                    <a:pt x="148" y="574"/>
                  </a:lnTo>
                  <a:lnTo>
                    <a:pt x="135" y="574"/>
                  </a:lnTo>
                  <a:lnTo>
                    <a:pt x="135" y="574"/>
                  </a:lnTo>
                  <a:close/>
                  <a:moveTo>
                    <a:pt x="202" y="564"/>
                  </a:moveTo>
                  <a:lnTo>
                    <a:pt x="202" y="564"/>
                  </a:lnTo>
                  <a:lnTo>
                    <a:pt x="205" y="568"/>
                  </a:lnTo>
                  <a:lnTo>
                    <a:pt x="205" y="568"/>
                  </a:lnTo>
                  <a:lnTo>
                    <a:pt x="202" y="571"/>
                  </a:lnTo>
                  <a:lnTo>
                    <a:pt x="202" y="571"/>
                  </a:lnTo>
                  <a:lnTo>
                    <a:pt x="199" y="568"/>
                  </a:lnTo>
                  <a:lnTo>
                    <a:pt x="199" y="564"/>
                  </a:lnTo>
                  <a:lnTo>
                    <a:pt x="202" y="564"/>
                  </a:lnTo>
                  <a:lnTo>
                    <a:pt x="202" y="564"/>
                  </a:lnTo>
                  <a:close/>
                  <a:moveTo>
                    <a:pt x="168" y="554"/>
                  </a:moveTo>
                  <a:lnTo>
                    <a:pt x="168" y="554"/>
                  </a:lnTo>
                  <a:lnTo>
                    <a:pt x="158" y="561"/>
                  </a:lnTo>
                  <a:lnTo>
                    <a:pt x="158" y="561"/>
                  </a:lnTo>
                  <a:lnTo>
                    <a:pt x="158" y="561"/>
                  </a:lnTo>
                  <a:lnTo>
                    <a:pt x="162" y="561"/>
                  </a:lnTo>
                  <a:lnTo>
                    <a:pt x="172" y="561"/>
                  </a:lnTo>
                  <a:lnTo>
                    <a:pt x="172" y="561"/>
                  </a:lnTo>
                  <a:lnTo>
                    <a:pt x="172" y="557"/>
                  </a:lnTo>
                  <a:lnTo>
                    <a:pt x="172" y="554"/>
                  </a:lnTo>
                  <a:lnTo>
                    <a:pt x="168" y="554"/>
                  </a:lnTo>
                  <a:lnTo>
                    <a:pt x="168" y="554"/>
                  </a:lnTo>
                  <a:close/>
                  <a:moveTo>
                    <a:pt x="350" y="231"/>
                  </a:moveTo>
                  <a:lnTo>
                    <a:pt x="350" y="231"/>
                  </a:lnTo>
                  <a:lnTo>
                    <a:pt x="343" y="235"/>
                  </a:lnTo>
                  <a:lnTo>
                    <a:pt x="343" y="235"/>
                  </a:lnTo>
                  <a:lnTo>
                    <a:pt x="343" y="245"/>
                  </a:lnTo>
                  <a:lnTo>
                    <a:pt x="343" y="245"/>
                  </a:lnTo>
                  <a:lnTo>
                    <a:pt x="330" y="248"/>
                  </a:lnTo>
                  <a:lnTo>
                    <a:pt x="330" y="248"/>
                  </a:lnTo>
                  <a:lnTo>
                    <a:pt x="326" y="248"/>
                  </a:lnTo>
                  <a:lnTo>
                    <a:pt x="323" y="252"/>
                  </a:lnTo>
                  <a:lnTo>
                    <a:pt x="323" y="252"/>
                  </a:lnTo>
                  <a:lnTo>
                    <a:pt x="320" y="262"/>
                  </a:lnTo>
                  <a:lnTo>
                    <a:pt x="320" y="268"/>
                  </a:lnTo>
                  <a:lnTo>
                    <a:pt x="323" y="272"/>
                  </a:lnTo>
                  <a:lnTo>
                    <a:pt x="323" y="272"/>
                  </a:lnTo>
                  <a:lnTo>
                    <a:pt x="330" y="265"/>
                  </a:lnTo>
                  <a:lnTo>
                    <a:pt x="330" y="265"/>
                  </a:lnTo>
                  <a:lnTo>
                    <a:pt x="330" y="255"/>
                  </a:lnTo>
                  <a:lnTo>
                    <a:pt x="330" y="255"/>
                  </a:lnTo>
                  <a:lnTo>
                    <a:pt x="333" y="255"/>
                  </a:lnTo>
                  <a:lnTo>
                    <a:pt x="336" y="252"/>
                  </a:lnTo>
                  <a:lnTo>
                    <a:pt x="336" y="252"/>
                  </a:lnTo>
                  <a:lnTo>
                    <a:pt x="336" y="245"/>
                  </a:lnTo>
                  <a:lnTo>
                    <a:pt x="336" y="245"/>
                  </a:lnTo>
                  <a:lnTo>
                    <a:pt x="343" y="248"/>
                  </a:lnTo>
                  <a:lnTo>
                    <a:pt x="347" y="248"/>
                  </a:lnTo>
                  <a:lnTo>
                    <a:pt x="347" y="248"/>
                  </a:lnTo>
                  <a:lnTo>
                    <a:pt x="353" y="245"/>
                  </a:lnTo>
                  <a:lnTo>
                    <a:pt x="357" y="242"/>
                  </a:lnTo>
                  <a:lnTo>
                    <a:pt x="357" y="242"/>
                  </a:lnTo>
                  <a:lnTo>
                    <a:pt x="357" y="242"/>
                  </a:lnTo>
                  <a:lnTo>
                    <a:pt x="357" y="238"/>
                  </a:lnTo>
                  <a:lnTo>
                    <a:pt x="357" y="231"/>
                  </a:lnTo>
                  <a:lnTo>
                    <a:pt x="357" y="231"/>
                  </a:lnTo>
                  <a:lnTo>
                    <a:pt x="350" y="231"/>
                  </a:lnTo>
                  <a:lnTo>
                    <a:pt x="350" y="231"/>
                  </a:lnTo>
                  <a:close/>
                  <a:moveTo>
                    <a:pt x="367" y="228"/>
                  </a:moveTo>
                  <a:lnTo>
                    <a:pt x="367" y="228"/>
                  </a:lnTo>
                  <a:lnTo>
                    <a:pt x="360" y="235"/>
                  </a:lnTo>
                  <a:lnTo>
                    <a:pt x="360" y="238"/>
                  </a:lnTo>
                  <a:lnTo>
                    <a:pt x="360" y="238"/>
                  </a:lnTo>
                  <a:lnTo>
                    <a:pt x="360" y="238"/>
                  </a:lnTo>
                  <a:lnTo>
                    <a:pt x="360" y="242"/>
                  </a:lnTo>
                  <a:lnTo>
                    <a:pt x="360" y="242"/>
                  </a:lnTo>
                  <a:lnTo>
                    <a:pt x="367" y="242"/>
                  </a:lnTo>
                  <a:lnTo>
                    <a:pt x="367" y="242"/>
                  </a:lnTo>
                  <a:lnTo>
                    <a:pt x="373" y="231"/>
                  </a:lnTo>
                  <a:lnTo>
                    <a:pt x="373" y="228"/>
                  </a:lnTo>
                  <a:lnTo>
                    <a:pt x="367" y="228"/>
                  </a:lnTo>
                  <a:lnTo>
                    <a:pt x="367" y="228"/>
                  </a:lnTo>
                  <a:close/>
                  <a:moveTo>
                    <a:pt x="441" y="205"/>
                  </a:moveTo>
                  <a:lnTo>
                    <a:pt x="441" y="205"/>
                  </a:lnTo>
                  <a:lnTo>
                    <a:pt x="441" y="205"/>
                  </a:lnTo>
                  <a:lnTo>
                    <a:pt x="441" y="208"/>
                  </a:lnTo>
                  <a:lnTo>
                    <a:pt x="441" y="211"/>
                  </a:lnTo>
                  <a:lnTo>
                    <a:pt x="441" y="211"/>
                  </a:lnTo>
                  <a:lnTo>
                    <a:pt x="437" y="211"/>
                  </a:lnTo>
                  <a:lnTo>
                    <a:pt x="437" y="211"/>
                  </a:lnTo>
                  <a:lnTo>
                    <a:pt x="441" y="205"/>
                  </a:lnTo>
                  <a:lnTo>
                    <a:pt x="441" y="205"/>
                  </a:lnTo>
                  <a:close/>
                  <a:moveTo>
                    <a:pt x="407" y="164"/>
                  </a:moveTo>
                  <a:lnTo>
                    <a:pt x="407" y="164"/>
                  </a:lnTo>
                  <a:lnTo>
                    <a:pt x="397" y="174"/>
                  </a:lnTo>
                  <a:lnTo>
                    <a:pt x="394" y="184"/>
                  </a:lnTo>
                  <a:lnTo>
                    <a:pt x="394" y="184"/>
                  </a:lnTo>
                  <a:lnTo>
                    <a:pt x="397" y="184"/>
                  </a:lnTo>
                  <a:lnTo>
                    <a:pt x="397" y="184"/>
                  </a:lnTo>
                  <a:lnTo>
                    <a:pt x="410" y="171"/>
                  </a:lnTo>
                  <a:lnTo>
                    <a:pt x="414" y="164"/>
                  </a:lnTo>
                  <a:lnTo>
                    <a:pt x="410" y="161"/>
                  </a:lnTo>
                  <a:lnTo>
                    <a:pt x="407" y="164"/>
                  </a:lnTo>
                  <a:lnTo>
                    <a:pt x="407" y="164"/>
                  </a:lnTo>
                  <a:close/>
                  <a:moveTo>
                    <a:pt x="481" y="144"/>
                  </a:moveTo>
                  <a:lnTo>
                    <a:pt x="481" y="151"/>
                  </a:lnTo>
                  <a:lnTo>
                    <a:pt x="481" y="151"/>
                  </a:lnTo>
                  <a:lnTo>
                    <a:pt x="478" y="151"/>
                  </a:lnTo>
                  <a:lnTo>
                    <a:pt x="478" y="147"/>
                  </a:lnTo>
                  <a:lnTo>
                    <a:pt x="481" y="144"/>
                  </a:lnTo>
                  <a:lnTo>
                    <a:pt x="481" y="144"/>
                  </a:lnTo>
                  <a:close/>
                  <a:moveTo>
                    <a:pt x="488" y="127"/>
                  </a:moveTo>
                  <a:lnTo>
                    <a:pt x="488" y="127"/>
                  </a:lnTo>
                  <a:lnTo>
                    <a:pt x="491" y="127"/>
                  </a:lnTo>
                  <a:lnTo>
                    <a:pt x="491" y="131"/>
                  </a:lnTo>
                  <a:lnTo>
                    <a:pt x="488" y="134"/>
                  </a:lnTo>
                  <a:lnTo>
                    <a:pt x="488" y="134"/>
                  </a:lnTo>
                  <a:lnTo>
                    <a:pt x="484" y="134"/>
                  </a:lnTo>
                  <a:lnTo>
                    <a:pt x="484" y="134"/>
                  </a:lnTo>
                  <a:lnTo>
                    <a:pt x="488" y="127"/>
                  </a:lnTo>
                  <a:lnTo>
                    <a:pt x="488" y="127"/>
                  </a:lnTo>
                  <a:close/>
                  <a:moveTo>
                    <a:pt x="498" y="90"/>
                  </a:moveTo>
                  <a:lnTo>
                    <a:pt x="498" y="90"/>
                  </a:lnTo>
                  <a:lnTo>
                    <a:pt x="501" y="97"/>
                  </a:lnTo>
                  <a:lnTo>
                    <a:pt x="505" y="104"/>
                  </a:lnTo>
                  <a:lnTo>
                    <a:pt x="505" y="104"/>
                  </a:lnTo>
                  <a:lnTo>
                    <a:pt x="508" y="104"/>
                  </a:lnTo>
                  <a:lnTo>
                    <a:pt x="508" y="104"/>
                  </a:lnTo>
                  <a:lnTo>
                    <a:pt x="508" y="97"/>
                  </a:lnTo>
                  <a:lnTo>
                    <a:pt x="508" y="97"/>
                  </a:lnTo>
                  <a:lnTo>
                    <a:pt x="505" y="94"/>
                  </a:lnTo>
                  <a:lnTo>
                    <a:pt x="498" y="90"/>
                  </a:lnTo>
                  <a:lnTo>
                    <a:pt x="498" y="90"/>
                  </a:lnTo>
                  <a:close/>
                  <a:moveTo>
                    <a:pt x="488" y="90"/>
                  </a:moveTo>
                  <a:lnTo>
                    <a:pt x="488" y="90"/>
                  </a:lnTo>
                  <a:lnTo>
                    <a:pt x="484" y="100"/>
                  </a:lnTo>
                  <a:lnTo>
                    <a:pt x="484" y="100"/>
                  </a:lnTo>
                  <a:lnTo>
                    <a:pt x="491" y="100"/>
                  </a:lnTo>
                  <a:lnTo>
                    <a:pt x="491" y="100"/>
                  </a:lnTo>
                  <a:lnTo>
                    <a:pt x="491" y="94"/>
                  </a:lnTo>
                  <a:lnTo>
                    <a:pt x="491" y="90"/>
                  </a:lnTo>
                  <a:lnTo>
                    <a:pt x="488" y="90"/>
                  </a:lnTo>
                  <a:lnTo>
                    <a:pt x="488" y="90"/>
                  </a:lnTo>
                  <a:close/>
                  <a:moveTo>
                    <a:pt x="595" y="43"/>
                  </a:moveTo>
                  <a:lnTo>
                    <a:pt x="595" y="43"/>
                  </a:lnTo>
                  <a:lnTo>
                    <a:pt x="592" y="57"/>
                  </a:lnTo>
                  <a:lnTo>
                    <a:pt x="592" y="57"/>
                  </a:lnTo>
                  <a:lnTo>
                    <a:pt x="585" y="57"/>
                  </a:lnTo>
                  <a:lnTo>
                    <a:pt x="575" y="70"/>
                  </a:lnTo>
                  <a:lnTo>
                    <a:pt x="575" y="70"/>
                  </a:lnTo>
                  <a:lnTo>
                    <a:pt x="575" y="70"/>
                  </a:lnTo>
                  <a:lnTo>
                    <a:pt x="575" y="70"/>
                  </a:lnTo>
                  <a:lnTo>
                    <a:pt x="575" y="70"/>
                  </a:lnTo>
                  <a:lnTo>
                    <a:pt x="575" y="77"/>
                  </a:lnTo>
                  <a:lnTo>
                    <a:pt x="575" y="77"/>
                  </a:lnTo>
                  <a:lnTo>
                    <a:pt x="578" y="77"/>
                  </a:lnTo>
                  <a:lnTo>
                    <a:pt x="578" y="80"/>
                  </a:lnTo>
                  <a:lnTo>
                    <a:pt x="578" y="80"/>
                  </a:lnTo>
                  <a:lnTo>
                    <a:pt x="572" y="77"/>
                  </a:lnTo>
                  <a:lnTo>
                    <a:pt x="572" y="77"/>
                  </a:lnTo>
                  <a:lnTo>
                    <a:pt x="568" y="80"/>
                  </a:lnTo>
                  <a:lnTo>
                    <a:pt x="562" y="80"/>
                  </a:lnTo>
                  <a:lnTo>
                    <a:pt x="562" y="80"/>
                  </a:lnTo>
                  <a:lnTo>
                    <a:pt x="565" y="87"/>
                  </a:lnTo>
                  <a:lnTo>
                    <a:pt x="568" y="87"/>
                  </a:lnTo>
                  <a:lnTo>
                    <a:pt x="578" y="87"/>
                  </a:lnTo>
                  <a:lnTo>
                    <a:pt x="578" y="87"/>
                  </a:lnTo>
                  <a:lnTo>
                    <a:pt x="578" y="80"/>
                  </a:lnTo>
                  <a:lnTo>
                    <a:pt x="578" y="80"/>
                  </a:lnTo>
                  <a:lnTo>
                    <a:pt x="585" y="77"/>
                  </a:lnTo>
                  <a:lnTo>
                    <a:pt x="585" y="77"/>
                  </a:lnTo>
                  <a:lnTo>
                    <a:pt x="589" y="74"/>
                  </a:lnTo>
                  <a:lnTo>
                    <a:pt x="589" y="67"/>
                  </a:lnTo>
                  <a:lnTo>
                    <a:pt x="589" y="67"/>
                  </a:lnTo>
                  <a:lnTo>
                    <a:pt x="595" y="63"/>
                  </a:lnTo>
                  <a:lnTo>
                    <a:pt x="599" y="60"/>
                  </a:lnTo>
                  <a:lnTo>
                    <a:pt x="599" y="60"/>
                  </a:lnTo>
                  <a:lnTo>
                    <a:pt x="599" y="43"/>
                  </a:lnTo>
                  <a:lnTo>
                    <a:pt x="595" y="43"/>
                  </a:lnTo>
                  <a:close/>
                  <a:moveTo>
                    <a:pt x="582" y="40"/>
                  </a:moveTo>
                  <a:lnTo>
                    <a:pt x="582" y="43"/>
                  </a:lnTo>
                  <a:lnTo>
                    <a:pt x="582" y="43"/>
                  </a:lnTo>
                  <a:lnTo>
                    <a:pt x="578" y="43"/>
                  </a:lnTo>
                  <a:lnTo>
                    <a:pt x="575" y="40"/>
                  </a:lnTo>
                  <a:lnTo>
                    <a:pt x="575" y="40"/>
                  </a:lnTo>
                  <a:lnTo>
                    <a:pt x="575" y="47"/>
                  </a:lnTo>
                  <a:lnTo>
                    <a:pt x="572" y="53"/>
                  </a:lnTo>
                  <a:lnTo>
                    <a:pt x="572" y="53"/>
                  </a:lnTo>
                  <a:lnTo>
                    <a:pt x="572" y="53"/>
                  </a:lnTo>
                  <a:lnTo>
                    <a:pt x="555" y="57"/>
                  </a:lnTo>
                  <a:lnTo>
                    <a:pt x="555" y="57"/>
                  </a:lnTo>
                  <a:lnTo>
                    <a:pt x="558" y="67"/>
                  </a:lnTo>
                  <a:lnTo>
                    <a:pt x="558" y="67"/>
                  </a:lnTo>
                  <a:lnTo>
                    <a:pt x="555" y="67"/>
                  </a:lnTo>
                  <a:lnTo>
                    <a:pt x="555" y="67"/>
                  </a:lnTo>
                  <a:lnTo>
                    <a:pt x="555" y="70"/>
                  </a:lnTo>
                  <a:lnTo>
                    <a:pt x="555" y="70"/>
                  </a:lnTo>
                  <a:lnTo>
                    <a:pt x="555" y="70"/>
                  </a:lnTo>
                  <a:lnTo>
                    <a:pt x="558" y="70"/>
                  </a:lnTo>
                  <a:lnTo>
                    <a:pt x="562" y="70"/>
                  </a:lnTo>
                  <a:lnTo>
                    <a:pt x="562" y="70"/>
                  </a:lnTo>
                  <a:lnTo>
                    <a:pt x="565" y="63"/>
                  </a:lnTo>
                  <a:lnTo>
                    <a:pt x="565" y="63"/>
                  </a:lnTo>
                  <a:lnTo>
                    <a:pt x="568" y="63"/>
                  </a:lnTo>
                  <a:lnTo>
                    <a:pt x="572" y="67"/>
                  </a:lnTo>
                  <a:lnTo>
                    <a:pt x="572" y="67"/>
                  </a:lnTo>
                  <a:lnTo>
                    <a:pt x="582" y="50"/>
                  </a:lnTo>
                  <a:lnTo>
                    <a:pt x="585" y="47"/>
                  </a:lnTo>
                  <a:lnTo>
                    <a:pt x="585" y="47"/>
                  </a:lnTo>
                  <a:lnTo>
                    <a:pt x="585" y="40"/>
                  </a:lnTo>
                  <a:lnTo>
                    <a:pt x="585" y="40"/>
                  </a:lnTo>
                  <a:lnTo>
                    <a:pt x="582" y="40"/>
                  </a:lnTo>
                  <a:lnTo>
                    <a:pt x="582" y="40"/>
                  </a:lnTo>
                  <a:close/>
                </a:path>
              </a:pathLst>
            </a:custGeom>
            <a:solidFill>
              <a:srgbClr val="C0C0C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EYInterstate" pitchFamily="2" charset="0"/>
                <a:cs typeface="Arial" charset="0"/>
              </a:endParaRPr>
            </a:p>
          </p:txBody>
        </p:sp>
        <p:sp>
          <p:nvSpPr>
            <p:cNvPr id="28" name="Freeform 42"/>
            <p:cNvSpPr>
              <a:spLocks noEditPoints="1"/>
            </p:cNvSpPr>
            <p:nvPr/>
          </p:nvSpPr>
          <p:spPr bwMode="auto">
            <a:xfrm>
              <a:off x="2600" y="2356"/>
              <a:ext cx="196" cy="188"/>
            </a:xfrm>
            <a:custGeom>
              <a:avLst/>
              <a:gdLst/>
              <a:ahLst/>
              <a:cxnLst>
                <a:cxn ang="0">
                  <a:pos x="175" y="14"/>
                </a:cxn>
                <a:cxn ang="0">
                  <a:pos x="104" y="24"/>
                </a:cxn>
                <a:cxn ang="0">
                  <a:pos x="84" y="37"/>
                </a:cxn>
                <a:cxn ang="0">
                  <a:pos x="78" y="21"/>
                </a:cxn>
                <a:cxn ang="0">
                  <a:pos x="57" y="78"/>
                </a:cxn>
                <a:cxn ang="0">
                  <a:pos x="37" y="98"/>
                </a:cxn>
                <a:cxn ang="0">
                  <a:pos x="54" y="118"/>
                </a:cxn>
                <a:cxn ang="0">
                  <a:pos x="41" y="125"/>
                </a:cxn>
                <a:cxn ang="0">
                  <a:pos x="41" y="111"/>
                </a:cxn>
                <a:cxn ang="0">
                  <a:pos x="34" y="118"/>
                </a:cxn>
                <a:cxn ang="0">
                  <a:pos x="37" y="121"/>
                </a:cxn>
                <a:cxn ang="0">
                  <a:pos x="30" y="128"/>
                </a:cxn>
                <a:cxn ang="0">
                  <a:pos x="7" y="121"/>
                </a:cxn>
                <a:cxn ang="0">
                  <a:pos x="10" y="128"/>
                </a:cxn>
                <a:cxn ang="0">
                  <a:pos x="20" y="131"/>
                </a:cxn>
                <a:cxn ang="0">
                  <a:pos x="0" y="131"/>
                </a:cxn>
                <a:cxn ang="0">
                  <a:pos x="7" y="145"/>
                </a:cxn>
                <a:cxn ang="0">
                  <a:pos x="17" y="152"/>
                </a:cxn>
                <a:cxn ang="0">
                  <a:pos x="44" y="152"/>
                </a:cxn>
                <a:cxn ang="0">
                  <a:pos x="54" y="145"/>
                </a:cxn>
                <a:cxn ang="0">
                  <a:pos x="61" y="155"/>
                </a:cxn>
                <a:cxn ang="0">
                  <a:pos x="67" y="152"/>
                </a:cxn>
                <a:cxn ang="0">
                  <a:pos x="81" y="158"/>
                </a:cxn>
                <a:cxn ang="0">
                  <a:pos x="91" y="168"/>
                </a:cxn>
                <a:cxn ang="0">
                  <a:pos x="91" y="182"/>
                </a:cxn>
                <a:cxn ang="0">
                  <a:pos x="88" y="199"/>
                </a:cxn>
                <a:cxn ang="0">
                  <a:pos x="108" y="199"/>
                </a:cxn>
                <a:cxn ang="0">
                  <a:pos x="111" y="185"/>
                </a:cxn>
                <a:cxn ang="0">
                  <a:pos x="98" y="178"/>
                </a:cxn>
                <a:cxn ang="0">
                  <a:pos x="108" y="172"/>
                </a:cxn>
                <a:cxn ang="0">
                  <a:pos x="125" y="152"/>
                </a:cxn>
                <a:cxn ang="0">
                  <a:pos x="128" y="115"/>
                </a:cxn>
                <a:cxn ang="0">
                  <a:pos x="148" y="118"/>
                </a:cxn>
                <a:cxn ang="0">
                  <a:pos x="162" y="105"/>
                </a:cxn>
                <a:cxn ang="0">
                  <a:pos x="175" y="91"/>
                </a:cxn>
                <a:cxn ang="0">
                  <a:pos x="168" y="81"/>
                </a:cxn>
                <a:cxn ang="0">
                  <a:pos x="188" y="64"/>
                </a:cxn>
                <a:cxn ang="0">
                  <a:pos x="24" y="138"/>
                </a:cxn>
                <a:cxn ang="0">
                  <a:pos x="24" y="142"/>
                </a:cxn>
                <a:cxn ang="0">
                  <a:pos x="108" y="31"/>
                </a:cxn>
                <a:cxn ang="0">
                  <a:pos x="108" y="51"/>
                </a:cxn>
                <a:cxn ang="0">
                  <a:pos x="125" y="61"/>
                </a:cxn>
                <a:cxn ang="0">
                  <a:pos x="128" y="64"/>
                </a:cxn>
                <a:cxn ang="0">
                  <a:pos x="108" y="88"/>
                </a:cxn>
                <a:cxn ang="0">
                  <a:pos x="91" y="57"/>
                </a:cxn>
                <a:cxn ang="0">
                  <a:pos x="94" y="51"/>
                </a:cxn>
                <a:cxn ang="0">
                  <a:pos x="78" y="14"/>
                </a:cxn>
                <a:cxn ang="0">
                  <a:pos x="88" y="10"/>
                </a:cxn>
                <a:cxn ang="0">
                  <a:pos x="145" y="10"/>
                </a:cxn>
                <a:cxn ang="0">
                  <a:pos x="162" y="4"/>
                </a:cxn>
                <a:cxn ang="0">
                  <a:pos x="91" y="4"/>
                </a:cxn>
                <a:cxn ang="0">
                  <a:pos x="98" y="7"/>
                </a:cxn>
                <a:cxn ang="0">
                  <a:pos x="121" y="7"/>
                </a:cxn>
                <a:cxn ang="0">
                  <a:pos x="121" y="4"/>
                </a:cxn>
                <a:cxn ang="0">
                  <a:pos x="172" y="4"/>
                </a:cxn>
                <a:cxn ang="0">
                  <a:pos x="178" y="0"/>
                </a:cxn>
                <a:cxn ang="0">
                  <a:pos x="101" y="4"/>
                </a:cxn>
                <a:cxn ang="0">
                  <a:pos x="101" y="0"/>
                </a:cxn>
              </a:cxnLst>
              <a:rect l="0" t="0" r="r" b="b"/>
              <a:pathLst>
                <a:path w="195" h="202">
                  <a:moveTo>
                    <a:pt x="195" y="31"/>
                  </a:moveTo>
                  <a:lnTo>
                    <a:pt x="195" y="31"/>
                  </a:lnTo>
                  <a:lnTo>
                    <a:pt x="185" y="31"/>
                  </a:lnTo>
                  <a:lnTo>
                    <a:pt x="178" y="24"/>
                  </a:lnTo>
                  <a:lnTo>
                    <a:pt x="175" y="14"/>
                  </a:lnTo>
                  <a:lnTo>
                    <a:pt x="175" y="14"/>
                  </a:lnTo>
                  <a:lnTo>
                    <a:pt x="141" y="17"/>
                  </a:lnTo>
                  <a:lnTo>
                    <a:pt x="141" y="17"/>
                  </a:lnTo>
                  <a:lnTo>
                    <a:pt x="131" y="14"/>
                  </a:lnTo>
                  <a:lnTo>
                    <a:pt x="118" y="17"/>
                  </a:lnTo>
                  <a:lnTo>
                    <a:pt x="118" y="17"/>
                  </a:lnTo>
                  <a:lnTo>
                    <a:pt x="104" y="24"/>
                  </a:lnTo>
                  <a:lnTo>
                    <a:pt x="104" y="24"/>
                  </a:lnTo>
                  <a:lnTo>
                    <a:pt x="101" y="31"/>
                  </a:lnTo>
                  <a:lnTo>
                    <a:pt x="101" y="31"/>
                  </a:lnTo>
                  <a:lnTo>
                    <a:pt x="91" y="34"/>
                  </a:lnTo>
                  <a:lnTo>
                    <a:pt x="84" y="37"/>
                  </a:lnTo>
                  <a:lnTo>
                    <a:pt x="84" y="37"/>
                  </a:lnTo>
                  <a:lnTo>
                    <a:pt x="81" y="34"/>
                  </a:lnTo>
                  <a:lnTo>
                    <a:pt x="81" y="31"/>
                  </a:lnTo>
                  <a:lnTo>
                    <a:pt x="81" y="31"/>
                  </a:lnTo>
                  <a:lnTo>
                    <a:pt x="84" y="21"/>
                  </a:lnTo>
                  <a:lnTo>
                    <a:pt x="84" y="21"/>
                  </a:lnTo>
                  <a:lnTo>
                    <a:pt x="78" y="21"/>
                  </a:lnTo>
                  <a:lnTo>
                    <a:pt x="78" y="21"/>
                  </a:lnTo>
                  <a:lnTo>
                    <a:pt x="74" y="51"/>
                  </a:lnTo>
                  <a:lnTo>
                    <a:pt x="71" y="61"/>
                  </a:lnTo>
                  <a:lnTo>
                    <a:pt x="64" y="74"/>
                  </a:lnTo>
                  <a:lnTo>
                    <a:pt x="64" y="74"/>
                  </a:lnTo>
                  <a:lnTo>
                    <a:pt x="57" y="78"/>
                  </a:lnTo>
                  <a:lnTo>
                    <a:pt x="57" y="78"/>
                  </a:lnTo>
                  <a:lnTo>
                    <a:pt x="57" y="84"/>
                  </a:lnTo>
                  <a:lnTo>
                    <a:pt x="57" y="88"/>
                  </a:lnTo>
                  <a:lnTo>
                    <a:pt x="57" y="88"/>
                  </a:lnTo>
                  <a:lnTo>
                    <a:pt x="47" y="94"/>
                  </a:lnTo>
                  <a:lnTo>
                    <a:pt x="37" y="98"/>
                  </a:lnTo>
                  <a:lnTo>
                    <a:pt x="37" y="98"/>
                  </a:lnTo>
                  <a:lnTo>
                    <a:pt x="37" y="108"/>
                  </a:lnTo>
                  <a:lnTo>
                    <a:pt x="37" y="108"/>
                  </a:lnTo>
                  <a:lnTo>
                    <a:pt x="51" y="118"/>
                  </a:lnTo>
                  <a:lnTo>
                    <a:pt x="51" y="118"/>
                  </a:lnTo>
                  <a:lnTo>
                    <a:pt x="54" y="118"/>
                  </a:lnTo>
                  <a:lnTo>
                    <a:pt x="57" y="118"/>
                  </a:lnTo>
                  <a:lnTo>
                    <a:pt x="57" y="118"/>
                  </a:lnTo>
                  <a:lnTo>
                    <a:pt x="57" y="121"/>
                  </a:lnTo>
                  <a:lnTo>
                    <a:pt x="57" y="121"/>
                  </a:lnTo>
                  <a:lnTo>
                    <a:pt x="47" y="121"/>
                  </a:lnTo>
                  <a:lnTo>
                    <a:pt x="41" y="125"/>
                  </a:lnTo>
                  <a:lnTo>
                    <a:pt x="41" y="125"/>
                  </a:lnTo>
                  <a:lnTo>
                    <a:pt x="37" y="121"/>
                  </a:lnTo>
                  <a:lnTo>
                    <a:pt x="37" y="118"/>
                  </a:lnTo>
                  <a:lnTo>
                    <a:pt x="44" y="118"/>
                  </a:lnTo>
                  <a:lnTo>
                    <a:pt x="44" y="118"/>
                  </a:lnTo>
                  <a:lnTo>
                    <a:pt x="41" y="111"/>
                  </a:lnTo>
                  <a:lnTo>
                    <a:pt x="41" y="111"/>
                  </a:lnTo>
                  <a:lnTo>
                    <a:pt x="34" y="108"/>
                  </a:lnTo>
                  <a:lnTo>
                    <a:pt x="34" y="108"/>
                  </a:lnTo>
                  <a:lnTo>
                    <a:pt x="34" y="115"/>
                  </a:lnTo>
                  <a:lnTo>
                    <a:pt x="34" y="115"/>
                  </a:lnTo>
                  <a:lnTo>
                    <a:pt x="34" y="118"/>
                  </a:lnTo>
                  <a:lnTo>
                    <a:pt x="30" y="115"/>
                  </a:lnTo>
                  <a:lnTo>
                    <a:pt x="24" y="111"/>
                  </a:lnTo>
                  <a:lnTo>
                    <a:pt x="20" y="118"/>
                  </a:lnTo>
                  <a:lnTo>
                    <a:pt x="20" y="118"/>
                  </a:lnTo>
                  <a:lnTo>
                    <a:pt x="37" y="121"/>
                  </a:lnTo>
                  <a:lnTo>
                    <a:pt x="37" y="121"/>
                  </a:lnTo>
                  <a:lnTo>
                    <a:pt x="34" y="121"/>
                  </a:lnTo>
                  <a:lnTo>
                    <a:pt x="34" y="125"/>
                  </a:lnTo>
                  <a:lnTo>
                    <a:pt x="34" y="125"/>
                  </a:lnTo>
                  <a:lnTo>
                    <a:pt x="34" y="128"/>
                  </a:lnTo>
                  <a:lnTo>
                    <a:pt x="34" y="128"/>
                  </a:lnTo>
                  <a:lnTo>
                    <a:pt x="30" y="128"/>
                  </a:lnTo>
                  <a:lnTo>
                    <a:pt x="30" y="128"/>
                  </a:lnTo>
                  <a:lnTo>
                    <a:pt x="27" y="125"/>
                  </a:lnTo>
                  <a:lnTo>
                    <a:pt x="27" y="125"/>
                  </a:lnTo>
                  <a:lnTo>
                    <a:pt x="20" y="121"/>
                  </a:lnTo>
                  <a:lnTo>
                    <a:pt x="17" y="121"/>
                  </a:lnTo>
                  <a:lnTo>
                    <a:pt x="7" y="121"/>
                  </a:lnTo>
                  <a:lnTo>
                    <a:pt x="7" y="121"/>
                  </a:lnTo>
                  <a:lnTo>
                    <a:pt x="7" y="128"/>
                  </a:lnTo>
                  <a:lnTo>
                    <a:pt x="7" y="128"/>
                  </a:lnTo>
                  <a:lnTo>
                    <a:pt x="10" y="131"/>
                  </a:lnTo>
                  <a:lnTo>
                    <a:pt x="10" y="131"/>
                  </a:lnTo>
                  <a:lnTo>
                    <a:pt x="10" y="128"/>
                  </a:lnTo>
                  <a:lnTo>
                    <a:pt x="10" y="128"/>
                  </a:lnTo>
                  <a:lnTo>
                    <a:pt x="17" y="128"/>
                  </a:lnTo>
                  <a:lnTo>
                    <a:pt x="17" y="128"/>
                  </a:lnTo>
                  <a:lnTo>
                    <a:pt x="17" y="131"/>
                  </a:lnTo>
                  <a:lnTo>
                    <a:pt x="20" y="131"/>
                  </a:lnTo>
                  <a:lnTo>
                    <a:pt x="20" y="131"/>
                  </a:lnTo>
                  <a:lnTo>
                    <a:pt x="20" y="135"/>
                  </a:lnTo>
                  <a:lnTo>
                    <a:pt x="17" y="138"/>
                  </a:lnTo>
                  <a:lnTo>
                    <a:pt x="17" y="138"/>
                  </a:lnTo>
                  <a:lnTo>
                    <a:pt x="10" y="138"/>
                  </a:lnTo>
                  <a:lnTo>
                    <a:pt x="7" y="135"/>
                  </a:lnTo>
                  <a:lnTo>
                    <a:pt x="0" y="131"/>
                  </a:lnTo>
                  <a:lnTo>
                    <a:pt x="0" y="131"/>
                  </a:lnTo>
                  <a:lnTo>
                    <a:pt x="0" y="138"/>
                  </a:lnTo>
                  <a:lnTo>
                    <a:pt x="4" y="142"/>
                  </a:lnTo>
                  <a:lnTo>
                    <a:pt x="4" y="142"/>
                  </a:lnTo>
                  <a:lnTo>
                    <a:pt x="7" y="145"/>
                  </a:lnTo>
                  <a:lnTo>
                    <a:pt x="7" y="145"/>
                  </a:lnTo>
                  <a:lnTo>
                    <a:pt x="14" y="145"/>
                  </a:lnTo>
                  <a:lnTo>
                    <a:pt x="14" y="145"/>
                  </a:lnTo>
                  <a:lnTo>
                    <a:pt x="14" y="145"/>
                  </a:lnTo>
                  <a:lnTo>
                    <a:pt x="14" y="145"/>
                  </a:lnTo>
                  <a:lnTo>
                    <a:pt x="14" y="152"/>
                  </a:lnTo>
                  <a:lnTo>
                    <a:pt x="17" y="152"/>
                  </a:lnTo>
                  <a:lnTo>
                    <a:pt x="27" y="152"/>
                  </a:lnTo>
                  <a:lnTo>
                    <a:pt x="27" y="152"/>
                  </a:lnTo>
                  <a:lnTo>
                    <a:pt x="34" y="152"/>
                  </a:lnTo>
                  <a:lnTo>
                    <a:pt x="41" y="148"/>
                  </a:lnTo>
                  <a:lnTo>
                    <a:pt x="41" y="148"/>
                  </a:lnTo>
                  <a:lnTo>
                    <a:pt x="44" y="152"/>
                  </a:lnTo>
                  <a:lnTo>
                    <a:pt x="44" y="152"/>
                  </a:lnTo>
                  <a:lnTo>
                    <a:pt x="47" y="148"/>
                  </a:lnTo>
                  <a:lnTo>
                    <a:pt x="47" y="145"/>
                  </a:lnTo>
                  <a:lnTo>
                    <a:pt x="47" y="145"/>
                  </a:lnTo>
                  <a:lnTo>
                    <a:pt x="54" y="145"/>
                  </a:lnTo>
                  <a:lnTo>
                    <a:pt x="54" y="145"/>
                  </a:lnTo>
                  <a:lnTo>
                    <a:pt x="54" y="145"/>
                  </a:lnTo>
                  <a:lnTo>
                    <a:pt x="54" y="148"/>
                  </a:lnTo>
                  <a:lnTo>
                    <a:pt x="54" y="152"/>
                  </a:lnTo>
                  <a:lnTo>
                    <a:pt x="54" y="152"/>
                  </a:lnTo>
                  <a:lnTo>
                    <a:pt x="57" y="155"/>
                  </a:lnTo>
                  <a:lnTo>
                    <a:pt x="61" y="155"/>
                  </a:lnTo>
                  <a:lnTo>
                    <a:pt x="61" y="155"/>
                  </a:lnTo>
                  <a:lnTo>
                    <a:pt x="61" y="152"/>
                  </a:lnTo>
                  <a:lnTo>
                    <a:pt x="61" y="148"/>
                  </a:lnTo>
                  <a:lnTo>
                    <a:pt x="61" y="148"/>
                  </a:lnTo>
                  <a:lnTo>
                    <a:pt x="64" y="148"/>
                  </a:lnTo>
                  <a:lnTo>
                    <a:pt x="67" y="152"/>
                  </a:lnTo>
                  <a:lnTo>
                    <a:pt x="67" y="152"/>
                  </a:lnTo>
                  <a:lnTo>
                    <a:pt x="67" y="158"/>
                  </a:lnTo>
                  <a:lnTo>
                    <a:pt x="67" y="158"/>
                  </a:lnTo>
                  <a:lnTo>
                    <a:pt x="71" y="158"/>
                  </a:lnTo>
                  <a:lnTo>
                    <a:pt x="78" y="158"/>
                  </a:lnTo>
                  <a:lnTo>
                    <a:pt x="81" y="158"/>
                  </a:lnTo>
                  <a:lnTo>
                    <a:pt x="84" y="162"/>
                  </a:lnTo>
                  <a:lnTo>
                    <a:pt x="84" y="162"/>
                  </a:lnTo>
                  <a:lnTo>
                    <a:pt x="84" y="165"/>
                  </a:lnTo>
                  <a:lnTo>
                    <a:pt x="84" y="165"/>
                  </a:lnTo>
                  <a:lnTo>
                    <a:pt x="88" y="168"/>
                  </a:lnTo>
                  <a:lnTo>
                    <a:pt x="91" y="168"/>
                  </a:lnTo>
                  <a:lnTo>
                    <a:pt x="91" y="168"/>
                  </a:lnTo>
                  <a:lnTo>
                    <a:pt x="94" y="172"/>
                  </a:lnTo>
                  <a:lnTo>
                    <a:pt x="91" y="175"/>
                  </a:lnTo>
                  <a:lnTo>
                    <a:pt x="91" y="175"/>
                  </a:lnTo>
                  <a:lnTo>
                    <a:pt x="91" y="182"/>
                  </a:lnTo>
                  <a:lnTo>
                    <a:pt x="91" y="182"/>
                  </a:lnTo>
                  <a:lnTo>
                    <a:pt x="88" y="192"/>
                  </a:lnTo>
                  <a:lnTo>
                    <a:pt x="88" y="192"/>
                  </a:lnTo>
                  <a:lnTo>
                    <a:pt x="84" y="195"/>
                  </a:lnTo>
                  <a:lnTo>
                    <a:pt x="84" y="195"/>
                  </a:lnTo>
                  <a:lnTo>
                    <a:pt x="84" y="199"/>
                  </a:lnTo>
                  <a:lnTo>
                    <a:pt x="88" y="199"/>
                  </a:lnTo>
                  <a:lnTo>
                    <a:pt x="98" y="202"/>
                  </a:lnTo>
                  <a:lnTo>
                    <a:pt x="98" y="202"/>
                  </a:lnTo>
                  <a:lnTo>
                    <a:pt x="101" y="202"/>
                  </a:lnTo>
                  <a:lnTo>
                    <a:pt x="104" y="202"/>
                  </a:lnTo>
                  <a:lnTo>
                    <a:pt x="104" y="202"/>
                  </a:lnTo>
                  <a:lnTo>
                    <a:pt x="108" y="199"/>
                  </a:lnTo>
                  <a:lnTo>
                    <a:pt x="104" y="195"/>
                  </a:lnTo>
                  <a:lnTo>
                    <a:pt x="104" y="195"/>
                  </a:lnTo>
                  <a:lnTo>
                    <a:pt x="108" y="192"/>
                  </a:lnTo>
                  <a:lnTo>
                    <a:pt x="111" y="189"/>
                  </a:lnTo>
                  <a:lnTo>
                    <a:pt x="111" y="189"/>
                  </a:lnTo>
                  <a:lnTo>
                    <a:pt x="111" y="185"/>
                  </a:lnTo>
                  <a:lnTo>
                    <a:pt x="108" y="182"/>
                  </a:lnTo>
                  <a:lnTo>
                    <a:pt x="108" y="182"/>
                  </a:lnTo>
                  <a:lnTo>
                    <a:pt x="101" y="178"/>
                  </a:lnTo>
                  <a:lnTo>
                    <a:pt x="101" y="178"/>
                  </a:lnTo>
                  <a:lnTo>
                    <a:pt x="98" y="178"/>
                  </a:lnTo>
                  <a:lnTo>
                    <a:pt x="98" y="178"/>
                  </a:lnTo>
                  <a:lnTo>
                    <a:pt x="98" y="175"/>
                  </a:lnTo>
                  <a:lnTo>
                    <a:pt x="101" y="172"/>
                  </a:lnTo>
                  <a:lnTo>
                    <a:pt x="101" y="172"/>
                  </a:lnTo>
                  <a:lnTo>
                    <a:pt x="104" y="175"/>
                  </a:lnTo>
                  <a:lnTo>
                    <a:pt x="104" y="175"/>
                  </a:lnTo>
                  <a:lnTo>
                    <a:pt x="108" y="172"/>
                  </a:lnTo>
                  <a:lnTo>
                    <a:pt x="108" y="172"/>
                  </a:lnTo>
                  <a:lnTo>
                    <a:pt x="111" y="165"/>
                  </a:lnTo>
                  <a:lnTo>
                    <a:pt x="111" y="165"/>
                  </a:lnTo>
                  <a:lnTo>
                    <a:pt x="118" y="155"/>
                  </a:lnTo>
                  <a:lnTo>
                    <a:pt x="118" y="155"/>
                  </a:lnTo>
                  <a:lnTo>
                    <a:pt x="125" y="152"/>
                  </a:lnTo>
                  <a:lnTo>
                    <a:pt x="125" y="145"/>
                  </a:lnTo>
                  <a:lnTo>
                    <a:pt x="128" y="131"/>
                  </a:lnTo>
                  <a:lnTo>
                    <a:pt x="125" y="121"/>
                  </a:lnTo>
                  <a:lnTo>
                    <a:pt x="125" y="121"/>
                  </a:lnTo>
                  <a:lnTo>
                    <a:pt x="128" y="115"/>
                  </a:lnTo>
                  <a:lnTo>
                    <a:pt x="128" y="115"/>
                  </a:lnTo>
                  <a:lnTo>
                    <a:pt x="131" y="118"/>
                  </a:lnTo>
                  <a:lnTo>
                    <a:pt x="131" y="115"/>
                  </a:lnTo>
                  <a:lnTo>
                    <a:pt x="135" y="111"/>
                  </a:lnTo>
                  <a:lnTo>
                    <a:pt x="135" y="111"/>
                  </a:lnTo>
                  <a:lnTo>
                    <a:pt x="141" y="115"/>
                  </a:lnTo>
                  <a:lnTo>
                    <a:pt x="148" y="118"/>
                  </a:lnTo>
                  <a:lnTo>
                    <a:pt x="148" y="118"/>
                  </a:lnTo>
                  <a:lnTo>
                    <a:pt x="155" y="118"/>
                  </a:lnTo>
                  <a:lnTo>
                    <a:pt x="162" y="111"/>
                  </a:lnTo>
                  <a:lnTo>
                    <a:pt x="162" y="111"/>
                  </a:lnTo>
                  <a:lnTo>
                    <a:pt x="162" y="108"/>
                  </a:lnTo>
                  <a:lnTo>
                    <a:pt x="162" y="105"/>
                  </a:lnTo>
                  <a:lnTo>
                    <a:pt x="162" y="105"/>
                  </a:lnTo>
                  <a:lnTo>
                    <a:pt x="165" y="105"/>
                  </a:lnTo>
                  <a:lnTo>
                    <a:pt x="172" y="101"/>
                  </a:lnTo>
                  <a:lnTo>
                    <a:pt x="172" y="101"/>
                  </a:lnTo>
                  <a:lnTo>
                    <a:pt x="175" y="98"/>
                  </a:lnTo>
                  <a:lnTo>
                    <a:pt x="175" y="91"/>
                  </a:lnTo>
                  <a:lnTo>
                    <a:pt x="175" y="91"/>
                  </a:lnTo>
                  <a:lnTo>
                    <a:pt x="175" y="88"/>
                  </a:lnTo>
                  <a:lnTo>
                    <a:pt x="172" y="84"/>
                  </a:lnTo>
                  <a:lnTo>
                    <a:pt x="168" y="81"/>
                  </a:lnTo>
                  <a:lnTo>
                    <a:pt x="168" y="81"/>
                  </a:lnTo>
                  <a:lnTo>
                    <a:pt x="168" y="81"/>
                  </a:lnTo>
                  <a:lnTo>
                    <a:pt x="168" y="74"/>
                  </a:lnTo>
                  <a:lnTo>
                    <a:pt x="172" y="68"/>
                  </a:lnTo>
                  <a:lnTo>
                    <a:pt x="178" y="68"/>
                  </a:lnTo>
                  <a:lnTo>
                    <a:pt x="178" y="68"/>
                  </a:lnTo>
                  <a:lnTo>
                    <a:pt x="185" y="68"/>
                  </a:lnTo>
                  <a:lnTo>
                    <a:pt x="188" y="64"/>
                  </a:lnTo>
                  <a:lnTo>
                    <a:pt x="188" y="57"/>
                  </a:lnTo>
                  <a:lnTo>
                    <a:pt x="188" y="57"/>
                  </a:lnTo>
                  <a:lnTo>
                    <a:pt x="192" y="44"/>
                  </a:lnTo>
                  <a:lnTo>
                    <a:pt x="195" y="31"/>
                  </a:lnTo>
                  <a:lnTo>
                    <a:pt x="195" y="31"/>
                  </a:lnTo>
                  <a:close/>
                  <a:moveTo>
                    <a:pt x="24" y="138"/>
                  </a:moveTo>
                  <a:lnTo>
                    <a:pt x="24" y="138"/>
                  </a:lnTo>
                  <a:lnTo>
                    <a:pt x="30" y="138"/>
                  </a:lnTo>
                  <a:lnTo>
                    <a:pt x="34" y="142"/>
                  </a:lnTo>
                  <a:lnTo>
                    <a:pt x="30" y="142"/>
                  </a:lnTo>
                  <a:lnTo>
                    <a:pt x="24" y="142"/>
                  </a:lnTo>
                  <a:lnTo>
                    <a:pt x="24" y="142"/>
                  </a:lnTo>
                  <a:lnTo>
                    <a:pt x="20" y="138"/>
                  </a:lnTo>
                  <a:lnTo>
                    <a:pt x="20" y="138"/>
                  </a:lnTo>
                  <a:lnTo>
                    <a:pt x="24" y="138"/>
                  </a:lnTo>
                  <a:lnTo>
                    <a:pt x="24" y="138"/>
                  </a:lnTo>
                  <a:close/>
                  <a:moveTo>
                    <a:pt x="108" y="27"/>
                  </a:moveTo>
                  <a:lnTo>
                    <a:pt x="108" y="31"/>
                  </a:lnTo>
                  <a:lnTo>
                    <a:pt x="108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08" y="37"/>
                  </a:lnTo>
                  <a:lnTo>
                    <a:pt x="108" y="37"/>
                  </a:lnTo>
                  <a:lnTo>
                    <a:pt x="108" y="51"/>
                  </a:lnTo>
                  <a:lnTo>
                    <a:pt x="108" y="51"/>
                  </a:lnTo>
                  <a:lnTo>
                    <a:pt x="118" y="51"/>
                  </a:lnTo>
                  <a:lnTo>
                    <a:pt x="118" y="54"/>
                  </a:lnTo>
                  <a:lnTo>
                    <a:pt x="118" y="54"/>
                  </a:lnTo>
                  <a:lnTo>
                    <a:pt x="121" y="57"/>
                  </a:lnTo>
                  <a:lnTo>
                    <a:pt x="125" y="61"/>
                  </a:lnTo>
                  <a:lnTo>
                    <a:pt x="138" y="64"/>
                  </a:lnTo>
                  <a:lnTo>
                    <a:pt x="138" y="64"/>
                  </a:lnTo>
                  <a:lnTo>
                    <a:pt x="135" y="68"/>
                  </a:lnTo>
                  <a:lnTo>
                    <a:pt x="135" y="68"/>
                  </a:lnTo>
                  <a:lnTo>
                    <a:pt x="128" y="64"/>
                  </a:lnTo>
                  <a:lnTo>
                    <a:pt x="128" y="64"/>
                  </a:lnTo>
                  <a:lnTo>
                    <a:pt x="121" y="64"/>
                  </a:lnTo>
                  <a:lnTo>
                    <a:pt x="121" y="64"/>
                  </a:lnTo>
                  <a:lnTo>
                    <a:pt x="121" y="64"/>
                  </a:lnTo>
                  <a:lnTo>
                    <a:pt x="118" y="74"/>
                  </a:lnTo>
                  <a:lnTo>
                    <a:pt x="114" y="84"/>
                  </a:lnTo>
                  <a:lnTo>
                    <a:pt x="108" y="88"/>
                  </a:lnTo>
                  <a:lnTo>
                    <a:pt x="94" y="84"/>
                  </a:lnTo>
                  <a:lnTo>
                    <a:pt x="94" y="84"/>
                  </a:lnTo>
                  <a:lnTo>
                    <a:pt x="88" y="78"/>
                  </a:lnTo>
                  <a:lnTo>
                    <a:pt x="88" y="78"/>
                  </a:lnTo>
                  <a:lnTo>
                    <a:pt x="91" y="57"/>
                  </a:lnTo>
                  <a:lnTo>
                    <a:pt x="91" y="57"/>
                  </a:lnTo>
                  <a:lnTo>
                    <a:pt x="98" y="57"/>
                  </a:lnTo>
                  <a:lnTo>
                    <a:pt x="101" y="54"/>
                  </a:lnTo>
                  <a:lnTo>
                    <a:pt x="101" y="54"/>
                  </a:lnTo>
                  <a:lnTo>
                    <a:pt x="98" y="51"/>
                  </a:lnTo>
                  <a:lnTo>
                    <a:pt x="94" y="51"/>
                  </a:lnTo>
                  <a:lnTo>
                    <a:pt x="94" y="51"/>
                  </a:lnTo>
                  <a:lnTo>
                    <a:pt x="98" y="34"/>
                  </a:lnTo>
                  <a:lnTo>
                    <a:pt x="108" y="27"/>
                  </a:lnTo>
                  <a:lnTo>
                    <a:pt x="108" y="27"/>
                  </a:lnTo>
                  <a:close/>
                  <a:moveTo>
                    <a:pt x="84" y="7"/>
                  </a:moveTo>
                  <a:lnTo>
                    <a:pt x="84" y="7"/>
                  </a:lnTo>
                  <a:lnTo>
                    <a:pt x="78" y="14"/>
                  </a:lnTo>
                  <a:lnTo>
                    <a:pt x="78" y="14"/>
                  </a:lnTo>
                  <a:lnTo>
                    <a:pt x="78" y="17"/>
                  </a:lnTo>
                  <a:lnTo>
                    <a:pt x="81" y="21"/>
                  </a:lnTo>
                  <a:lnTo>
                    <a:pt x="84" y="17"/>
                  </a:lnTo>
                  <a:lnTo>
                    <a:pt x="88" y="14"/>
                  </a:lnTo>
                  <a:lnTo>
                    <a:pt x="88" y="10"/>
                  </a:lnTo>
                  <a:lnTo>
                    <a:pt x="84" y="7"/>
                  </a:lnTo>
                  <a:lnTo>
                    <a:pt x="84" y="7"/>
                  </a:lnTo>
                  <a:close/>
                  <a:moveTo>
                    <a:pt x="138" y="7"/>
                  </a:moveTo>
                  <a:lnTo>
                    <a:pt x="141" y="10"/>
                  </a:lnTo>
                  <a:lnTo>
                    <a:pt x="141" y="10"/>
                  </a:lnTo>
                  <a:lnTo>
                    <a:pt x="145" y="10"/>
                  </a:lnTo>
                  <a:lnTo>
                    <a:pt x="145" y="10"/>
                  </a:lnTo>
                  <a:lnTo>
                    <a:pt x="148" y="7"/>
                  </a:lnTo>
                  <a:lnTo>
                    <a:pt x="148" y="7"/>
                  </a:lnTo>
                  <a:lnTo>
                    <a:pt x="138" y="7"/>
                  </a:lnTo>
                  <a:lnTo>
                    <a:pt x="138" y="7"/>
                  </a:lnTo>
                  <a:close/>
                  <a:moveTo>
                    <a:pt x="162" y="4"/>
                  </a:moveTo>
                  <a:lnTo>
                    <a:pt x="162" y="7"/>
                  </a:lnTo>
                  <a:lnTo>
                    <a:pt x="162" y="7"/>
                  </a:lnTo>
                  <a:lnTo>
                    <a:pt x="162" y="7"/>
                  </a:lnTo>
                  <a:lnTo>
                    <a:pt x="162" y="4"/>
                  </a:lnTo>
                  <a:lnTo>
                    <a:pt x="162" y="4"/>
                  </a:lnTo>
                  <a:close/>
                  <a:moveTo>
                    <a:pt x="91" y="4"/>
                  </a:moveTo>
                  <a:lnTo>
                    <a:pt x="91" y="4"/>
                  </a:lnTo>
                  <a:lnTo>
                    <a:pt x="88" y="7"/>
                  </a:lnTo>
                  <a:lnTo>
                    <a:pt x="91" y="7"/>
                  </a:lnTo>
                  <a:lnTo>
                    <a:pt x="94" y="7"/>
                  </a:lnTo>
                  <a:lnTo>
                    <a:pt x="94" y="7"/>
                  </a:lnTo>
                  <a:lnTo>
                    <a:pt x="98" y="7"/>
                  </a:lnTo>
                  <a:lnTo>
                    <a:pt x="98" y="4"/>
                  </a:lnTo>
                  <a:lnTo>
                    <a:pt x="91" y="4"/>
                  </a:lnTo>
                  <a:lnTo>
                    <a:pt x="91" y="4"/>
                  </a:lnTo>
                  <a:close/>
                  <a:moveTo>
                    <a:pt x="121" y="4"/>
                  </a:moveTo>
                  <a:lnTo>
                    <a:pt x="121" y="4"/>
                  </a:lnTo>
                  <a:lnTo>
                    <a:pt x="121" y="7"/>
                  </a:lnTo>
                  <a:lnTo>
                    <a:pt x="121" y="7"/>
                  </a:lnTo>
                  <a:lnTo>
                    <a:pt x="131" y="7"/>
                  </a:lnTo>
                  <a:lnTo>
                    <a:pt x="131" y="7"/>
                  </a:lnTo>
                  <a:lnTo>
                    <a:pt x="135" y="4"/>
                  </a:lnTo>
                  <a:lnTo>
                    <a:pt x="135" y="4"/>
                  </a:lnTo>
                  <a:lnTo>
                    <a:pt x="121" y="4"/>
                  </a:lnTo>
                  <a:lnTo>
                    <a:pt x="121" y="4"/>
                  </a:lnTo>
                  <a:close/>
                  <a:moveTo>
                    <a:pt x="175" y="0"/>
                  </a:moveTo>
                  <a:lnTo>
                    <a:pt x="175" y="0"/>
                  </a:lnTo>
                  <a:lnTo>
                    <a:pt x="175" y="0"/>
                  </a:lnTo>
                  <a:lnTo>
                    <a:pt x="175" y="0"/>
                  </a:lnTo>
                  <a:lnTo>
                    <a:pt x="172" y="4"/>
                  </a:lnTo>
                  <a:lnTo>
                    <a:pt x="172" y="4"/>
                  </a:lnTo>
                  <a:lnTo>
                    <a:pt x="172" y="7"/>
                  </a:lnTo>
                  <a:lnTo>
                    <a:pt x="175" y="7"/>
                  </a:lnTo>
                  <a:lnTo>
                    <a:pt x="175" y="7"/>
                  </a:lnTo>
                  <a:lnTo>
                    <a:pt x="178" y="4"/>
                  </a:lnTo>
                  <a:lnTo>
                    <a:pt x="178" y="0"/>
                  </a:lnTo>
                  <a:lnTo>
                    <a:pt x="175" y="0"/>
                  </a:lnTo>
                  <a:lnTo>
                    <a:pt x="175" y="0"/>
                  </a:lnTo>
                  <a:close/>
                  <a:moveTo>
                    <a:pt x="101" y="0"/>
                  </a:moveTo>
                  <a:lnTo>
                    <a:pt x="101" y="0"/>
                  </a:lnTo>
                  <a:lnTo>
                    <a:pt x="101" y="4"/>
                  </a:lnTo>
                  <a:lnTo>
                    <a:pt x="101" y="4"/>
                  </a:lnTo>
                  <a:lnTo>
                    <a:pt x="114" y="4"/>
                  </a:lnTo>
                  <a:lnTo>
                    <a:pt x="114" y="4"/>
                  </a:lnTo>
                  <a:lnTo>
                    <a:pt x="111" y="0"/>
                  </a:lnTo>
                  <a:lnTo>
                    <a:pt x="111" y="0"/>
                  </a:lnTo>
                  <a:lnTo>
                    <a:pt x="101" y="0"/>
                  </a:lnTo>
                  <a:lnTo>
                    <a:pt x="101" y="0"/>
                  </a:lnTo>
                  <a:close/>
                </a:path>
              </a:pathLst>
            </a:custGeom>
            <a:solidFill>
              <a:srgbClr val="C0C0C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EYInterstate" pitchFamily="2" charset="0"/>
                <a:cs typeface="Arial" charset="0"/>
              </a:endParaRPr>
            </a:p>
          </p:txBody>
        </p:sp>
        <p:sp>
          <p:nvSpPr>
            <p:cNvPr id="29" name="Freeform 43"/>
            <p:cNvSpPr>
              <a:spLocks/>
            </p:cNvSpPr>
            <p:nvPr/>
          </p:nvSpPr>
          <p:spPr bwMode="auto">
            <a:xfrm>
              <a:off x="2674" y="3025"/>
              <a:ext cx="10" cy="10"/>
            </a:xfrm>
            <a:custGeom>
              <a:avLst/>
              <a:gdLst/>
              <a:ahLst/>
              <a:cxnLst>
                <a:cxn ang="0">
                  <a:pos x="4" y="10"/>
                </a:cxn>
                <a:cxn ang="0">
                  <a:pos x="7" y="7"/>
                </a:cxn>
                <a:cxn ang="0">
                  <a:pos x="7" y="7"/>
                </a:cxn>
                <a:cxn ang="0">
                  <a:pos x="10" y="7"/>
                </a:cxn>
                <a:cxn ang="0">
                  <a:pos x="7" y="0"/>
                </a:cxn>
                <a:cxn ang="0">
                  <a:pos x="0" y="0"/>
                </a:cxn>
                <a:cxn ang="0">
                  <a:pos x="4" y="10"/>
                </a:cxn>
                <a:cxn ang="0">
                  <a:pos x="4" y="10"/>
                </a:cxn>
              </a:cxnLst>
              <a:rect l="0" t="0" r="r" b="b"/>
              <a:pathLst>
                <a:path w="10" h="10">
                  <a:moveTo>
                    <a:pt x="4" y="10"/>
                  </a:moveTo>
                  <a:lnTo>
                    <a:pt x="7" y="7"/>
                  </a:lnTo>
                  <a:lnTo>
                    <a:pt x="7" y="7"/>
                  </a:lnTo>
                  <a:lnTo>
                    <a:pt x="10" y="7"/>
                  </a:lnTo>
                  <a:lnTo>
                    <a:pt x="7" y="0"/>
                  </a:lnTo>
                  <a:lnTo>
                    <a:pt x="0" y="0"/>
                  </a:lnTo>
                  <a:lnTo>
                    <a:pt x="4" y="10"/>
                  </a:lnTo>
                  <a:lnTo>
                    <a:pt x="4" y="10"/>
                  </a:lnTo>
                  <a:close/>
                </a:path>
              </a:pathLst>
            </a:custGeom>
            <a:solidFill>
              <a:srgbClr val="C0C0C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EYInterstate" pitchFamily="2" charset="0"/>
                <a:cs typeface="Arial" charset="0"/>
              </a:endParaRPr>
            </a:p>
          </p:txBody>
        </p:sp>
        <p:sp>
          <p:nvSpPr>
            <p:cNvPr id="30" name="Freeform 44"/>
            <p:cNvSpPr>
              <a:spLocks/>
            </p:cNvSpPr>
            <p:nvPr/>
          </p:nvSpPr>
          <p:spPr bwMode="auto">
            <a:xfrm>
              <a:off x="3683" y="2720"/>
              <a:ext cx="178" cy="201"/>
            </a:xfrm>
            <a:custGeom>
              <a:avLst/>
              <a:gdLst/>
              <a:ahLst/>
              <a:cxnLst>
                <a:cxn ang="0">
                  <a:pos x="84" y="202"/>
                </a:cxn>
                <a:cxn ang="0">
                  <a:pos x="91" y="198"/>
                </a:cxn>
                <a:cxn ang="0">
                  <a:pos x="88" y="178"/>
                </a:cxn>
                <a:cxn ang="0">
                  <a:pos x="88" y="158"/>
                </a:cxn>
                <a:cxn ang="0">
                  <a:pos x="84" y="138"/>
                </a:cxn>
                <a:cxn ang="0">
                  <a:pos x="81" y="125"/>
                </a:cxn>
                <a:cxn ang="0">
                  <a:pos x="68" y="101"/>
                </a:cxn>
                <a:cxn ang="0">
                  <a:pos x="47" y="91"/>
                </a:cxn>
                <a:cxn ang="0">
                  <a:pos x="34" y="67"/>
                </a:cxn>
                <a:cxn ang="0">
                  <a:pos x="27" y="54"/>
                </a:cxn>
                <a:cxn ang="0">
                  <a:pos x="21" y="44"/>
                </a:cxn>
                <a:cxn ang="0">
                  <a:pos x="14" y="30"/>
                </a:cxn>
                <a:cxn ang="0">
                  <a:pos x="7" y="17"/>
                </a:cxn>
                <a:cxn ang="0">
                  <a:pos x="0" y="10"/>
                </a:cxn>
                <a:cxn ang="0">
                  <a:pos x="14" y="7"/>
                </a:cxn>
                <a:cxn ang="0">
                  <a:pos x="34" y="4"/>
                </a:cxn>
                <a:cxn ang="0">
                  <a:pos x="47" y="0"/>
                </a:cxn>
                <a:cxn ang="0">
                  <a:pos x="61" y="10"/>
                </a:cxn>
                <a:cxn ang="0">
                  <a:pos x="74" y="10"/>
                </a:cxn>
                <a:cxn ang="0">
                  <a:pos x="84" y="20"/>
                </a:cxn>
                <a:cxn ang="0">
                  <a:pos x="94" y="20"/>
                </a:cxn>
                <a:cxn ang="0">
                  <a:pos x="105" y="30"/>
                </a:cxn>
                <a:cxn ang="0">
                  <a:pos x="118" y="34"/>
                </a:cxn>
                <a:cxn ang="0">
                  <a:pos x="121" y="34"/>
                </a:cxn>
                <a:cxn ang="0">
                  <a:pos x="125" y="51"/>
                </a:cxn>
                <a:cxn ang="0">
                  <a:pos x="128" y="67"/>
                </a:cxn>
                <a:cxn ang="0">
                  <a:pos x="131" y="71"/>
                </a:cxn>
                <a:cxn ang="0">
                  <a:pos x="148" y="67"/>
                </a:cxn>
                <a:cxn ang="0">
                  <a:pos x="145" y="74"/>
                </a:cxn>
                <a:cxn ang="0">
                  <a:pos x="148" y="88"/>
                </a:cxn>
                <a:cxn ang="0">
                  <a:pos x="155" y="98"/>
                </a:cxn>
                <a:cxn ang="0">
                  <a:pos x="155" y="108"/>
                </a:cxn>
                <a:cxn ang="0">
                  <a:pos x="165" y="125"/>
                </a:cxn>
                <a:cxn ang="0">
                  <a:pos x="178" y="135"/>
                </a:cxn>
                <a:cxn ang="0">
                  <a:pos x="178" y="141"/>
                </a:cxn>
                <a:cxn ang="0">
                  <a:pos x="162" y="141"/>
                </a:cxn>
                <a:cxn ang="0">
                  <a:pos x="155" y="145"/>
                </a:cxn>
                <a:cxn ang="0">
                  <a:pos x="152" y="141"/>
                </a:cxn>
                <a:cxn ang="0">
                  <a:pos x="145" y="138"/>
                </a:cxn>
                <a:cxn ang="0">
                  <a:pos x="138" y="138"/>
                </a:cxn>
                <a:cxn ang="0">
                  <a:pos x="131" y="138"/>
                </a:cxn>
                <a:cxn ang="0">
                  <a:pos x="128" y="145"/>
                </a:cxn>
                <a:cxn ang="0">
                  <a:pos x="125" y="158"/>
                </a:cxn>
                <a:cxn ang="0">
                  <a:pos x="111" y="165"/>
                </a:cxn>
                <a:cxn ang="0">
                  <a:pos x="111" y="175"/>
                </a:cxn>
                <a:cxn ang="0">
                  <a:pos x="108" y="185"/>
                </a:cxn>
                <a:cxn ang="0">
                  <a:pos x="108" y="212"/>
                </a:cxn>
                <a:cxn ang="0">
                  <a:pos x="98" y="212"/>
                </a:cxn>
                <a:cxn ang="0">
                  <a:pos x="88" y="215"/>
                </a:cxn>
              </a:cxnLst>
              <a:rect l="0" t="0" r="r" b="b"/>
              <a:pathLst>
                <a:path w="178" h="215">
                  <a:moveTo>
                    <a:pt x="88" y="215"/>
                  </a:moveTo>
                  <a:lnTo>
                    <a:pt x="88" y="215"/>
                  </a:lnTo>
                  <a:lnTo>
                    <a:pt x="84" y="202"/>
                  </a:lnTo>
                  <a:lnTo>
                    <a:pt x="84" y="202"/>
                  </a:lnTo>
                  <a:lnTo>
                    <a:pt x="88" y="202"/>
                  </a:lnTo>
                  <a:lnTo>
                    <a:pt x="88" y="202"/>
                  </a:lnTo>
                  <a:lnTo>
                    <a:pt x="91" y="198"/>
                  </a:lnTo>
                  <a:lnTo>
                    <a:pt x="91" y="198"/>
                  </a:lnTo>
                  <a:lnTo>
                    <a:pt x="88" y="195"/>
                  </a:lnTo>
                  <a:lnTo>
                    <a:pt x="88" y="185"/>
                  </a:lnTo>
                  <a:lnTo>
                    <a:pt x="88" y="185"/>
                  </a:lnTo>
                  <a:lnTo>
                    <a:pt x="88" y="178"/>
                  </a:lnTo>
                  <a:lnTo>
                    <a:pt x="88" y="172"/>
                  </a:lnTo>
                  <a:lnTo>
                    <a:pt x="88" y="172"/>
                  </a:lnTo>
                  <a:lnTo>
                    <a:pt x="88" y="165"/>
                  </a:lnTo>
                  <a:lnTo>
                    <a:pt x="88" y="158"/>
                  </a:lnTo>
                  <a:lnTo>
                    <a:pt x="88" y="158"/>
                  </a:lnTo>
                  <a:lnTo>
                    <a:pt x="88" y="148"/>
                  </a:lnTo>
                  <a:lnTo>
                    <a:pt x="88" y="148"/>
                  </a:lnTo>
                  <a:lnTo>
                    <a:pt x="84" y="138"/>
                  </a:lnTo>
                  <a:lnTo>
                    <a:pt x="84" y="138"/>
                  </a:lnTo>
                  <a:lnTo>
                    <a:pt x="81" y="131"/>
                  </a:lnTo>
                  <a:lnTo>
                    <a:pt x="81" y="125"/>
                  </a:lnTo>
                  <a:lnTo>
                    <a:pt x="81" y="125"/>
                  </a:lnTo>
                  <a:lnTo>
                    <a:pt x="78" y="111"/>
                  </a:lnTo>
                  <a:lnTo>
                    <a:pt x="78" y="111"/>
                  </a:lnTo>
                  <a:lnTo>
                    <a:pt x="74" y="108"/>
                  </a:lnTo>
                  <a:lnTo>
                    <a:pt x="68" y="101"/>
                  </a:lnTo>
                  <a:lnTo>
                    <a:pt x="68" y="101"/>
                  </a:lnTo>
                  <a:lnTo>
                    <a:pt x="54" y="94"/>
                  </a:lnTo>
                  <a:lnTo>
                    <a:pt x="54" y="94"/>
                  </a:lnTo>
                  <a:lnTo>
                    <a:pt x="47" y="91"/>
                  </a:lnTo>
                  <a:lnTo>
                    <a:pt x="41" y="84"/>
                  </a:lnTo>
                  <a:lnTo>
                    <a:pt x="41" y="84"/>
                  </a:lnTo>
                  <a:lnTo>
                    <a:pt x="37" y="77"/>
                  </a:lnTo>
                  <a:lnTo>
                    <a:pt x="34" y="67"/>
                  </a:lnTo>
                  <a:lnTo>
                    <a:pt x="34" y="67"/>
                  </a:lnTo>
                  <a:lnTo>
                    <a:pt x="27" y="64"/>
                  </a:lnTo>
                  <a:lnTo>
                    <a:pt x="27" y="61"/>
                  </a:lnTo>
                  <a:lnTo>
                    <a:pt x="27" y="54"/>
                  </a:lnTo>
                  <a:lnTo>
                    <a:pt x="27" y="54"/>
                  </a:lnTo>
                  <a:lnTo>
                    <a:pt x="24" y="51"/>
                  </a:lnTo>
                  <a:lnTo>
                    <a:pt x="24" y="47"/>
                  </a:lnTo>
                  <a:lnTo>
                    <a:pt x="21" y="44"/>
                  </a:lnTo>
                  <a:lnTo>
                    <a:pt x="21" y="41"/>
                  </a:lnTo>
                  <a:lnTo>
                    <a:pt x="21" y="41"/>
                  </a:lnTo>
                  <a:lnTo>
                    <a:pt x="17" y="34"/>
                  </a:lnTo>
                  <a:lnTo>
                    <a:pt x="14" y="30"/>
                  </a:lnTo>
                  <a:lnTo>
                    <a:pt x="10" y="27"/>
                  </a:lnTo>
                  <a:lnTo>
                    <a:pt x="7" y="24"/>
                  </a:lnTo>
                  <a:lnTo>
                    <a:pt x="7" y="24"/>
                  </a:lnTo>
                  <a:lnTo>
                    <a:pt x="7" y="17"/>
                  </a:lnTo>
                  <a:lnTo>
                    <a:pt x="4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7" y="10"/>
                  </a:lnTo>
                  <a:lnTo>
                    <a:pt x="7" y="10"/>
                  </a:lnTo>
                  <a:lnTo>
                    <a:pt x="14" y="7"/>
                  </a:lnTo>
                  <a:lnTo>
                    <a:pt x="21" y="7"/>
                  </a:lnTo>
                  <a:lnTo>
                    <a:pt x="31" y="7"/>
                  </a:lnTo>
                  <a:lnTo>
                    <a:pt x="31" y="7"/>
                  </a:lnTo>
                  <a:lnTo>
                    <a:pt x="34" y="4"/>
                  </a:lnTo>
                  <a:lnTo>
                    <a:pt x="37" y="0"/>
                  </a:lnTo>
                  <a:lnTo>
                    <a:pt x="37" y="0"/>
                  </a:lnTo>
                  <a:lnTo>
                    <a:pt x="47" y="0"/>
                  </a:lnTo>
                  <a:lnTo>
                    <a:pt x="47" y="0"/>
                  </a:lnTo>
                  <a:lnTo>
                    <a:pt x="51" y="4"/>
                  </a:lnTo>
                  <a:lnTo>
                    <a:pt x="54" y="7"/>
                  </a:lnTo>
                  <a:lnTo>
                    <a:pt x="54" y="7"/>
                  </a:lnTo>
                  <a:lnTo>
                    <a:pt x="61" y="10"/>
                  </a:lnTo>
                  <a:lnTo>
                    <a:pt x="61" y="10"/>
                  </a:lnTo>
                  <a:lnTo>
                    <a:pt x="68" y="10"/>
                  </a:lnTo>
                  <a:lnTo>
                    <a:pt x="71" y="7"/>
                  </a:lnTo>
                  <a:lnTo>
                    <a:pt x="74" y="10"/>
                  </a:lnTo>
                  <a:lnTo>
                    <a:pt x="74" y="10"/>
                  </a:lnTo>
                  <a:lnTo>
                    <a:pt x="74" y="14"/>
                  </a:lnTo>
                  <a:lnTo>
                    <a:pt x="78" y="17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8" y="20"/>
                  </a:lnTo>
                  <a:lnTo>
                    <a:pt x="94" y="20"/>
                  </a:lnTo>
                  <a:lnTo>
                    <a:pt x="94" y="20"/>
                  </a:lnTo>
                  <a:lnTo>
                    <a:pt x="101" y="24"/>
                  </a:lnTo>
                  <a:lnTo>
                    <a:pt x="101" y="24"/>
                  </a:lnTo>
                  <a:lnTo>
                    <a:pt x="105" y="27"/>
                  </a:lnTo>
                  <a:lnTo>
                    <a:pt x="105" y="30"/>
                  </a:lnTo>
                  <a:lnTo>
                    <a:pt x="105" y="30"/>
                  </a:lnTo>
                  <a:lnTo>
                    <a:pt x="115" y="34"/>
                  </a:lnTo>
                  <a:lnTo>
                    <a:pt x="115" y="34"/>
                  </a:lnTo>
                  <a:lnTo>
                    <a:pt x="118" y="34"/>
                  </a:lnTo>
                  <a:lnTo>
                    <a:pt x="118" y="34"/>
                  </a:lnTo>
                  <a:lnTo>
                    <a:pt x="121" y="34"/>
                  </a:lnTo>
                  <a:lnTo>
                    <a:pt x="121" y="34"/>
                  </a:lnTo>
                  <a:lnTo>
                    <a:pt x="121" y="34"/>
                  </a:lnTo>
                  <a:lnTo>
                    <a:pt x="125" y="37"/>
                  </a:lnTo>
                  <a:lnTo>
                    <a:pt x="125" y="41"/>
                  </a:lnTo>
                  <a:lnTo>
                    <a:pt x="125" y="44"/>
                  </a:lnTo>
                  <a:lnTo>
                    <a:pt x="125" y="51"/>
                  </a:lnTo>
                  <a:lnTo>
                    <a:pt x="125" y="51"/>
                  </a:lnTo>
                  <a:lnTo>
                    <a:pt x="125" y="64"/>
                  </a:lnTo>
                  <a:lnTo>
                    <a:pt x="125" y="64"/>
                  </a:lnTo>
                  <a:lnTo>
                    <a:pt x="128" y="67"/>
                  </a:lnTo>
                  <a:lnTo>
                    <a:pt x="131" y="67"/>
                  </a:lnTo>
                  <a:lnTo>
                    <a:pt x="131" y="67"/>
                  </a:lnTo>
                  <a:lnTo>
                    <a:pt x="131" y="71"/>
                  </a:lnTo>
                  <a:lnTo>
                    <a:pt x="131" y="71"/>
                  </a:lnTo>
                  <a:lnTo>
                    <a:pt x="142" y="71"/>
                  </a:lnTo>
                  <a:lnTo>
                    <a:pt x="145" y="67"/>
                  </a:lnTo>
                  <a:lnTo>
                    <a:pt x="145" y="67"/>
                  </a:lnTo>
                  <a:lnTo>
                    <a:pt x="148" y="67"/>
                  </a:lnTo>
                  <a:lnTo>
                    <a:pt x="148" y="74"/>
                  </a:lnTo>
                  <a:lnTo>
                    <a:pt x="148" y="74"/>
                  </a:lnTo>
                  <a:lnTo>
                    <a:pt x="145" y="74"/>
                  </a:lnTo>
                  <a:lnTo>
                    <a:pt x="145" y="74"/>
                  </a:lnTo>
                  <a:lnTo>
                    <a:pt x="145" y="81"/>
                  </a:lnTo>
                  <a:lnTo>
                    <a:pt x="145" y="81"/>
                  </a:lnTo>
                  <a:lnTo>
                    <a:pt x="148" y="88"/>
                  </a:lnTo>
                  <a:lnTo>
                    <a:pt x="148" y="88"/>
                  </a:lnTo>
                  <a:lnTo>
                    <a:pt x="148" y="91"/>
                  </a:lnTo>
                  <a:lnTo>
                    <a:pt x="148" y="91"/>
                  </a:lnTo>
                  <a:lnTo>
                    <a:pt x="152" y="94"/>
                  </a:lnTo>
                  <a:lnTo>
                    <a:pt x="155" y="98"/>
                  </a:lnTo>
                  <a:lnTo>
                    <a:pt x="155" y="98"/>
                  </a:lnTo>
                  <a:lnTo>
                    <a:pt x="155" y="101"/>
                  </a:lnTo>
                  <a:lnTo>
                    <a:pt x="155" y="108"/>
                  </a:lnTo>
                  <a:lnTo>
                    <a:pt x="155" y="108"/>
                  </a:lnTo>
                  <a:lnTo>
                    <a:pt x="162" y="114"/>
                  </a:lnTo>
                  <a:lnTo>
                    <a:pt x="162" y="114"/>
                  </a:lnTo>
                  <a:lnTo>
                    <a:pt x="162" y="118"/>
                  </a:lnTo>
                  <a:lnTo>
                    <a:pt x="165" y="125"/>
                  </a:lnTo>
                  <a:lnTo>
                    <a:pt x="165" y="125"/>
                  </a:lnTo>
                  <a:lnTo>
                    <a:pt x="168" y="128"/>
                  </a:lnTo>
                  <a:lnTo>
                    <a:pt x="168" y="128"/>
                  </a:lnTo>
                  <a:lnTo>
                    <a:pt x="178" y="135"/>
                  </a:lnTo>
                  <a:lnTo>
                    <a:pt x="178" y="135"/>
                  </a:lnTo>
                  <a:lnTo>
                    <a:pt x="178" y="138"/>
                  </a:lnTo>
                  <a:lnTo>
                    <a:pt x="178" y="138"/>
                  </a:lnTo>
                  <a:lnTo>
                    <a:pt x="178" y="141"/>
                  </a:lnTo>
                  <a:lnTo>
                    <a:pt x="175" y="138"/>
                  </a:lnTo>
                  <a:lnTo>
                    <a:pt x="168" y="138"/>
                  </a:lnTo>
                  <a:lnTo>
                    <a:pt x="168" y="138"/>
                  </a:lnTo>
                  <a:lnTo>
                    <a:pt x="162" y="141"/>
                  </a:lnTo>
                  <a:lnTo>
                    <a:pt x="162" y="141"/>
                  </a:lnTo>
                  <a:lnTo>
                    <a:pt x="158" y="145"/>
                  </a:lnTo>
                  <a:lnTo>
                    <a:pt x="155" y="145"/>
                  </a:lnTo>
                  <a:lnTo>
                    <a:pt x="155" y="145"/>
                  </a:lnTo>
                  <a:lnTo>
                    <a:pt x="155" y="141"/>
                  </a:lnTo>
                  <a:lnTo>
                    <a:pt x="155" y="138"/>
                  </a:lnTo>
                  <a:lnTo>
                    <a:pt x="155" y="138"/>
                  </a:lnTo>
                  <a:lnTo>
                    <a:pt x="152" y="141"/>
                  </a:lnTo>
                  <a:lnTo>
                    <a:pt x="152" y="141"/>
                  </a:lnTo>
                  <a:lnTo>
                    <a:pt x="148" y="141"/>
                  </a:lnTo>
                  <a:lnTo>
                    <a:pt x="145" y="138"/>
                  </a:lnTo>
                  <a:lnTo>
                    <a:pt x="145" y="138"/>
                  </a:lnTo>
                  <a:lnTo>
                    <a:pt x="142" y="135"/>
                  </a:lnTo>
                  <a:lnTo>
                    <a:pt x="138" y="135"/>
                  </a:lnTo>
                  <a:lnTo>
                    <a:pt x="138" y="135"/>
                  </a:lnTo>
                  <a:lnTo>
                    <a:pt x="138" y="138"/>
                  </a:lnTo>
                  <a:lnTo>
                    <a:pt x="138" y="138"/>
                  </a:lnTo>
                  <a:lnTo>
                    <a:pt x="138" y="138"/>
                  </a:lnTo>
                  <a:lnTo>
                    <a:pt x="135" y="138"/>
                  </a:lnTo>
                  <a:lnTo>
                    <a:pt x="131" y="138"/>
                  </a:lnTo>
                  <a:lnTo>
                    <a:pt x="131" y="138"/>
                  </a:lnTo>
                  <a:lnTo>
                    <a:pt x="128" y="141"/>
                  </a:lnTo>
                  <a:lnTo>
                    <a:pt x="128" y="141"/>
                  </a:lnTo>
                  <a:lnTo>
                    <a:pt x="128" y="145"/>
                  </a:lnTo>
                  <a:lnTo>
                    <a:pt x="128" y="148"/>
                  </a:lnTo>
                  <a:lnTo>
                    <a:pt x="128" y="148"/>
                  </a:lnTo>
                  <a:lnTo>
                    <a:pt x="125" y="158"/>
                  </a:lnTo>
                  <a:lnTo>
                    <a:pt x="125" y="158"/>
                  </a:lnTo>
                  <a:lnTo>
                    <a:pt x="118" y="162"/>
                  </a:lnTo>
                  <a:lnTo>
                    <a:pt x="118" y="162"/>
                  </a:lnTo>
                  <a:lnTo>
                    <a:pt x="115" y="162"/>
                  </a:lnTo>
                  <a:lnTo>
                    <a:pt x="111" y="165"/>
                  </a:lnTo>
                  <a:lnTo>
                    <a:pt x="111" y="165"/>
                  </a:lnTo>
                  <a:lnTo>
                    <a:pt x="115" y="172"/>
                  </a:lnTo>
                  <a:lnTo>
                    <a:pt x="115" y="172"/>
                  </a:lnTo>
                  <a:lnTo>
                    <a:pt x="111" y="175"/>
                  </a:lnTo>
                  <a:lnTo>
                    <a:pt x="108" y="178"/>
                  </a:lnTo>
                  <a:lnTo>
                    <a:pt x="108" y="178"/>
                  </a:lnTo>
                  <a:lnTo>
                    <a:pt x="108" y="185"/>
                  </a:lnTo>
                  <a:lnTo>
                    <a:pt x="108" y="185"/>
                  </a:lnTo>
                  <a:lnTo>
                    <a:pt x="105" y="192"/>
                  </a:lnTo>
                  <a:lnTo>
                    <a:pt x="105" y="192"/>
                  </a:lnTo>
                  <a:lnTo>
                    <a:pt x="105" y="205"/>
                  </a:lnTo>
                  <a:lnTo>
                    <a:pt x="108" y="212"/>
                  </a:lnTo>
                  <a:lnTo>
                    <a:pt x="108" y="212"/>
                  </a:lnTo>
                  <a:lnTo>
                    <a:pt x="105" y="212"/>
                  </a:lnTo>
                  <a:lnTo>
                    <a:pt x="98" y="212"/>
                  </a:lnTo>
                  <a:lnTo>
                    <a:pt x="98" y="212"/>
                  </a:lnTo>
                  <a:lnTo>
                    <a:pt x="91" y="215"/>
                  </a:lnTo>
                  <a:lnTo>
                    <a:pt x="91" y="215"/>
                  </a:lnTo>
                  <a:lnTo>
                    <a:pt x="88" y="215"/>
                  </a:lnTo>
                  <a:lnTo>
                    <a:pt x="88" y="215"/>
                  </a:lnTo>
                  <a:close/>
                </a:path>
              </a:pathLst>
            </a:custGeom>
            <a:solidFill>
              <a:srgbClr val="C0C0C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EYInterstate" pitchFamily="2" charset="0"/>
                <a:cs typeface="Arial" charset="0"/>
              </a:endParaRPr>
            </a:p>
          </p:txBody>
        </p:sp>
        <p:sp>
          <p:nvSpPr>
            <p:cNvPr id="31" name="Freeform 45"/>
            <p:cNvSpPr>
              <a:spLocks/>
            </p:cNvSpPr>
            <p:nvPr/>
          </p:nvSpPr>
          <p:spPr bwMode="auto">
            <a:xfrm>
              <a:off x="3381" y="3167"/>
              <a:ext cx="155" cy="107"/>
            </a:xfrm>
            <a:custGeom>
              <a:avLst/>
              <a:gdLst/>
              <a:ahLst/>
              <a:cxnLst>
                <a:cxn ang="0">
                  <a:pos x="144" y="74"/>
                </a:cxn>
                <a:cxn ang="0">
                  <a:pos x="141" y="74"/>
                </a:cxn>
                <a:cxn ang="0">
                  <a:pos x="141" y="81"/>
                </a:cxn>
                <a:cxn ang="0">
                  <a:pos x="138" y="88"/>
                </a:cxn>
                <a:cxn ang="0">
                  <a:pos x="131" y="88"/>
                </a:cxn>
                <a:cxn ang="0">
                  <a:pos x="131" y="91"/>
                </a:cxn>
                <a:cxn ang="0">
                  <a:pos x="121" y="91"/>
                </a:cxn>
                <a:cxn ang="0">
                  <a:pos x="114" y="88"/>
                </a:cxn>
                <a:cxn ang="0">
                  <a:pos x="104" y="88"/>
                </a:cxn>
                <a:cxn ang="0">
                  <a:pos x="97" y="91"/>
                </a:cxn>
                <a:cxn ang="0">
                  <a:pos x="94" y="91"/>
                </a:cxn>
                <a:cxn ang="0">
                  <a:pos x="87" y="95"/>
                </a:cxn>
                <a:cxn ang="0">
                  <a:pos x="87" y="98"/>
                </a:cxn>
                <a:cxn ang="0">
                  <a:pos x="81" y="105"/>
                </a:cxn>
                <a:cxn ang="0">
                  <a:pos x="77" y="108"/>
                </a:cxn>
                <a:cxn ang="0">
                  <a:pos x="70" y="108"/>
                </a:cxn>
                <a:cxn ang="0">
                  <a:pos x="67" y="111"/>
                </a:cxn>
                <a:cxn ang="0">
                  <a:pos x="50" y="111"/>
                </a:cxn>
                <a:cxn ang="0">
                  <a:pos x="47" y="111"/>
                </a:cxn>
                <a:cxn ang="0">
                  <a:pos x="44" y="115"/>
                </a:cxn>
                <a:cxn ang="0">
                  <a:pos x="37" y="115"/>
                </a:cxn>
                <a:cxn ang="0">
                  <a:pos x="27" y="111"/>
                </a:cxn>
                <a:cxn ang="0">
                  <a:pos x="20" y="111"/>
                </a:cxn>
                <a:cxn ang="0">
                  <a:pos x="17" y="108"/>
                </a:cxn>
                <a:cxn ang="0">
                  <a:pos x="3" y="98"/>
                </a:cxn>
                <a:cxn ang="0">
                  <a:pos x="3" y="91"/>
                </a:cxn>
                <a:cxn ang="0">
                  <a:pos x="0" y="81"/>
                </a:cxn>
                <a:cxn ang="0">
                  <a:pos x="3" y="81"/>
                </a:cxn>
                <a:cxn ang="0">
                  <a:pos x="3" y="71"/>
                </a:cxn>
                <a:cxn ang="0">
                  <a:pos x="0" y="61"/>
                </a:cxn>
                <a:cxn ang="0">
                  <a:pos x="7" y="41"/>
                </a:cxn>
                <a:cxn ang="0">
                  <a:pos x="17" y="41"/>
                </a:cxn>
                <a:cxn ang="0">
                  <a:pos x="20" y="31"/>
                </a:cxn>
                <a:cxn ang="0">
                  <a:pos x="23" y="24"/>
                </a:cxn>
                <a:cxn ang="0">
                  <a:pos x="27" y="14"/>
                </a:cxn>
                <a:cxn ang="0">
                  <a:pos x="30" y="10"/>
                </a:cxn>
                <a:cxn ang="0">
                  <a:pos x="37" y="10"/>
                </a:cxn>
                <a:cxn ang="0">
                  <a:pos x="40" y="14"/>
                </a:cxn>
                <a:cxn ang="0">
                  <a:pos x="44" y="14"/>
                </a:cxn>
                <a:cxn ang="0">
                  <a:pos x="50" y="4"/>
                </a:cxn>
                <a:cxn ang="0">
                  <a:pos x="57" y="7"/>
                </a:cxn>
                <a:cxn ang="0">
                  <a:pos x="74" y="7"/>
                </a:cxn>
                <a:cxn ang="0">
                  <a:pos x="77" y="4"/>
                </a:cxn>
                <a:cxn ang="0">
                  <a:pos x="84" y="0"/>
                </a:cxn>
                <a:cxn ang="0">
                  <a:pos x="91" y="4"/>
                </a:cxn>
                <a:cxn ang="0">
                  <a:pos x="107" y="0"/>
                </a:cxn>
                <a:cxn ang="0">
                  <a:pos x="114" y="0"/>
                </a:cxn>
                <a:cxn ang="0">
                  <a:pos x="118" y="7"/>
                </a:cxn>
                <a:cxn ang="0">
                  <a:pos x="131" y="17"/>
                </a:cxn>
                <a:cxn ang="0">
                  <a:pos x="134" y="21"/>
                </a:cxn>
                <a:cxn ang="0">
                  <a:pos x="144" y="24"/>
                </a:cxn>
                <a:cxn ang="0">
                  <a:pos x="144" y="27"/>
                </a:cxn>
                <a:cxn ang="0">
                  <a:pos x="148" y="34"/>
                </a:cxn>
                <a:cxn ang="0">
                  <a:pos x="148" y="37"/>
                </a:cxn>
                <a:cxn ang="0">
                  <a:pos x="151" y="44"/>
                </a:cxn>
                <a:cxn ang="0">
                  <a:pos x="151" y="47"/>
                </a:cxn>
                <a:cxn ang="0">
                  <a:pos x="151" y="51"/>
                </a:cxn>
                <a:cxn ang="0">
                  <a:pos x="151" y="61"/>
                </a:cxn>
                <a:cxn ang="0">
                  <a:pos x="151" y="68"/>
                </a:cxn>
              </a:cxnLst>
              <a:rect l="0" t="0" r="r" b="b"/>
              <a:pathLst>
                <a:path w="154" h="115">
                  <a:moveTo>
                    <a:pt x="154" y="74"/>
                  </a:moveTo>
                  <a:lnTo>
                    <a:pt x="154" y="74"/>
                  </a:lnTo>
                  <a:lnTo>
                    <a:pt x="144" y="74"/>
                  </a:lnTo>
                  <a:lnTo>
                    <a:pt x="144" y="74"/>
                  </a:lnTo>
                  <a:lnTo>
                    <a:pt x="141" y="74"/>
                  </a:lnTo>
                  <a:lnTo>
                    <a:pt x="141" y="74"/>
                  </a:lnTo>
                  <a:lnTo>
                    <a:pt x="138" y="78"/>
                  </a:lnTo>
                  <a:lnTo>
                    <a:pt x="141" y="81"/>
                  </a:lnTo>
                  <a:lnTo>
                    <a:pt x="141" y="81"/>
                  </a:lnTo>
                  <a:lnTo>
                    <a:pt x="138" y="88"/>
                  </a:lnTo>
                  <a:lnTo>
                    <a:pt x="138" y="88"/>
                  </a:lnTo>
                  <a:lnTo>
                    <a:pt x="138" y="88"/>
                  </a:lnTo>
                  <a:lnTo>
                    <a:pt x="138" y="88"/>
                  </a:lnTo>
                  <a:lnTo>
                    <a:pt x="131" y="88"/>
                  </a:lnTo>
                  <a:lnTo>
                    <a:pt x="131" y="88"/>
                  </a:lnTo>
                  <a:lnTo>
                    <a:pt x="131" y="88"/>
                  </a:lnTo>
                  <a:lnTo>
                    <a:pt x="131" y="91"/>
                  </a:lnTo>
                  <a:lnTo>
                    <a:pt x="131" y="91"/>
                  </a:lnTo>
                  <a:lnTo>
                    <a:pt x="128" y="91"/>
                  </a:lnTo>
                  <a:lnTo>
                    <a:pt x="128" y="91"/>
                  </a:lnTo>
                  <a:lnTo>
                    <a:pt x="121" y="91"/>
                  </a:lnTo>
                  <a:lnTo>
                    <a:pt x="121" y="91"/>
                  </a:lnTo>
                  <a:lnTo>
                    <a:pt x="114" y="88"/>
                  </a:lnTo>
                  <a:lnTo>
                    <a:pt x="114" y="88"/>
                  </a:lnTo>
                  <a:lnTo>
                    <a:pt x="111" y="88"/>
                  </a:lnTo>
                  <a:lnTo>
                    <a:pt x="111" y="88"/>
                  </a:lnTo>
                  <a:lnTo>
                    <a:pt x="104" y="88"/>
                  </a:lnTo>
                  <a:lnTo>
                    <a:pt x="104" y="88"/>
                  </a:lnTo>
                  <a:lnTo>
                    <a:pt x="97" y="91"/>
                  </a:lnTo>
                  <a:lnTo>
                    <a:pt x="97" y="91"/>
                  </a:lnTo>
                  <a:lnTo>
                    <a:pt x="97" y="91"/>
                  </a:lnTo>
                  <a:lnTo>
                    <a:pt x="94" y="91"/>
                  </a:lnTo>
                  <a:lnTo>
                    <a:pt x="94" y="91"/>
                  </a:lnTo>
                  <a:lnTo>
                    <a:pt x="91" y="91"/>
                  </a:lnTo>
                  <a:lnTo>
                    <a:pt x="87" y="95"/>
                  </a:lnTo>
                  <a:lnTo>
                    <a:pt x="87" y="95"/>
                  </a:lnTo>
                  <a:lnTo>
                    <a:pt x="87" y="95"/>
                  </a:lnTo>
                  <a:lnTo>
                    <a:pt x="87" y="98"/>
                  </a:lnTo>
                  <a:lnTo>
                    <a:pt x="87" y="98"/>
                  </a:lnTo>
                  <a:lnTo>
                    <a:pt x="81" y="101"/>
                  </a:lnTo>
                  <a:lnTo>
                    <a:pt x="81" y="101"/>
                  </a:lnTo>
                  <a:lnTo>
                    <a:pt x="81" y="105"/>
                  </a:lnTo>
                  <a:lnTo>
                    <a:pt x="81" y="108"/>
                  </a:lnTo>
                  <a:lnTo>
                    <a:pt x="81" y="108"/>
                  </a:lnTo>
                  <a:lnTo>
                    <a:pt x="77" y="108"/>
                  </a:lnTo>
                  <a:lnTo>
                    <a:pt x="74" y="108"/>
                  </a:lnTo>
                  <a:lnTo>
                    <a:pt x="74" y="108"/>
                  </a:lnTo>
                  <a:lnTo>
                    <a:pt x="70" y="108"/>
                  </a:lnTo>
                  <a:lnTo>
                    <a:pt x="70" y="108"/>
                  </a:lnTo>
                  <a:lnTo>
                    <a:pt x="67" y="111"/>
                  </a:lnTo>
                  <a:lnTo>
                    <a:pt x="67" y="111"/>
                  </a:lnTo>
                  <a:lnTo>
                    <a:pt x="57" y="108"/>
                  </a:lnTo>
                  <a:lnTo>
                    <a:pt x="57" y="108"/>
                  </a:lnTo>
                  <a:lnTo>
                    <a:pt x="50" y="111"/>
                  </a:lnTo>
                  <a:lnTo>
                    <a:pt x="50" y="111"/>
                  </a:lnTo>
                  <a:lnTo>
                    <a:pt x="47" y="111"/>
                  </a:lnTo>
                  <a:lnTo>
                    <a:pt x="47" y="111"/>
                  </a:lnTo>
                  <a:lnTo>
                    <a:pt x="47" y="111"/>
                  </a:lnTo>
                  <a:lnTo>
                    <a:pt x="44" y="111"/>
                  </a:lnTo>
                  <a:lnTo>
                    <a:pt x="44" y="115"/>
                  </a:lnTo>
                  <a:lnTo>
                    <a:pt x="44" y="115"/>
                  </a:lnTo>
                  <a:lnTo>
                    <a:pt x="37" y="115"/>
                  </a:lnTo>
                  <a:lnTo>
                    <a:pt x="37" y="115"/>
                  </a:lnTo>
                  <a:lnTo>
                    <a:pt x="30" y="115"/>
                  </a:lnTo>
                  <a:lnTo>
                    <a:pt x="30" y="115"/>
                  </a:lnTo>
                  <a:lnTo>
                    <a:pt x="27" y="111"/>
                  </a:lnTo>
                  <a:lnTo>
                    <a:pt x="27" y="111"/>
                  </a:lnTo>
                  <a:lnTo>
                    <a:pt x="23" y="108"/>
                  </a:lnTo>
                  <a:lnTo>
                    <a:pt x="20" y="111"/>
                  </a:lnTo>
                  <a:lnTo>
                    <a:pt x="17" y="111"/>
                  </a:lnTo>
                  <a:lnTo>
                    <a:pt x="17" y="108"/>
                  </a:lnTo>
                  <a:lnTo>
                    <a:pt x="17" y="108"/>
                  </a:lnTo>
                  <a:lnTo>
                    <a:pt x="10" y="98"/>
                  </a:lnTo>
                  <a:lnTo>
                    <a:pt x="10" y="98"/>
                  </a:lnTo>
                  <a:lnTo>
                    <a:pt x="3" y="98"/>
                  </a:lnTo>
                  <a:lnTo>
                    <a:pt x="3" y="98"/>
                  </a:lnTo>
                  <a:lnTo>
                    <a:pt x="3" y="95"/>
                  </a:lnTo>
                  <a:lnTo>
                    <a:pt x="3" y="91"/>
                  </a:lnTo>
                  <a:lnTo>
                    <a:pt x="3" y="91"/>
                  </a:lnTo>
                  <a:lnTo>
                    <a:pt x="0" y="84"/>
                  </a:lnTo>
                  <a:lnTo>
                    <a:pt x="0" y="81"/>
                  </a:lnTo>
                  <a:lnTo>
                    <a:pt x="0" y="81"/>
                  </a:lnTo>
                  <a:lnTo>
                    <a:pt x="3" y="81"/>
                  </a:lnTo>
                  <a:lnTo>
                    <a:pt x="3" y="81"/>
                  </a:lnTo>
                  <a:lnTo>
                    <a:pt x="3" y="81"/>
                  </a:lnTo>
                  <a:lnTo>
                    <a:pt x="3" y="71"/>
                  </a:lnTo>
                  <a:lnTo>
                    <a:pt x="3" y="71"/>
                  </a:lnTo>
                  <a:lnTo>
                    <a:pt x="0" y="68"/>
                  </a:lnTo>
                  <a:lnTo>
                    <a:pt x="0" y="61"/>
                  </a:lnTo>
                  <a:lnTo>
                    <a:pt x="0" y="61"/>
                  </a:lnTo>
                  <a:lnTo>
                    <a:pt x="3" y="58"/>
                  </a:lnTo>
                  <a:lnTo>
                    <a:pt x="3" y="58"/>
                  </a:lnTo>
                  <a:lnTo>
                    <a:pt x="7" y="41"/>
                  </a:lnTo>
                  <a:lnTo>
                    <a:pt x="7" y="41"/>
                  </a:lnTo>
                  <a:lnTo>
                    <a:pt x="10" y="44"/>
                  </a:lnTo>
                  <a:lnTo>
                    <a:pt x="17" y="41"/>
                  </a:lnTo>
                  <a:lnTo>
                    <a:pt x="17" y="41"/>
                  </a:lnTo>
                  <a:lnTo>
                    <a:pt x="20" y="37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7" y="17"/>
                  </a:lnTo>
                  <a:lnTo>
                    <a:pt x="27" y="17"/>
                  </a:lnTo>
                  <a:lnTo>
                    <a:pt x="27" y="14"/>
                  </a:lnTo>
                  <a:lnTo>
                    <a:pt x="27" y="14"/>
                  </a:lnTo>
                  <a:lnTo>
                    <a:pt x="30" y="10"/>
                  </a:lnTo>
                  <a:lnTo>
                    <a:pt x="30" y="10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7" y="10"/>
                  </a:lnTo>
                  <a:lnTo>
                    <a:pt x="37" y="14"/>
                  </a:lnTo>
                  <a:lnTo>
                    <a:pt x="37" y="14"/>
                  </a:lnTo>
                  <a:lnTo>
                    <a:pt x="40" y="14"/>
                  </a:lnTo>
                  <a:lnTo>
                    <a:pt x="40" y="14"/>
                  </a:lnTo>
                  <a:lnTo>
                    <a:pt x="44" y="14"/>
                  </a:lnTo>
                  <a:lnTo>
                    <a:pt x="44" y="14"/>
                  </a:lnTo>
                  <a:lnTo>
                    <a:pt x="47" y="7"/>
                  </a:lnTo>
                  <a:lnTo>
                    <a:pt x="47" y="7"/>
                  </a:lnTo>
                  <a:lnTo>
                    <a:pt x="50" y="4"/>
                  </a:lnTo>
                  <a:lnTo>
                    <a:pt x="50" y="4"/>
                  </a:lnTo>
                  <a:lnTo>
                    <a:pt x="57" y="7"/>
                  </a:lnTo>
                  <a:lnTo>
                    <a:pt x="57" y="7"/>
                  </a:lnTo>
                  <a:lnTo>
                    <a:pt x="64" y="7"/>
                  </a:lnTo>
                  <a:lnTo>
                    <a:pt x="64" y="7"/>
                  </a:lnTo>
                  <a:lnTo>
                    <a:pt x="74" y="7"/>
                  </a:lnTo>
                  <a:lnTo>
                    <a:pt x="74" y="7"/>
                  </a:lnTo>
                  <a:lnTo>
                    <a:pt x="77" y="4"/>
                  </a:lnTo>
                  <a:lnTo>
                    <a:pt x="77" y="4"/>
                  </a:lnTo>
                  <a:lnTo>
                    <a:pt x="81" y="0"/>
                  </a:lnTo>
                  <a:lnTo>
                    <a:pt x="81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91" y="4"/>
                  </a:lnTo>
                  <a:lnTo>
                    <a:pt x="91" y="4"/>
                  </a:lnTo>
                  <a:lnTo>
                    <a:pt x="97" y="0"/>
                  </a:lnTo>
                  <a:lnTo>
                    <a:pt x="97" y="0"/>
                  </a:lnTo>
                  <a:lnTo>
                    <a:pt x="107" y="0"/>
                  </a:lnTo>
                  <a:lnTo>
                    <a:pt x="107" y="0"/>
                  </a:lnTo>
                  <a:lnTo>
                    <a:pt x="114" y="0"/>
                  </a:lnTo>
                  <a:lnTo>
                    <a:pt x="114" y="0"/>
                  </a:lnTo>
                  <a:lnTo>
                    <a:pt x="118" y="4"/>
                  </a:lnTo>
                  <a:lnTo>
                    <a:pt x="118" y="7"/>
                  </a:lnTo>
                  <a:lnTo>
                    <a:pt x="118" y="7"/>
                  </a:lnTo>
                  <a:lnTo>
                    <a:pt x="124" y="14"/>
                  </a:lnTo>
                  <a:lnTo>
                    <a:pt x="124" y="14"/>
                  </a:lnTo>
                  <a:lnTo>
                    <a:pt x="131" y="17"/>
                  </a:lnTo>
                  <a:lnTo>
                    <a:pt x="131" y="17"/>
                  </a:lnTo>
                  <a:lnTo>
                    <a:pt x="134" y="21"/>
                  </a:lnTo>
                  <a:lnTo>
                    <a:pt x="134" y="21"/>
                  </a:lnTo>
                  <a:lnTo>
                    <a:pt x="141" y="21"/>
                  </a:lnTo>
                  <a:lnTo>
                    <a:pt x="141" y="21"/>
                  </a:lnTo>
                  <a:lnTo>
                    <a:pt x="144" y="24"/>
                  </a:lnTo>
                  <a:lnTo>
                    <a:pt x="144" y="24"/>
                  </a:lnTo>
                  <a:lnTo>
                    <a:pt x="144" y="27"/>
                  </a:lnTo>
                  <a:lnTo>
                    <a:pt x="144" y="27"/>
                  </a:lnTo>
                  <a:lnTo>
                    <a:pt x="148" y="31"/>
                  </a:lnTo>
                  <a:lnTo>
                    <a:pt x="148" y="31"/>
                  </a:lnTo>
                  <a:lnTo>
                    <a:pt x="148" y="34"/>
                  </a:lnTo>
                  <a:lnTo>
                    <a:pt x="148" y="34"/>
                  </a:lnTo>
                  <a:lnTo>
                    <a:pt x="148" y="37"/>
                  </a:lnTo>
                  <a:lnTo>
                    <a:pt x="148" y="37"/>
                  </a:lnTo>
                  <a:lnTo>
                    <a:pt x="154" y="41"/>
                  </a:lnTo>
                  <a:lnTo>
                    <a:pt x="154" y="41"/>
                  </a:lnTo>
                  <a:lnTo>
                    <a:pt x="151" y="44"/>
                  </a:lnTo>
                  <a:lnTo>
                    <a:pt x="151" y="44"/>
                  </a:lnTo>
                  <a:lnTo>
                    <a:pt x="151" y="47"/>
                  </a:lnTo>
                  <a:lnTo>
                    <a:pt x="151" y="47"/>
                  </a:lnTo>
                  <a:lnTo>
                    <a:pt x="151" y="47"/>
                  </a:lnTo>
                  <a:lnTo>
                    <a:pt x="151" y="51"/>
                  </a:lnTo>
                  <a:lnTo>
                    <a:pt x="151" y="51"/>
                  </a:lnTo>
                  <a:lnTo>
                    <a:pt x="151" y="58"/>
                  </a:lnTo>
                  <a:lnTo>
                    <a:pt x="151" y="58"/>
                  </a:lnTo>
                  <a:lnTo>
                    <a:pt x="151" y="61"/>
                  </a:lnTo>
                  <a:lnTo>
                    <a:pt x="151" y="61"/>
                  </a:lnTo>
                  <a:lnTo>
                    <a:pt x="151" y="68"/>
                  </a:lnTo>
                  <a:lnTo>
                    <a:pt x="151" y="68"/>
                  </a:lnTo>
                  <a:lnTo>
                    <a:pt x="154" y="74"/>
                  </a:lnTo>
                  <a:lnTo>
                    <a:pt x="154" y="74"/>
                  </a:lnTo>
                  <a:close/>
                </a:path>
              </a:pathLst>
            </a:custGeom>
            <a:solidFill>
              <a:srgbClr val="C0C0C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EYInterstate" pitchFamily="2" charset="0"/>
                <a:cs typeface="Arial" charset="0"/>
              </a:endParaRPr>
            </a:p>
          </p:txBody>
        </p:sp>
        <p:sp>
          <p:nvSpPr>
            <p:cNvPr id="32" name="Freeform 46"/>
            <p:cNvSpPr>
              <a:spLocks/>
            </p:cNvSpPr>
            <p:nvPr/>
          </p:nvSpPr>
          <p:spPr bwMode="auto">
            <a:xfrm>
              <a:off x="2679" y="2585"/>
              <a:ext cx="35" cy="54"/>
            </a:xfrm>
            <a:custGeom>
              <a:avLst/>
              <a:gdLst/>
              <a:ahLst/>
              <a:cxnLst>
                <a:cxn ang="0">
                  <a:pos x="0" y="53"/>
                </a:cxn>
                <a:cxn ang="0">
                  <a:pos x="0" y="53"/>
                </a:cxn>
                <a:cxn ang="0">
                  <a:pos x="3" y="47"/>
                </a:cxn>
                <a:cxn ang="0">
                  <a:pos x="3" y="43"/>
                </a:cxn>
                <a:cxn ang="0">
                  <a:pos x="3" y="43"/>
                </a:cxn>
                <a:cxn ang="0">
                  <a:pos x="0" y="40"/>
                </a:cxn>
                <a:cxn ang="0">
                  <a:pos x="0" y="33"/>
                </a:cxn>
                <a:cxn ang="0">
                  <a:pos x="0" y="27"/>
                </a:cxn>
                <a:cxn ang="0">
                  <a:pos x="0" y="27"/>
                </a:cxn>
                <a:cxn ang="0">
                  <a:pos x="6" y="10"/>
                </a:cxn>
                <a:cxn ang="0">
                  <a:pos x="13" y="3"/>
                </a:cxn>
                <a:cxn ang="0">
                  <a:pos x="23" y="0"/>
                </a:cxn>
                <a:cxn ang="0">
                  <a:pos x="23" y="0"/>
                </a:cxn>
                <a:cxn ang="0">
                  <a:pos x="23" y="0"/>
                </a:cxn>
                <a:cxn ang="0">
                  <a:pos x="23" y="16"/>
                </a:cxn>
                <a:cxn ang="0">
                  <a:pos x="23" y="16"/>
                </a:cxn>
                <a:cxn ang="0">
                  <a:pos x="23" y="23"/>
                </a:cxn>
                <a:cxn ang="0">
                  <a:pos x="26" y="27"/>
                </a:cxn>
                <a:cxn ang="0">
                  <a:pos x="26" y="27"/>
                </a:cxn>
                <a:cxn ang="0">
                  <a:pos x="33" y="30"/>
                </a:cxn>
                <a:cxn ang="0">
                  <a:pos x="36" y="33"/>
                </a:cxn>
                <a:cxn ang="0">
                  <a:pos x="36" y="33"/>
                </a:cxn>
                <a:cxn ang="0">
                  <a:pos x="30" y="43"/>
                </a:cxn>
                <a:cxn ang="0">
                  <a:pos x="30" y="43"/>
                </a:cxn>
                <a:cxn ang="0">
                  <a:pos x="26" y="57"/>
                </a:cxn>
                <a:cxn ang="0">
                  <a:pos x="26" y="57"/>
                </a:cxn>
                <a:cxn ang="0">
                  <a:pos x="26" y="57"/>
                </a:cxn>
                <a:cxn ang="0">
                  <a:pos x="20" y="53"/>
                </a:cxn>
                <a:cxn ang="0">
                  <a:pos x="13" y="53"/>
                </a:cxn>
                <a:cxn ang="0">
                  <a:pos x="10" y="57"/>
                </a:cxn>
                <a:cxn ang="0">
                  <a:pos x="10" y="57"/>
                </a:cxn>
                <a:cxn ang="0">
                  <a:pos x="6" y="57"/>
                </a:cxn>
                <a:cxn ang="0">
                  <a:pos x="3" y="57"/>
                </a:cxn>
                <a:cxn ang="0">
                  <a:pos x="0" y="53"/>
                </a:cxn>
                <a:cxn ang="0">
                  <a:pos x="0" y="53"/>
                </a:cxn>
              </a:cxnLst>
              <a:rect l="0" t="0" r="r" b="b"/>
              <a:pathLst>
                <a:path w="36" h="57">
                  <a:moveTo>
                    <a:pt x="0" y="53"/>
                  </a:moveTo>
                  <a:lnTo>
                    <a:pt x="0" y="53"/>
                  </a:lnTo>
                  <a:lnTo>
                    <a:pt x="3" y="47"/>
                  </a:lnTo>
                  <a:lnTo>
                    <a:pt x="3" y="43"/>
                  </a:lnTo>
                  <a:lnTo>
                    <a:pt x="3" y="43"/>
                  </a:lnTo>
                  <a:lnTo>
                    <a:pt x="0" y="40"/>
                  </a:lnTo>
                  <a:lnTo>
                    <a:pt x="0" y="33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6" y="10"/>
                  </a:lnTo>
                  <a:lnTo>
                    <a:pt x="13" y="3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3" y="16"/>
                  </a:lnTo>
                  <a:lnTo>
                    <a:pt x="23" y="16"/>
                  </a:lnTo>
                  <a:lnTo>
                    <a:pt x="23" y="23"/>
                  </a:lnTo>
                  <a:lnTo>
                    <a:pt x="26" y="27"/>
                  </a:lnTo>
                  <a:lnTo>
                    <a:pt x="26" y="27"/>
                  </a:lnTo>
                  <a:lnTo>
                    <a:pt x="33" y="30"/>
                  </a:lnTo>
                  <a:lnTo>
                    <a:pt x="36" y="33"/>
                  </a:lnTo>
                  <a:lnTo>
                    <a:pt x="36" y="33"/>
                  </a:lnTo>
                  <a:lnTo>
                    <a:pt x="30" y="43"/>
                  </a:lnTo>
                  <a:lnTo>
                    <a:pt x="30" y="43"/>
                  </a:lnTo>
                  <a:lnTo>
                    <a:pt x="26" y="57"/>
                  </a:lnTo>
                  <a:lnTo>
                    <a:pt x="26" y="57"/>
                  </a:lnTo>
                  <a:lnTo>
                    <a:pt x="26" y="57"/>
                  </a:lnTo>
                  <a:lnTo>
                    <a:pt x="20" y="53"/>
                  </a:lnTo>
                  <a:lnTo>
                    <a:pt x="13" y="53"/>
                  </a:lnTo>
                  <a:lnTo>
                    <a:pt x="10" y="57"/>
                  </a:lnTo>
                  <a:lnTo>
                    <a:pt x="10" y="57"/>
                  </a:lnTo>
                  <a:lnTo>
                    <a:pt x="6" y="57"/>
                  </a:lnTo>
                  <a:lnTo>
                    <a:pt x="3" y="57"/>
                  </a:lnTo>
                  <a:lnTo>
                    <a:pt x="0" y="53"/>
                  </a:lnTo>
                  <a:lnTo>
                    <a:pt x="0" y="53"/>
                  </a:lnTo>
                  <a:close/>
                </a:path>
              </a:pathLst>
            </a:custGeom>
            <a:solidFill>
              <a:srgbClr val="C0C0C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EYInterstate" pitchFamily="2" charset="0"/>
                <a:cs typeface="Arial" charset="0"/>
              </a:endParaRPr>
            </a:p>
          </p:txBody>
        </p:sp>
        <p:sp>
          <p:nvSpPr>
            <p:cNvPr id="33" name="Freeform 47"/>
            <p:cNvSpPr>
              <a:spLocks/>
            </p:cNvSpPr>
            <p:nvPr/>
          </p:nvSpPr>
          <p:spPr bwMode="auto">
            <a:xfrm>
              <a:off x="3384" y="2193"/>
              <a:ext cx="260" cy="175"/>
            </a:xfrm>
            <a:custGeom>
              <a:avLst/>
              <a:gdLst/>
              <a:ahLst/>
              <a:cxnLst>
                <a:cxn ang="0">
                  <a:pos x="135" y="188"/>
                </a:cxn>
                <a:cxn ang="0">
                  <a:pos x="145" y="181"/>
                </a:cxn>
                <a:cxn ang="0">
                  <a:pos x="158" y="181"/>
                </a:cxn>
                <a:cxn ang="0">
                  <a:pos x="165" y="174"/>
                </a:cxn>
                <a:cxn ang="0">
                  <a:pos x="175" y="171"/>
                </a:cxn>
                <a:cxn ang="0">
                  <a:pos x="182" y="168"/>
                </a:cxn>
                <a:cxn ang="0">
                  <a:pos x="188" y="161"/>
                </a:cxn>
                <a:cxn ang="0">
                  <a:pos x="195" y="158"/>
                </a:cxn>
                <a:cxn ang="0">
                  <a:pos x="202" y="147"/>
                </a:cxn>
                <a:cxn ang="0">
                  <a:pos x="212" y="147"/>
                </a:cxn>
                <a:cxn ang="0">
                  <a:pos x="219" y="147"/>
                </a:cxn>
                <a:cxn ang="0">
                  <a:pos x="219" y="158"/>
                </a:cxn>
                <a:cxn ang="0">
                  <a:pos x="229" y="151"/>
                </a:cxn>
                <a:cxn ang="0">
                  <a:pos x="222" y="144"/>
                </a:cxn>
                <a:cxn ang="0">
                  <a:pos x="215" y="137"/>
                </a:cxn>
                <a:cxn ang="0">
                  <a:pos x="219" y="124"/>
                </a:cxn>
                <a:cxn ang="0">
                  <a:pos x="222" y="114"/>
                </a:cxn>
                <a:cxn ang="0">
                  <a:pos x="222" y="100"/>
                </a:cxn>
                <a:cxn ang="0">
                  <a:pos x="232" y="90"/>
                </a:cxn>
                <a:cxn ang="0">
                  <a:pos x="239" y="80"/>
                </a:cxn>
                <a:cxn ang="0">
                  <a:pos x="249" y="77"/>
                </a:cxn>
                <a:cxn ang="0">
                  <a:pos x="256" y="70"/>
                </a:cxn>
                <a:cxn ang="0">
                  <a:pos x="259" y="63"/>
                </a:cxn>
                <a:cxn ang="0">
                  <a:pos x="246" y="63"/>
                </a:cxn>
                <a:cxn ang="0">
                  <a:pos x="246" y="57"/>
                </a:cxn>
                <a:cxn ang="0">
                  <a:pos x="246" y="50"/>
                </a:cxn>
                <a:cxn ang="0">
                  <a:pos x="232" y="43"/>
                </a:cxn>
                <a:cxn ang="0">
                  <a:pos x="219" y="37"/>
                </a:cxn>
                <a:cxn ang="0">
                  <a:pos x="205" y="30"/>
                </a:cxn>
                <a:cxn ang="0">
                  <a:pos x="182" y="20"/>
                </a:cxn>
                <a:cxn ang="0">
                  <a:pos x="165" y="10"/>
                </a:cxn>
                <a:cxn ang="0">
                  <a:pos x="158" y="3"/>
                </a:cxn>
                <a:cxn ang="0">
                  <a:pos x="141" y="10"/>
                </a:cxn>
                <a:cxn ang="0">
                  <a:pos x="128" y="10"/>
                </a:cxn>
                <a:cxn ang="0">
                  <a:pos x="108" y="10"/>
                </a:cxn>
                <a:cxn ang="0">
                  <a:pos x="108" y="10"/>
                </a:cxn>
                <a:cxn ang="0">
                  <a:pos x="98" y="6"/>
                </a:cxn>
                <a:cxn ang="0">
                  <a:pos x="88" y="10"/>
                </a:cxn>
                <a:cxn ang="0">
                  <a:pos x="78" y="6"/>
                </a:cxn>
                <a:cxn ang="0">
                  <a:pos x="67" y="6"/>
                </a:cxn>
                <a:cxn ang="0">
                  <a:pos x="47" y="6"/>
                </a:cxn>
                <a:cxn ang="0">
                  <a:pos x="34" y="10"/>
                </a:cxn>
                <a:cxn ang="0">
                  <a:pos x="27" y="16"/>
                </a:cxn>
                <a:cxn ang="0">
                  <a:pos x="20" y="23"/>
                </a:cxn>
                <a:cxn ang="0">
                  <a:pos x="10" y="33"/>
                </a:cxn>
                <a:cxn ang="0">
                  <a:pos x="0" y="37"/>
                </a:cxn>
                <a:cxn ang="0">
                  <a:pos x="7" y="57"/>
                </a:cxn>
                <a:cxn ang="0">
                  <a:pos x="7" y="67"/>
                </a:cxn>
                <a:cxn ang="0">
                  <a:pos x="0" y="90"/>
                </a:cxn>
                <a:cxn ang="0">
                  <a:pos x="4" y="77"/>
                </a:cxn>
                <a:cxn ang="0">
                  <a:pos x="14" y="94"/>
                </a:cxn>
                <a:cxn ang="0">
                  <a:pos x="34" y="100"/>
                </a:cxn>
                <a:cxn ang="0">
                  <a:pos x="61" y="100"/>
                </a:cxn>
                <a:cxn ang="0">
                  <a:pos x="74" y="104"/>
                </a:cxn>
                <a:cxn ang="0">
                  <a:pos x="74" y="114"/>
                </a:cxn>
                <a:cxn ang="0">
                  <a:pos x="74" y="127"/>
                </a:cxn>
                <a:cxn ang="0">
                  <a:pos x="71" y="141"/>
                </a:cxn>
                <a:cxn ang="0">
                  <a:pos x="74" y="154"/>
                </a:cxn>
                <a:cxn ang="0">
                  <a:pos x="98" y="147"/>
                </a:cxn>
                <a:cxn ang="0">
                  <a:pos x="115" y="154"/>
                </a:cxn>
                <a:cxn ang="0">
                  <a:pos x="118" y="174"/>
                </a:cxn>
                <a:cxn ang="0">
                  <a:pos x="118" y="188"/>
                </a:cxn>
              </a:cxnLst>
              <a:rect l="0" t="0" r="r" b="b"/>
              <a:pathLst>
                <a:path w="259" h="188">
                  <a:moveTo>
                    <a:pt x="118" y="188"/>
                  </a:moveTo>
                  <a:lnTo>
                    <a:pt x="118" y="188"/>
                  </a:lnTo>
                  <a:lnTo>
                    <a:pt x="135" y="188"/>
                  </a:lnTo>
                  <a:lnTo>
                    <a:pt x="135" y="188"/>
                  </a:lnTo>
                  <a:lnTo>
                    <a:pt x="138" y="188"/>
                  </a:lnTo>
                  <a:lnTo>
                    <a:pt x="138" y="184"/>
                  </a:lnTo>
                  <a:lnTo>
                    <a:pt x="145" y="181"/>
                  </a:lnTo>
                  <a:lnTo>
                    <a:pt x="145" y="181"/>
                  </a:lnTo>
                  <a:lnTo>
                    <a:pt x="151" y="181"/>
                  </a:lnTo>
                  <a:lnTo>
                    <a:pt x="151" y="181"/>
                  </a:lnTo>
                  <a:lnTo>
                    <a:pt x="155" y="181"/>
                  </a:lnTo>
                  <a:lnTo>
                    <a:pt x="158" y="181"/>
                  </a:lnTo>
                  <a:lnTo>
                    <a:pt x="158" y="181"/>
                  </a:lnTo>
                  <a:lnTo>
                    <a:pt x="162" y="178"/>
                  </a:lnTo>
                  <a:lnTo>
                    <a:pt x="165" y="174"/>
                  </a:lnTo>
                  <a:lnTo>
                    <a:pt x="165" y="174"/>
                  </a:lnTo>
                  <a:lnTo>
                    <a:pt x="168" y="171"/>
                  </a:lnTo>
                  <a:lnTo>
                    <a:pt x="172" y="168"/>
                  </a:lnTo>
                  <a:lnTo>
                    <a:pt x="172" y="168"/>
                  </a:lnTo>
                  <a:lnTo>
                    <a:pt x="175" y="171"/>
                  </a:lnTo>
                  <a:lnTo>
                    <a:pt x="178" y="171"/>
                  </a:lnTo>
                  <a:lnTo>
                    <a:pt x="178" y="171"/>
                  </a:lnTo>
                  <a:lnTo>
                    <a:pt x="178" y="168"/>
                  </a:lnTo>
                  <a:lnTo>
                    <a:pt x="182" y="168"/>
                  </a:lnTo>
                  <a:lnTo>
                    <a:pt x="182" y="168"/>
                  </a:lnTo>
                  <a:lnTo>
                    <a:pt x="185" y="161"/>
                  </a:lnTo>
                  <a:lnTo>
                    <a:pt x="185" y="161"/>
                  </a:lnTo>
                  <a:lnTo>
                    <a:pt x="188" y="161"/>
                  </a:lnTo>
                  <a:lnTo>
                    <a:pt x="192" y="161"/>
                  </a:lnTo>
                  <a:lnTo>
                    <a:pt x="192" y="161"/>
                  </a:lnTo>
                  <a:lnTo>
                    <a:pt x="195" y="158"/>
                  </a:lnTo>
                  <a:lnTo>
                    <a:pt x="195" y="158"/>
                  </a:lnTo>
                  <a:lnTo>
                    <a:pt x="199" y="154"/>
                  </a:lnTo>
                  <a:lnTo>
                    <a:pt x="202" y="151"/>
                  </a:lnTo>
                  <a:lnTo>
                    <a:pt x="202" y="151"/>
                  </a:lnTo>
                  <a:lnTo>
                    <a:pt x="202" y="147"/>
                  </a:lnTo>
                  <a:lnTo>
                    <a:pt x="205" y="144"/>
                  </a:lnTo>
                  <a:lnTo>
                    <a:pt x="205" y="144"/>
                  </a:lnTo>
                  <a:lnTo>
                    <a:pt x="212" y="147"/>
                  </a:lnTo>
                  <a:lnTo>
                    <a:pt x="212" y="147"/>
                  </a:lnTo>
                  <a:lnTo>
                    <a:pt x="212" y="144"/>
                  </a:lnTo>
                  <a:lnTo>
                    <a:pt x="215" y="144"/>
                  </a:lnTo>
                  <a:lnTo>
                    <a:pt x="215" y="144"/>
                  </a:lnTo>
                  <a:lnTo>
                    <a:pt x="219" y="147"/>
                  </a:lnTo>
                  <a:lnTo>
                    <a:pt x="219" y="151"/>
                  </a:lnTo>
                  <a:lnTo>
                    <a:pt x="215" y="154"/>
                  </a:lnTo>
                  <a:lnTo>
                    <a:pt x="215" y="154"/>
                  </a:lnTo>
                  <a:lnTo>
                    <a:pt x="219" y="158"/>
                  </a:lnTo>
                  <a:lnTo>
                    <a:pt x="222" y="158"/>
                  </a:lnTo>
                  <a:lnTo>
                    <a:pt x="222" y="158"/>
                  </a:lnTo>
                  <a:lnTo>
                    <a:pt x="225" y="154"/>
                  </a:lnTo>
                  <a:lnTo>
                    <a:pt x="229" y="151"/>
                  </a:lnTo>
                  <a:lnTo>
                    <a:pt x="229" y="151"/>
                  </a:lnTo>
                  <a:lnTo>
                    <a:pt x="225" y="144"/>
                  </a:lnTo>
                  <a:lnTo>
                    <a:pt x="225" y="144"/>
                  </a:lnTo>
                  <a:lnTo>
                    <a:pt x="222" y="144"/>
                  </a:lnTo>
                  <a:lnTo>
                    <a:pt x="222" y="144"/>
                  </a:lnTo>
                  <a:lnTo>
                    <a:pt x="219" y="141"/>
                  </a:lnTo>
                  <a:lnTo>
                    <a:pt x="219" y="141"/>
                  </a:lnTo>
                  <a:lnTo>
                    <a:pt x="215" y="137"/>
                  </a:lnTo>
                  <a:lnTo>
                    <a:pt x="215" y="134"/>
                  </a:lnTo>
                  <a:lnTo>
                    <a:pt x="219" y="127"/>
                  </a:lnTo>
                  <a:lnTo>
                    <a:pt x="219" y="127"/>
                  </a:lnTo>
                  <a:lnTo>
                    <a:pt x="219" y="124"/>
                  </a:lnTo>
                  <a:lnTo>
                    <a:pt x="219" y="121"/>
                  </a:lnTo>
                  <a:lnTo>
                    <a:pt x="219" y="121"/>
                  </a:lnTo>
                  <a:lnTo>
                    <a:pt x="222" y="117"/>
                  </a:lnTo>
                  <a:lnTo>
                    <a:pt x="222" y="114"/>
                  </a:lnTo>
                  <a:lnTo>
                    <a:pt x="222" y="114"/>
                  </a:lnTo>
                  <a:lnTo>
                    <a:pt x="222" y="107"/>
                  </a:lnTo>
                  <a:lnTo>
                    <a:pt x="222" y="100"/>
                  </a:lnTo>
                  <a:lnTo>
                    <a:pt x="222" y="100"/>
                  </a:lnTo>
                  <a:lnTo>
                    <a:pt x="229" y="94"/>
                  </a:lnTo>
                  <a:lnTo>
                    <a:pt x="229" y="94"/>
                  </a:lnTo>
                  <a:lnTo>
                    <a:pt x="232" y="90"/>
                  </a:lnTo>
                  <a:lnTo>
                    <a:pt x="232" y="90"/>
                  </a:lnTo>
                  <a:lnTo>
                    <a:pt x="236" y="87"/>
                  </a:lnTo>
                  <a:lnTo>
                    <a:pt x="239" y="84"/>
                  </a:lnTo>
                  <a:lnTo>
                    <a:pt x="239" y="84"/>
                  </a:lnTo>
                  <a:lnTo>
                    <a:pt x="239" y="80"/>
                  </a:lnTo>
                  <a:lnTo>
                    <a:pt x="239" y="80"/>
                  </a:lnTo>
                  <a:lnTo>
                    <a:pt x="242" y="77"/>
                  </a:lnTo>
                  <a:lnTo>
                    <a:pt x="242" y="77"/>
                  </a:lnTo>
                  <a:lnTo>
                    <a:pt x="249" y="77"/>
                  </a:lnTo>
                  <a:lnTo>
                    <a:pt x="252" y="77"/>
                  </a:lnTo>
                  <a:lnTo>
                    <a:pt x="256" y="74"/>
                  </a:lnTo>
                  <a:lnTo>
                    <a:pt x="256" y="74"/>
                  </a:lnTo>
                  <a:lnTo>
                    <a:pt x="256" y="70"/>
                  </a:lnTo>
                  <a:lnTo>
                    <a:pt x="256" y="70"/>
                  </a:lnTo>
                  <a:lnTo>
                    <a:pt x="259" y="67"/>
                  </a:lnTo>
                  <a:lnTo>
                    <a:pt x="259" y="67"/>
                  </a:lnTo>
                  <a:lnTo>
                    <a:pt x="259" y="63"/>
                  </a:lnTo>
                  <a:lnTo>
                    <a:pt x="259" y="63"/>
                  </a:lnTo>
                  <a:lnTo>
                    <a:pt x="252" y="63"/>
                  </a:lnTo>
                  <a:lnTo>
                    <a:pt x="252" y="63"/>
                  </a:lnTo>
                  <a:lnTo>
                    <a:pt x="246" y="63"/>
                  </a:lnTo>
                  <a:lnTo>
                    <a:pt x="242" y="63"/>
                  </a:lnTo>
                  <a:lnTo>
                    <a:pt x="242" y="60"/>
                  </a:lnTo>
                  <a:lnTo>
                    <a:pt x="242" y="60"/>
                  </a:lnTo>
                  <a:lnTo>
                    <a:pt x="246" y="57"/>
                  </a:lnTo>
                  <a:lnTo>
                    <a:pt x="246" y="57"/>
                  </a:lnTo>
                  <a:lnTo>
                    <a:pt x="246" y="57"/>
                  </a:lnTo>
                  <a:lnTo>
                    <a:pt x="246" y="50"/>
                  </a:lnTo>
                  <a:lnTo>
                    <a:pt x="246" y="50"/>
                  </a:lnTo>
                  <a:lnTo>
                    <a:pt x="242" y="43"/>
                  </a:lnTo>
                  <a:lnTo>
                    <a:pt x="242" y="43"/>
                  </a:lnTo>
                  <a:lnTo>
                    <a:pt x="232" y="43"/>
                  </a:lnTo>
                  <a:lnTo>
                    <a:pt x="232" y="43"/>
                  </a:lnTo>
                  <a:lnTo>
                    <a:pt x="225" y="43"/>
                  </a:lnTo>
                  <a:lnTo>
                    <a:pt x="222" y="40"/>
                  </a:lnTo>
                  <a:lnTo>
                    <a:pt x="222" y="40"/>
                  </a:lnTo>
                  <a:lnTo>
                    <a:pt x="219" y="37"/>
                  </a:lnTo>
                  <a:lnTo>
                    <a:pt x="212" y="33"/>
                  </a:lnTo>
                  <a:lnTo>
                    <a:pt x="212" y="33"/>
                  </a:lnTo>
                  <a:lnTo>
                    <a:pt x="209" y="33"/>
                  </a:lnTo>
                  <a:lnTo>
                    <a:pt x="205" y="30"/>
                  </a:lnTo>
                  <a:lnTo>
                    <a:pt x="205" y="30"/>
                  </a:lnTo>
                  <a:lnTo>
                    <a:pt x="192" y="20"/>
                  </a:lnTo>
                  <a:lnTo>
                    <a:pt x="192" y="20"/>
                  </a:lnTo>
                  <a:lnTo>
                    <a:pt x="182" y="20"/>
                  </a:lnTo>
                  <a:lnTo>
                    <a:pt x="172" y="16"/>
                  </a:lnTo>
                  <a:lnTo>
                    <a:pt x="172" y="16"/>
                  </a:lnTo>
                  <a:lnTo>
                    <a:pt x="168" y="13"/>
                  </a:lnTo>
                  <a:lnTo>
                    <a:pt x="165" y="10"/>
                  </a:lnTo>
                  <a:lnTo>
                    <a:pt x="165" y="10"/>
                  </a:lnTo>
                  <a:lnTo>
                    <a:pt x="162" y="6"/>
                  </a:lnTo>
                  <a:lnTo>
                    <a:pt x="158" y="3"/>
                  </a:lnTo>
                  <a:lnTo>
                    <a:pt x="158" y="3"/>
                  </a:lnTo>
                  <a:lnTo>
                    <a:pt x="155" y="0"/>
                  </a:lnTo>
                  <a:lnTo>
                    <a:pt x="151" y="3"/>
                  </a:lnTo>
                  <a:lnTo>
                    <a:pt x="148" y="10"/>
                  </a:lnTo>
                  <a:lnTo>
                    <a:pt x="141" y="10"/>
                  </a:lnTo>
                  <a:lnTo>
                    <a:pt x="141" y="10"/>
                  </a:lnTo>
                  <a:lnTo>
                    <a:pt x="135" y="10"/>
                  </a:lnTo>
                  <a:lnTo>
                    <a:pt x="135" y="10"/>
                  </a:lnTo>
                  <a:lnTo>
                    <a:pt x="128" y="10"/>
                  </a:lnTo>
                  <a:lnTo>
                    <a:pt x="125" y="10"/>
                  </a:lnTo>
                  <a:lnTo>
                    <a:pt x="125" y="10"/>
                  </a:lnTo>
                  <a:lnTo>
                    <a:pt x="115" y="10"/>
                  </a:lnTo>
                  <a:lnTo>
                    <a:pt x="108" y="10"/>
                  </a:lnTo>
                  <a:lnTo>
                    <a:pt x="108" y="10"/>
                  </a:lnTo>
                  <a:lnTo>
                    <a:pt x="108" y="10"/>
                  </a:lnTo>
                  <a:lnTo>
                    <a:pt x="108" y="10"/>
                  </a:lnTo>
                  <a:lnTo>
                    <a:pt x="108" y="10"/>
                  </a:lnTo>
                  <a:lnTo>
                    <a:pt x="101" y="6"/>
                  </a:lnTo>
                  <a:lnTo>
                    <a:pt x="101" y="6"/>
                  </a:lnTo>
                  <a:lnTo>
                    <a:pt x="101" y="6"/>
                  </a:lnTo>
                  <a:lnTo>
                    <a:pt x="98" y="6"/>
                  </a:lnTo>
                  <a:lnTo>
                    <a:pt x="98" y="6"/>
                  </a:lnTo>
                  <a:lnTo>
                    <a:pt x="91" y="10"/>
                  </a:lnTo>
                  <a:lnTo>
                    <a:pt x="91" y="10"/>
                  </a:lnTo>
                  <a:lnTo>
                    <a:pt x="88" y="10"/>
                  </a:lnTo>
                  <a:lnTo>
                    <a:pt x="84" y="6"/>
                  </a:lnTo>
                  <a:lnTo>
                    <a:pt x="84" y="6"/>
                  </a:lnTo>
                  <a:lnTo>
                    <a:pt x="81" y="6"/>
                  </a:lnTo>
                  <a:lnTo>
                    <a:pt x="78" y="6"/>
                  </a:lnTo>
                  <a:lnTo>
                    <a:pt x="74" y="10"/>
                  </a:lnTo>
                  <a:lnTo>
                    <a:pt x="74" y="10"/>
                  </a:lnTo>
                  <a:lnTo>
                    <a:pt x="67" y="6"/>
                  </a:lnTo>
                  <a:lnTo>
                    <a:pt x="67" y="6"/>
                  </a:lnTo>
                  <a:lnTo>
                    <a:pt x="54" y="6"/>
                  </a:lnTo>
                  <a:lnTo>
                    <a:pt x="54" y="6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1" y="10"/>
                  </a:lnTo>
                  <a:lnTo>
                    <a:pt x="41" y="10"/>
                  </a:lnTo>
                  <a:lnTo>
                    <a:pt x="37" y="10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1" y="13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4" y="20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17" y="23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0" y="33"/>
                  </a:lnTo>
                  <a:lnTo>
                    <a:pt x="7" y="33"/>
                  </a:lnTo>
                  <a:lnTo>
                    <a:pt x="7" y="33"/>
                  </a:lnTo>
                  <a:lnTo>
                    <a:pt x="0" y="37"/>
                  </a:lnTo>
                  <a:lnTo>
                    <a:pt x="0" y="37"/>
                  </a:lnTo>
                  <a:lnTo>
                    <a:pt x="0" y="43"/>
                  </a:lnTo>
                  <a:lnTo>
                    <a:pt x="0" y="53"/>
                  </a:lnTo>
                  <a:lnTo>
                    <a:pt x="0" y="53"/>
                  </a:lnTo>
                  <a:lnTo>
                    <a:pt x="7" y="57"/>
                  </a:lnTo>
                  <a:lnTo>
                    <a:pt x="7" y="57"/>
                  </a:lnTo>
                  <a:lnTo>
                    <a:pt x="7" y="63"/>
                  </a:lnTo>
                  <a:lnTo>
                    <a:pt x="7" y="67"/>
                  </a:lnTo>
                  <a:lnTo>
                    <a:pt x="7" y="67"/>
                  </a:lnTo>
                  <a:lnTo>
                    <a:pt x="0" y="67"/>
                  </a:lnTo>
                  <a:lnTo>
                    <a:pt x="0" y="67"/>
                  </a:lnTo>
                  <a:lnTo>
                    <a:pt x="0" y="90"/>
                  </a:lnTo>
                  <a:lnTo>
                    <a:pt x="0" y="90"/>
                  </a:lnTo>
                  <a:lnTo>
                    <a:pt x="4" y="87"/>
                  </a:lnTo>
                  <a:lnTo>
                    <a:pt x="4" y="87"/>
                  </a:lnTo>
                  <a:lnTo>
                    <a:pt x="4" y="77"/>
                  </a:lnTo>
                  <a:lnTo>
                    <a:pt x="4" y="77"/>
                  </a:lnTo>
                  <a:lnTo>
                    <a:pt x="10" y="77"/>
                  </a:lnTo>
                  <a:lnTo>
                    <a:pt x="10" y="77"/>
                  </a:lnTo>
                  <a:lnTo>
                    <a:pt x="10" y="84"/>
                  </a:lnTo>
                  <a:lnTo>
                    <a:pt x="14" y="94"/>
                  </a:lnTo>
                  <a:lnTo>
                    <a:pt x="14" y="97"/>
                  </a:lnTo>
                  <a:lnTo>
                    <a:pt x="20" y="97"/>
                  </a:lnTo>
                  <a:lnTo>
                    <a:pt x="24" y="100"/>
                  </a:lnTo>
                  <a:lnTo>
                    <a:pt x="34" y="100"/>
                  </a:lnTo>
                  <a:lnTo>
                    <a:pt x="41" y="97"/>
                  </a:lnTo>
                  <a:lnTo>
                    <a:pt x="47" y="100"/>
                  </a:lnTo>
                  <a:lnTo>
                    <a:pt x="54" y="104"/>
                  </a:lnTo>
                  <a:lnTo>
                    <a:pt x="61" y="100"/>
                  </a:lnTo>
                  <a:lnTo>
                    <a:pt x="67" y="100"/>
                  </a:lnTo>
                  <a:lnTo>
                    <a:pt x="74" y="100"/>
                  </a:lnTo>
                  <a:lnTo>
                    <a:pt x="74" y="100"/>
                  </a:lnTo>
                  <a:lnTo>
                    <a:pt x="74" y="104"/>
                  </a:lnTo>
                  <a:lnTo>
                    <a:pt x="74" y="111"/>
                  </a:lnTo>
                  <a:lnTo>
                    <a:pt x="74" y="111"/>
                  </a:lnTo>
                  <a:lnTo>
                    <a:pt x="74" y="114"/>
                  </a:lnTo>
                  <a:lnTo>
                    <a:pt x="74" y="114"/>
                  </a:lnTo>
                  <a:lnTo>
                    <a:pt x="78" y="117"/>
                  </a:lnTo>
                  <a:lnTo>
                    <a:pt x="78" y="121"/>
                  </a:lnTo>
                  <a:lnTo>
                    <a:pt x="78" y="121"/>
                  </a:lnTo>
                  <a:lnTo>
                    <a:pt x="74" y="127"/>
                  </a:lnTo>
                  <a:lnTo>
                    <a:pt x="74" y="127"/>
                  </a:lnTo>
                  <a:lnTo>
                    <a:pt x="71" y="137"/>
                  </a:lnTo>
                  <a:lnTo>
                    <a:pt x="71" y="141"/>
                  </a:lnTo>
                  <a:lnTo>
                    <a:pt x="71" y="141"/>
                  </a:lnTo>
                  <a:lnTo>
                    <a:pt x="74" y="144"/>
                  </a:lnTo>
                  <a:lnTo>
                    <a:pt x="74" y="147"/>
                  </a:lnTo>
                  <a:lnTo>
                    <a:pt x="74" y="154"/>
                  </a:lnTo>
                  <a:lnTo>
                    <a:pt x="74" y="154"/>
                  </a:lnTo>
                  <a:lnTo>
                    <a:pt x="94" y="151"/>
                  </a:lnTo>
                  <a:lnTo>
                    <a:pt x="94" y="151"/>
                  </a:lnTo>
                  <a:lnTo>
                    <a:pt x="98" y="147"/>
                  </a:lnTo>
                  <a:lnTo>
                    <a:pt x="98" y="147"/>
                  </a:lnTo>
                  <a:lnTo>
                    <a:pt x="104" y="154"/>
                  </a:lnTo>
                  <a:lnTo>
                    <a:pt x="104" y="154"/>
                  </a:lnTo>
                  <a:lnTo>
                    <a:pt x="115" y="154"/>
                  </a:lnTo>
                  <a:lnTo>
                    <a:pt x="115" y="154"/>
                  </a:lnTo>
                  <a:lnTo>
                    <a:pt x="115" y="161"/>
                  </a:lnTo>
                  <a:lnTo>
                    <a:pt x="115" y="168"/>
                  </a:lnTo>
                  <a:lnTo>
                    <a:pt x="115" y="168"/>
                  </a:lnTo>
                  <a:lnTo>
                    <a:pt x="118" y="174"/>
                  </a:lnTo>
                  <a:lnTo>
                    <a:pt x="118" y="178"/>
                  </a:lnTo>
                  <a:lnTo>
                    <a:pt x="118" y="178"/>
                  </a:lnTo>
                  <a:lnTo>
                    <a:pt x="118" y="188"/>
                  </a:lnTo>
                  <a:lnTo>
                    <a:pt x="118" y="188"/>
                  </a:lnTo>
                  <a:close/>
                </a:path>
              </a:pathLst>
            </a:custGeom>
            <a:solidFill>
              <a:srgbClr val="C0C0C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EYInterstate" pitchFamily="2" charset="0"/>
                <a:cs typeface="Arial" charset="0"/>
              </a:endParaRPr>
            </a:p>
          </p:txBody>
        </p:sp>
        <p:sp>
          <p:nvSpPr>
            <p:cNvPr id="34" name="Freeform 48"/>
            <p:cNvSpPr>
              <a:spLocks/>
            </p:cNvSpPr>
            <p:nvPr/>
          </p:nvSpPr>
          <p:spPr bwMode="auto">
            <a:xfrm>
              <a:off x="2833" y="2803"/>
              <a:ext cx="10" cy="21"/>
            </a:xfrm>
            <a:custGeom>
              <a:avLst/>
              <a:gdLst/>
              <a:ahLst/>
              <a:cxnLst>
                <a:cxn ang="0">
                  <a:pos x="10" y="23"/>
                </a:cxn>
                <a:cxn ang="0">
                  <a:pos x="10" y="23"/>
                </a:cxn>
                <a:cxn ang="0">
                  <a:pos x="10" y="20"/>
                </a:cxn>
                <a:cxn ang="0">
                  <a:pos x="10" y="20"/>
                </a:cxn>
                <a:cxn ang="0">
                  <a:pos x="10" y="16"/>
                </a:cxn>
                <a:cxn ang="0">
                  <a:pos x="10" y="16"/>
                </a:cxn>
                <a:cxn ang="0">
                  <a:pos x="10" y="13"/>
                </a:cxn>
                <a:cxn ang="0">
                  <a:pos x="10" y="13"/>
                </a:cxn>
                <a:cxn ang="0">
                  <a:pos x="10" y="10"/>
                </a:cxn>
                <a:cxn ang="0">
                  <a:pos x="10" y="10"/>
                </a:cxn>
                <a:cxn ang="0">
                  <a:pos x="10" y="6"/>
                </a:cxn>
                <a:cxn ang="0">
                  <a:pos x="10" y="6"/>
                </a:cxn>
                <a:cxn ang="0">
                  <a:pos x="10" y="3"/>
                </a:cxn>
                <a:cxn ang="0">
                  <a:pos x="7" y="0"/>
                </a:cxn>
                <a:cxn ang="0">
                  <a:pos x="7" y="0"/>
                </a:cxn>
                <a:cxn ang="0">
                  <a:pos x="3" y="13"/>
                </a:cxn>
                <a:cxn ang="0">
                  <a:pos x="3" y="13"/>
                </a:cxn>
                <a:cxn ang="0">
                  <a:pos x="3" y="16"/>
                </a:cxn>
                <a:cxn ang="0">
                  <a:pos x="3" y="16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3" y="20"/>
                </a:cxn>
                <a:cxn ang="0">
                  <a:pos x="7" y="20"/>
                </a:cxn>
                <a:cxn ang="0">
                  <a:pos x="7" y="20"/>
                </a:cxn>
                <a:cxn ang="0">
                  <a:pos x="10" y="23"/>
                </a:cxn>
                <a:cxn ang="0">
                  <a:pos x="10" y="23"/>
                </a:cxn>
              </a:cxnLst>
              <a:rect l="0" t="0" r="r" b="b"/>
              <a:pathLst>
                <a:path w="10" h="23">
                  <a:moveTo>
                    <a:pt x="10" y="23"/>
                  </a:moveTo>
                  <a:lnTo>
                    <a:pt x="10" y="23"/>
                  </a:lnTo>
                  <a:lnTo>
                    <a:pt x="10" y="20"/>
                  </a:lnTo>
                  <a:lnTo>
                    <a:pt x="10" y="20"/>
                  </a:lnTo>
                  <a:lnTo>
                    <a:pt x="10" y="16"/>
                  </a:lnTo>
                  <a:lnTo>
                    <a:pt x="10" y="16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3"/>
                  </a:lnTo>
                  <a:lnTo>
                    <a:pt x="7" y="0"/>
                  </a:lnTo>
                  <a:lnTo>
                    <a:pt x="7" y="0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3" y="20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10" y="23"/>
                  </a:lnTo>
                  <a:lnTo>
                    <a:pt x="10" y="23"/>
                  </a:lnTo>
                  <a:close/>
                </a:path>
              </a:pathLst>
            </a:custGeom>
            <a:solidFill>
              <a:srgbClr val="C0C0C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EYInterstate" pitchFamily="2" charset="0"/>
                <a:cs typeface="Arial" charset="0"/>
              </a:endParaRPr>
            </a:p>
          </p:txBody>
        </p:sp>
        <p:sp>
          <p:nvSpPr>
            <p:cNvPr id="35" name="Freeform 49"/>
            <p:cNvSpPr>
              <a:spLocks/>
            </p:cNvSpPr>
            <p:nvPr/>
          </p:nvSpPr>
          <p:spPr bwMode="auto">
            <a:xfrm>
              <a:off x="3377" y="2072"/>
              <a:ext cx="311" cy="160"/>
            </a:xfrm>
            <a:custGeom>
              <a:avLst/>
              <a:gdLst/>
              <a:ahLst/>
              <a:cxnLst>
                <a:cxn ang="0">
                  <a:pos x="252" y="165"/>
                </a:cxn>
                <a:cxn ang="0">
                  <a:pos x="258" y="165"/>
                </a:cxn>
                <a:cxn ang="0">
                  <a:pos x="265" y="154"/>
                </a:cxn>
                <a:cxn ang="0">
                  <a:pos x="282" y="151"/>
                </a:cxn>
                <a:cxn ang="0">
                  <a:pos x="295" y="148"/>
                </a:cxn>
                <a:cxn ang="0">
                  <a:pos x="295" y="141"/>
                </a:cxn>
                <a:cxn ang="0">
                  <a:pos x="305" y="128"/>
                </a:cxn>
                <a:cxn ang="0">
                  <a:pos x="309" y="121"/>
                </a:cxn>
                <a:cxn ang="0">
                  <a:pos x="305" y="104"/>
                </a:cxn>
                <a:cxn ang="0">
                  <a:pos x="302" y="97"/>
                </a:cxn>
                <a:cxn ang="0">
                  <a:pos x="295" y="81"/>
                </a:cxn>
                <a:cxn ang="0">
                  <a:pos x="292" y="77"/>
                </a:cxn>
                <a:cxn ang="0">
                  <a:pos x="289" y="77"/>
                </a:cxn>
                <a:cxn ang="0">
                  <a:pos x="285" y="70"/>
                </a:cxn>
                <a:cxn ang="0">
                  <a:pos x="285" y="60"/>
                </a:cxn>
                <a:cxn ang="0">
                  <a:pos x="282" y="47"/>
                </a:cxn>
                <a:cxn ang="0">
                  <a:pos x="278" y="40"/>
                </a:cxn>
                <a:cxn ang="0">
                  <a:pos x="265" y="30"/>
                </a:cxn>
                <a:cxn ang="0">
                  <a:pos x="255" y="23"/>
                </a:cxn>
                <a:cxn ang="0">
                  <a:pos x="242" y="23"/>
                </a:cxn>
                <a:cxn ang="0">
                  <a:pos x="225" y="30"/>
                </a:cxn>
                <a:cxn ang="0">
                  <a:pos x="215" y="30"/>
                </a:cxn>
                <a:cxn ang="0">
                  <a:pos x="205" y="20"/>
                </a:cxn>
                <a:cxn ang="0">
                  <a:pos x="198" y="13"/>
                </a:cxn>
                <a:cxn ang="0">
                  <a:pos x="181" y="3"/>
                </a:cxn>
                <a:cxn ang="0">
                  <a:pos x="174" y="3"/>
                </a:cxn>
                <a:cxn ang="0">
                  <a:pos x="164" y="0"/>
                </a:cxn>
                <a:cxn ang="0">
                  <a:pos x="154" y="3"/>
                </a:cxn>
                <a:cxn ang="0">
                  <a:pos x="134" y="10"/>
                </a:cxn>
                <a:cxn ang="0">
                  <a:pos x="127" y="27"/>
                </a:cxn>
                <a:cxn ang="0">
                  <a:pos x="134" y="67"/>
                </a:cxn>
                <a:cxn ang="0">
                  <a:pos x="114" y="84"/>
                </a:cxn>
                <a:cxn ang="0">
                  <a:pos x="87" y="74"/>
                </a:cxn>
                <a:cxn ang="0">
                  <a:pos x="87" y="57"/>
                </a:cxn>
                <a:cxn ang="0">
                  <a:pos x="73" y="50"/>
                </a:cxn>
                <a:cxn ang="0">
                  <a:pos x="43" y="40"/>
                </a:cxn>
                <a:cxn ang="0">
                  <a:pos x="23" y="57"/>
                </a:cxn>
                <a:cxn ang="0">
                  <a:pos x="16" y="64"/>
                </a:cxn>
                <a:cxn ang="0">
                  <a:pos x="6" y="97"/>
                </a:cxn>
                <a:cxn ang="0">
                  <a:pos x="3" y="151"/>
                </a:cxn>
                <a:cxn ang="0">
                  <a:pos x="6" y="165"/>
                </a:cxn>
                <a:cxn ang="0">
                  <a:pos x="20" y="154"/>
                </a:cxn>
                <a:cxn ang="0">
                  <a:pos x="26" y="151"/>
                </a:cxn>
                <a:cxn ang="0">
                  <a:pos x="33" y="144"/>
                </a:cxn>
                <a:cxn ang="0">
                  <a:pos x="43" y="138"/>
                </a:cxn>
                <a:cxn ang="0">
                  <a:pos x="53" y="134"/>
                </a:cxn>
                <a:cxn ang="0">
                  <a:pos x="73" y="134"/>
                </a:cxn>
                <a:cxn ang="0">
                  <a:pos x="87" y="134"/>
                </a:cxn>
                <a:cxn ang="0">
                  <a:pos x="97" y="138"/>
                </a:cxn>
                <a:cxn ang="0">
                  <a:pos x="107" y="134"/>
                </a:cxn>
                <a:cxn ang="0">
                  <a:pos x="114" y="138"/>
                </a:cxn>
                <a:cxn ang="0">
                  <a:pos x="121" y="138"/>
                </a:cxn>
                <a:cxn ang="0">
                  <a:pos x="141" y="138"/>
                </a:cxn>
                <a:cxn ang="0">
                  <a:pos x="154" y="138"/>
                </a:cxn>
                <a:cxn ang="0">
                  <a:pos x="164" y="131"/>
                </a:cxn>
                <a:cxn ang="0">
                  <a:pos x="174" y="141"/>
                </a:cxn>
                <a:cxn ang="0">
                  <a:pos x="198" y="148"/>
                </a:cxn>
                <a:cxn ang="0">
                  <a:pos x="215" y="161"/>
                </a:cxn>
                <a:cxn ang="0">
                  <a:pos x="228" y="168"/>
                </a:cxn>
                <a:cxn ang="0">
                  <a:pos x="238" y="171"/>
                </a:cxn>
              </a:cxnLst>
              <a:rect l="0" t="0" r="r" b="b"/>
              <a:pathLst>
                <a:path w="309" h="171">
                  <a:moveTo>
                    <a:pt x="248" y="171"/>
                  </a:moveTo>
                  <a:lnTo>
                    <a:pt x="248" y="171"/>
                  </a:lnTo>
                  <a:lnTo>
                    <a:pt x="248" y="168"/>
                  </a:lnTo>
                  <a:lnTo>
                    <a:pt x="252" y="165"/>
                  </a:lnTo>
                  <a:lnTo>
                    <a:pt x="252" y="165"/>
                  </a:lnTo>
                  <a:lnTo>
                    <a:pt x="255" y="165"/>
                  </a:lnTo>
                  <a:lnTo>
                    <a:pt x="255" y="165"/>
                  </a:lnTo>
                  <a:lnTo>
                    <a:pt x="258" y="165"/>
                  </a:lnTo>
                  <a:lnTo>
                    <a:pt x="258" y="161"/>
                  </a:lnTo>
                  <a:lnTo>
                    <a:pt x="262" y="158"/>
                  </a:lnTo>
                  <a:lnTo>
                    <a:pt x="265" y="154"/>
                  </a:lnTo>
                  <a:lnTo>
                    <a:pt x="265" y="154"/>
                  </a:lnTo>
                  <a:lnTo>
                    <a:pt x="272" y="154"/>
                  </a:lnTo>
                  <a:lnTo>
                    <a:pt x="272" y="154"/>
                  </a:lnTo>
                  <a:lnTo>
                    <a:pt x="278" y="151"/>
                  </a:lnTo>
                  <a:lnTo>
                    <a:pt x="282" y="151"/>
                  </a:lnTo>
                  <a:lnTo>
                    <a:pt x="282" y="151"/>
                  </a:lnTo>
                  <a:lnTo>
                    <a:pt x="289" y="148"/>
                  </a:lnTo>
                  <a:lnTo>
                    <a:pt x="295" y="148"/>
                  </a:lnTo>
                  <a:lnTo>
                    <a:pt x="295" y="148"/>
                  </a:lnTo>
                  <a:lnTo>
                    <a:pt x="295" y="148"/>
                  </a:lnTo>
                  <a:lnTo>
                    <a:pt x="295" y="144"/>
                  </a:lnTo>
                  <a:lnTo>
                    <a:pt x="295" y="141"/>
                  </a:lnTo>
                  <a:lnTo>
                    <a:pt x="295" y="141"/>
                  </a:lnTo>
                  <a:lnTo>
                    <a:pt x="299" y="134"/>
                  </a:lnTo>
                  <a:lnTo>
                    <a:pt x="302" y="131"/>
                  </a:lnTo>
                  <a:lnTo>
                    <a:pt x="302" y="131"/>
                  </a:lnTo>
                  <a:lnTo>
                    <a:pt x="305" y="128"/>
                  </a:lnTo>
                  <a:lnTo>
                    <a:pt x="305" y="128"/>
                  </a:lnTo>
                  <a:lnTo>
                    <a:pt x="305" y="124"/>
                  </a:lnTo>
                  <a:lnTo>
                    <a:pt x="305" y="124"/>
                  </a:lnTo>
                  <a:lnTo>
                    <a:pt x="309" y="121"/>
                  </a:lnTo>
                  <a:lnTo>
                    <a:pt x="309" y="121"/>
                  </a:lnTo>
                  <a:lnTo>
                    <a:pt x="309" y="111"/>
                  </a:lnTo>
                  <a:lnTo>
                    <a:pt x="309" y="111"/>
                  </a:lnTo>
                  <a:lnTo>
                    <a:pt x="305" y="104"/>
                  </a:lnTo>
                  <a:lnTo>
                    <a:pt x="305" y="104"/>
                  </a:lnTo>
                  <a:lnTo>
                    <a:pt x="305" y="101"/>
                  </a:lnTo>
                  <a:lnTo>
                    <a:pt x="302" y="97"/>
                  </a:lnTo>
                  <a:lnTo>
                    <a:pt x="302" y="97"/>
                  </a:lnTo>
                  <a:lnTo>
                    <a:pt x="299" y="91"/>
                  </a:lnTo>
                  <a:lnTo>
                    <a:pt x="299" y="91"/>
                  </a:lnTo>
                  <a:lnTo>
                    <a:pt x="299" y="84"/>
                  </a:lnTo>
                  <a:lnTo>
                    <a:pt x="295" y="81"/>
                  </a:lnTo>
                  <a:lnTo>
                    <a:pt x="295" y="81"/>
                  </a:lnTo>
                  <a:lnTo>
                    <a:pt x="292" y="81"/>
                  </a:lnTo>
                  <a:lnTo>
                    <a:pt x="292" y="77"/>
                  </a:lnTo>
                  <a:lnTo>
                    <a:pt x="292" y="77"/>
                  </a:lnTo>
                  <a:lnTo>
                    <a:pt x="292" y="74"/>
                  </a:lnTo>
                  <a:lnTo>
                    <a:pt x="292" y="74"/>
                  </a:lnTo>
                  <a:lnTo>
                    <a:pt x="289" y="74"/>
                  </a:lnTo>
                  <a:lnTo>
                    <a:pt x="289" y="77"/>
                  </a:lnTo>
                  <a:lnTo>
                    <a:pt x="285" y="77"/>
                  </a:lnTo>
                  <a:lnTo>
                    <a:pt x="285" y="77"/>
                  </a:lnTo>
                  <a:lnTo>
                    <a:pt x="285" y="77"/>
                  </a:lnTo>
                  <a:lnTo>
                    <a:pt x="285" y="70"/>
                  </a:lnTo>
                  <a:lnTo>
                    <a:pt x="289" y="67"/>
                  </a:lnTo>
                  <a:lnTo>
                    <a:pt x="289" y="67"/>
                  </a:lnTo>
                  <a:lnTo>
                    <a:pt x="285" y="60"/>
                  </a:lnTo>
                  <a:lnTo>
                    <a:pt x="285" y="60"/>
                  </a:lnTo>
                  <a:lnTo>
                    <a:pt x="278" y="54"/>
                  </a:lnTo>
                  <a:lnTo>
                    <a:pt x="278" y="54"/>
                  </a:lnTo>
                  <a:lnTo>
                    <a:pt x="282" y="50"/>
                  </a:lnTo>
                  <a:lnTo>
                    <a:pt x="282" y="47"/>
                  </a:lnTo>
                  <a:lnTo>
                    <a:pt x="282" y="47"/>
                  </a:lnTo>
                  <a:lnTo>
                    <a:pt x="282" y="47"/>
                  </a:lnTo>
                  <a:lnTo>
                    <a:pt x="278" y="40"/>
                  </a:lnTo>
                  <a:lnTo>
                    <a:pt x="278" y="40"/>
                  </a:lnTo>
                  <a:lnTo>
                    <a:pt x="272" y="37"/>
                  </a:lnTo>
                  <a:lnTo>
                    <a:pt x="265" y="34"/>
                  </a:lnTo>
                  <a:lnTo>
                    <a:pt x="265" y="34"/>
                  </a:lnTo>
                  <a:lnTo>
                    <a:pt x="265" y="30"/>
                  </a:lnTo>
                  <a:lnTo>
                    <a:pt x="262" y="27"/>
                  </a:lnTo>
                  <a:lnTo>
                    <a:pt x="262" y="27"/>
                  </a:lnTo>
                  <a:lnTo>
                    <a:pt x="258" y="23"/>
                  </a:lnTo>
                  <a:lnTo>
                    <a:pt x="255" y="23"/>
                  </a:lnTo>
                  <a:lnTo>
                    <a:pt x="255" y="23"/>
                  </a:lnTo>
                  <a:lnTo>
                    <a:pt x="248" y="23"/>
                  </a:lnTo>
                  <a:lnTo>
                    <a:pt x="248" y="23"/>
                  </a:lnTo>
                  <a:lnTo>
                    <a:pt x="242" y="23"/>
                  </a:lnTo>
                  <a:lnTo>
                    <a:pt x="235" y="23"/>
                  </a:lnTo>
                  <a:lnTo>
                    <a:pt x="235" y="23"/>
                  </a:lnTo>
                  <a:lnTo>
                    <a:pt x="231" y="27"/>
                  </a:lnTo>
                  <a:lnTo>
                    <a:pt x="225" y="30"/>
                  </a:lnTo>
                  <a:lnTo>
                    <a:pt x="225" y="30"/>
                  </a:lnTo>
                  <a:lnTo>
                    <a:pt x="218" y="30"/>
                  </a:lnTo>
                  <a:lnTo>
                    <a:pt x="218" y="30"/>
                  </a:lnTo>
                  <a:lnTo>
                    <a:pt x="215" y="30"/>
                  </a:lnTo>
                  <a:lnTo>
                    <a:pt x="215" y="30"/>
                  </a:lnTo>
                  <a:lnTo>
                    <a:pt x="211" y="27"/>
                  </a:lnTo>
                  <a:lnTo>
                    <a:pt x="211" y="27"/>
                  </a:lnTo>
                  <a:lnTo>
                    <a:pt x="205" y="20"/>
                  </a:lnTo>
                  <a:lnTo>
                    <a:pt x="205" y="20"/>
                  </a:lnTo>
                  <a:lnTo>
                    <a:pt x="205" y="17"/>
                  </a:lnTo>
                  <a:lnTo>
                    <a:pt x="205" y="17"/>
                  </a:lnTo>
                  <a:lnTo>
                    <a:pt x="198" y="13"/>
                  </a:lnTo>
                  <a:lnTo>
                    <a:pt x="198" y="13"/>
                  </a:lnTo>
                  <a:lnTo>
                    <a:pt x="188" y="10"/>
                  </a:lnTo>
                  <a:lnTo>
                    <a:pt x="188" y="10"/>
                  </a:lnTo>
                  <a:lnTo>
                    <a:pt x="181" y="3"/>
                  </a:lnTo>
                  <a:lnTo>
                    <a:pt x="174" y="0"/>
                  </a:lnTo>
                  <a:lnTo>
                    <a:pt x="174" y="0"/>
                  </a:lnTo>
                  <a:lnTo>
                    <a:pt x="174" y="3"/>
                  </a:lnTo>
                  <a:lnTo>
                    <a:pt x="174" y="3"/>
                  </a:lnTo>
                  <a:lnTo>
                    <a:pt x="171" y="0"/>
                  </a:lnTo>
                  <a:lnTo>
                    <a:pt x="168" y="0"/>
                  </a:lnTo>
                  <a:lnTo>
                    <a:pt x="168" y="0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61" y="0"/>
                  </a:lnTo>
                  <a:lnTo>
                    <a:pt x="161" y="0"/>
                  </a:lnTo>
                  <a:lnTo>
                    <a:pt x="154" y="3"/>
                  </a:lnTo>
                  <a:lnTo>
                    <a:pt x="154" y="3"/>
                  </a:lnTo>
                  <a:lnTo>
                    <a:pt x="144" y="7"/>
                  </a:lnTo>
                  <a:lnTo>
                    <a:pt x="144" y="7"/>
                  </a:lnTo>
                  <a:lnTo>
                    <a:pt x="134" y="10"/>
                  </a:lnTo>
                  <a:lnTo>
                    <a:pt x="127" y="10"/>
                  </a:lnTo>
                  <a:lnTo>
                    <a:pt x="127" y="10"/>
                  </a:lnTo>
                  <a:lnTo>
                    <a:pt x="127" y="27"/>
                  </a:lnTo>
                  <a:lnTo>
                    <a:pt x="127" y="27"/>
                  </a:lnTo>
                  <a:lnTo>
                    <a:pt x="131" y="40"/>
                  </a:lnTo>
                  <a:lnTo>
                    <a:pt x="131" y="40"/>
                  </a:lnTo>
                  <a:lnTo>
                    <a:pt x="134" y="57"/>
                  </a:lnTo>
                  <a:lnTo>
                    <a:pt x="134" y="67"/>
                  </a:lnTo>
                  <a:lnTo>
                    <a:pt x="131" y="74"/>
                  </a:lnTo>
                  <a:lnTo>
                    <a:pt x="131" y="74"/>
                  </a:lnTo>
                  <a:lnTo>
                    <a:pt x="124" y="81"/>
                  </a:lnTo>
                  <a:lnTo>
                    <a:pt x="114" y="84"/>
                  </a:lnTo>
                  <a:lnTo>
                    <a:pt x="100" y="84"/>
                  </a:lnTo>
                  <a:lnTo>
                    <a:pt x="90" y="81"/>
                  </a:lnTo>
                  <a:lnTo>
                    <a:pt x="90" y="81"/>
                  </a:lnTo>
                  <a:lnTo>
                    <a:pt x="87" y="74"/>
                  </a:lnTo>
                  <a:lnTo>
                    <a:pt x="87" y="70"/>
                  </a:lnTo>
                  <a:lnTo>
                    <a:pt x="87" y="64"/>
                  </a:lnTo>
                  <a:lnTo>
                    <a:pt x="87" y="57"/>
                  </a:lnTo>
                  <a:lnTo>
                    <a:pt x="87" y="57"/>
                  </a:lnTo>
                  <a:lnTo>
                    <a:pt x="84" y="57"/>
                  </a:lnTo>
                  <a:lnTo>
                    <a:pt x="80" y="57"/>
                  </a:lnTo>
                  <a:lnTo>
                    <a:pt x="80" y="57"/>
                  </a:lnTo>
                  <a:lnTo>
                    <a:pt x="73" y="50"/>
                  </a:lnTo>
                  <a:lnTo>
                    <a:pt x="67" y="47"/>
                  </a:lnTo>
                  <a:lnTo>
                    <a:pt x="60" y="30"/>
                  </a:lnTo>
                  <a:lnTo>
                    <a:pt x="60" y="30"/>
                  </a:lnTo>
                  <a:lnTo>
                    <a:pt x="43" y="40"/>
                  </a:lnTo>
                  <a:lnTo>
                    <a:pt x="30" y="47"/>
                  </a:lnTo>
                  <a:lnTo>
                    <a:pt x="26" y="47"/>
                  </a:lnTo>
                  <a:lnTo>
                    <a:pt x="26" y="47"/>
                  </a:lnTo>
                  <a:lnTo>
                    <a:pt x="23" y="57"/>
                  </a:lnTo>
                  <a:lnTo>
                    <a:pt x="23" y="57"/>
                  </a:lnTo>
                  <a:lnTo>
                    <a:pt x="20" y="60"/>
                  </a:lnTo>
                  <a:lnTo>
                    <a:pt x="16" y="64"/>
                  </a:lnTo>
                  <a:lnTo>
                    <a:pt x="16" y="64"/>
                  </a:lnTo>
                  <a:lnTo>
                    <a:pt x="16" y="77"/>
                  </a:lnTo>
                  <a:lnTo>
                    <a:pt x="13" y="91"/>
                  </a:lnTo>
                  <a:lnTo>
                    <a:pt x="13" y="91"/>
                  </a:lnTo>
                  <a:lnTo>
                    <a:pt x="6" y="97"/>
                  </a:lnTo>
                  <a:lnTo>
                    <a:pt x="3" y="104"/>
                  </a:lnTo>
                  <a:lnTo>
                    <a:pt x="3" y="104"/>
                  </a:lnTo>
                  <a:lnTo>
                    <a:pt x="0" y="128"/>
                  </a:lnTo>
                  <a:lnTo>
                    <a:pt x="3" y="151"/>
                  </a:lnTo>
                  <a:lnTo>
                    <a:pt x="3" y="151"/>
                  </a:lnTo>
                  <a:lnTo>
                    <a:pt x="6" y="161"/>
                  </a:lnTo>
                  <a:lnTo>
                    <a:pt x="6" y="165"/>
                  </a:lnTo>
                  <a:lnTo>
                    <a:pt x="6" y="165"/>
                  </a:lnTo>
                  <a:lnTo>
                    <a:pt x="13" y="161"/>
                  </a:lnTo>
                  <a:lnTo>
                    <a:pt x="13" y="161"/>
                  </a:lnTo>
                  <a:lnTo>
                    <a:pt x="16" y="161"/>
                  </a:lnTo>
                  <a:lnTo>
                    <a:pt x="20" y="154"/>
                  </a:lnTo>
                  <a:lnTo>
                    <a:pt x="20" y="154"/>
                  </a:lnTo>
                  <a:lnTo>
                    <a:pt x="23" y="151"/>
                  </a:lnTo>
                  <a:lnTo>
                    <a:pt x="26" y="151"/>
                  </a:lnTo>
                  <a:lnTo>
                    <a:pt x="26" y="151"/>
                  </a:lnTo>
                  <a:lnTo>
                    <a:pt x="26" y="151"/>
                  </a:lnTo>
                  <a:lnTo>
                    <a:pt x="30" y="148"/>
                  </a:lnTo>
                  <a:lnTo>
                    <a:pt x="33" y="144"/>
                  </a:lnTo>
                  <a:lnTo>
                    <a:pt x="33" y="144"/>
                  </a:lnTo>
                  <a:lnTo>
                    <a:pt x="37" y="141"/>
                  </a:lnTo>
                  <a:lnTo>
                    <a:pt x="40" y="138"/>
                  </a:lnTo>
                  <a:lnTo>
                    <a:pt x="40" y="138"/>
                  </a:lnTo>
                  <a:lnTo>
                    <a:pt x="43" y="138"/>
                  </a:lnTo>
                  <a:lnTo>
                    <a:pt x="47" y="138"/>
                  </a:lnTo>
                  <a:lnTo>
                    <a:pt x="47" y="138"/>
                  </a:lnTo>
                  <a:lnTo>
                    <a:pt x="53" y="134"/>
                  </a:lnTo>
                  <a:lnTo>
                    <a:pt x="53" y="134"/>
                  </a:lnTo>
                  <a:lnTo>
                    <a:pt x="60" y="134"/>
                  </a:lnTo>
                  <a:lnTo>
                    <a:pt x="60" y="134"/>
                  </a:lnTo>
                  <a:lnTo>
                    <a:pt x="73" y="134"/>
                  </a:lnTo>
                  <a:lnTo>
                    <a:pt x="73" y="134"/>
                  </a:lnTo>
                  <a:lnTo>
                    <a:pt x="80" y="138"/>
                  </a:lnTo>
                  <a:lnTo>
                    <a:pt x="80" y="138"/>
                  </a:lnTo>
                  <a:lnTo>
                    <a:pt x="84" y="134"/>
                  </a:lnTo>
                  <a:lnTo>
                    <a:pt x="87" y="134"/>
                  </a:lnTo>
                  <a:lnTo>
                    <a:pt x="90" y="134"/>
                  </a:lnTo>
                  <a:lnTo>
                    <a:pt x="90" y="134"/>
                  </a:lnTo>
                  <a:lnTo>
                    <a:pt x="94" y="138"/>
                  </a:lnTo>
                  <a:lnTo>
                    <a:pt x="97" y="138"/>
                  </a:lnTo>
                  <a:lnTo>
                    <a:pt x="97" y="138"/>
                  </a:lnTo>
                  <a:lnTo>
                    <a:pt x="104" y="134"/>
                  </a:lnTo>
                  <a:lnTo>
                    <a:pt x="104" y="134"/>
                  </a:lnTo>
                  <a:lnTo>
                    <a:pt x="107" y="134"/>
                  </a:lnTo>
                  <a:lnTo>
                    <a:pt x="107" y="134"/>
                  </a:lnTo>
                  <a:lnTo>
                    <a:pt x="107" y="134"/>
                  </a:lnTo>
                  <a:lnTo>
                    <a:pt x="114" y="138"/>
                  </a:lnTo>
                  <a:lnTo>
                    <a:pt x="114" y="138"/>
                  </a:lnTo>
                  <a:lnTo>
                    <a:pt x="114" y="138"/>
                  </a:lnTo>
                  <a:lnTo>
                    <a:pt x="114" y="138"/>
                  </a:lnTo>
                  <a:lnTo>
                    <a:pt x="114" y="138"/>
                  </a:lnTo>
                  <a:lnTo>
                    <a:pt x="121" y="138"/>
                  </a:lnTo>
                  <a:lnTo>
                    <a:pt x="131" y="138"/>
                  </a:lnTo>
                  <a:lnTo>
                    <a:pt x="131" y="138"/>
                  </a:lnTo>
                  <a:lnTo>
                    <a:pt x="134" y="138"/>
                  </a:lnTo>
                  <a:lnTo>
                    <a:pt x="141" y="138"/>
                  </a:lnTo>
                  <a:lnTo>
                    <a:pt x="141" y="138"/>
                  </a:lnTo>
                  <a:lnTo>
                    <a:pt x="147" y="138"/>
                  </a:lnTo>
                  <a:lnTo>
                    <a:pt x="147" y="138"/>
                  </a:lnTo>
                  <a:lnTo>
                    <a:pt x="154" y="138"/>
                  </a:lnTo>
                  <a:lnTo>
                    <a:pt x="157" y="131"/>
                  </a:lnTo>
                  <a:lnTo>
                    <a:pt x="161" y="128"/>
                  </a:lnTo>
                  <a:lnTo>
                    <a:pt x="164" y="131"/>
                  </a:lnTo>
                  <a:lnTo>
                    <a:pt x="164" y="131"/>
                  </a:lnTo>
                  <a:lnTo>
                    <a:pt x="168" y="134"/>
                  </a:lnTo>
                  <a:lnTo>
                    <a:pt x="171" y="138"/>
                  </a:lnTo>
                  <a:lnTo>
                    <a:pt x="171" y="138"/>
                  </a:lnTo>
                  <a:lnTo>
                    <a:pt x="174" y="141"/>
                  </a:lnTo>
                  <a:lnTo>
                    <a:pt x="178" y="144"/>
                  </a:lnTo>
                  <a:lnTo>
                    <a:pt x="178" y="144"/>
                  </a:lnTo>
                  <a:lnTo>
                    <a:pt x="188" y="148"/>
                  </a:lnTo>
                  <a:lnTo>
                    <a:pt x="198" y="148"/>
                  </a:lnTo>
                  <a:lnTo>
                    <a:pt x="198" y="148"/>
                  </a:lnTo>
                  <a:lnTo>
                    <a:pt x="211" y="158"/>
                  </a:lnTo>
                  <a:lnTo>
                    <a:pt x="211" y="158"/>
                  </a:lnTo>
                  <a:lnTo>
                    <a:pt x="215" y="161"/>
                  </a:lnTo>
                  <a:lnTo>
                    <a:pt x="218" y="161"/>
                  </a:lnTo>
                  <a:lnTo>
                    <a:pt x="218" y="161"/>
                  </a:lnTo>
                  <a:lnTo>
                    <a:pt x="225" y="165"/>
                  </a:lnTo>
                  <a:lnTo>
                    <a:pt x="228" y="168"/>
                  </a:lnTo>
                  <a:lnTo>
                    <a:pt x="228" y="168"/>
                  </a:lnTo>
                  <a:lnTo>
                    <a:pt x="231" y="171"/>
                  </a:lnTo>
                  <a:lnTo>
                    <a:pt x="238" y="171"/>
                  </a:lnTo>
                  <a:lnTo>
                    <a:pt x="238" y="171"/>
                  </a:lnTo>
                  <a:lnTo>
                    <a:pt x="248" y="171"/>
                  </a:lnTo>
                  <a:lnTo>
                    <a:pt x="248" y="171"/>
                  </a:lnTo>
                  <a:close/>
                </a:path>
              </a:pathLst>
            </a:custGeom>
            <a:solidFill>
              <a:srgbClr val="C0C0C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EYInterstate" pitchFamily="2" charset="0"/>
                <a:cs typeface="Arial" charset="0"/>
              </a:endParaRPr>
            </a:p>
          </p:txBody>
        </p:sp>
        <p:sp>
          <p:nvSpPr>
            <p:cNvPr id="36" name="Freeform 50"/>
            <p:cNvSpPr>
              <a:spLocks noEditPoints="1"/>
            </p:cNvSpPr>
            <p:nvPr/>
          </p:nvSpPr>
          <p:spPr bwMode="auto">
            <a:xfrm>
              <a:off x="2657" y="2834"/>
              <a:ext cx="611" cy="717"/>
            </a:xfrm>
            <a:custGeom>
              <a:avLst/>
              <a:gdLst/>
              <a:ahLst/>
              <a:cxnLst>
                <a:cxn ang="0">
                  <a:pos x="91" y="414"/>
                </a:cxn>
                <a:cxn ang="0">
                  <a:pos x="44" y="467"/>
                </a:cxn>
                <a:cxn ang="0">
                  <a:pos x="44" y="508"/>
                </a:cxn>
                <a:cxn ang="0">
                  <a:pos x="34" y="561"/>
                </a:cxn>
                <a:cxn ang="0">
                  <a:pos x="78" y="555"/>
                </a:cxn>
                <a:cxn ang="0">
                  <a:pos x="111" y="504"/>
                </a:cxn>
                <a:cxn ang="0">
                  <a:pos x="605" y="535"/>
                </a:cxn>
                <a:cxn ang="0">
                  <a:pos x="562" y="474"/>
                </a:cxn>
                <a:cxn ang="0">
                  <a:pos x="498" y="434"/>
                </a:cxn>
                <a:cxn ang="0">
                  <a:pos x="478" y="387"/>
                </a:cxn>
                <a:cxn ang="0">
                  <a:pos x="390" y="343"/>
                </a:cxn>
                <a:cxn ang="0">
                  <a:pos x="353" y="262"/>
                </a:cxn>
                <a:cxn ang="0">
                  <a:pos x="293" y="168"/>
                </a:cxn>
                <a:cxn ang="0">
                  <a:pos x="299" y="121"/>
                </a:cxn>
                <a:cxn ang="0">
                  <a:pos x="367" y="98"/>
                </a:cxn>
                <a:cxn ang="0">
                  <a:pos x="377" y="104"/>
                </a:cxn>
                <a:cxn ang="0">
                  <a:pos x="370" y="81"/>
                </a:cxn>
                <a:cxn ang="0">
                  <a:pos x="363" y="64"/>
                </a:cxn>
                <a:cxn ang="0">
                  <a:pos x="353" y="47"/>
                </a:cxn>
                <a:cxn ang="0">
                  <a:pos x="313" y="24"/>
                </a:cxn>
                <a:cxn ang="0">
                  <a:pos x="313" y="0"/>
                </a:cxn>
                <a:cxn ang="0">
                  <a:pos x="266" y="7"/>
                </a:cxn>
                <a:cxn ang="0">
                  <a:pos x="232" y="4"/>
                </a:cxn>
                <a:cxn ang="0">
                  <a:pos x="212" y="24"/>
                </a:cxn>
                <a:cxn ang="0">
                  <a:pos x="202" y="34"/>
                </a:cxn>
                <a:cxn ang="0">
                  <a:pos x="189" y="30"/>
                </a:cxn>
                <a:cxn ang="0">
                  <a:pos x="168" y="17"/>
                </a:cxn>
                <a:cxn ang="0">
                  <a:pos x="148" y="44"/>
                </a:cxn>
                <a:cxn ang="0">
                  <a:pos x="131" y="51"/>
                </a:cxn>
                <a:cxn ang="0">
                  <a:pos x="108" y="41"/>
                </a:cxn>
                <a:cxn ang="0">
                  <a:pos x="101" y="24"/>
                </a:cxn>
                <a:cxn ang="0">
                  <a:pos x="81" y="30"/>
                </a:cxn>
                <a:cxn ang="0">
                  <a:pos x="57" y="41"/>
                </a:cxn>
                <a:cxn ang="0">
                  <a:pos x="27" y="44"/>
                </a:cxn>
                <a:cxn ang="0">
                  <a:pos x="31" y="71"/>
                </a:cxn>
                <a:cxn ang="0">
                  <a:pos x="0" y="94"/>
                </a:cxn>
                <a:cxn ang="0">
                  <a:pos x="24" y="121"/>
                </a:cxn>
                <a:cxn ang="0">
                  <a:pos x="31" y="168"/>
                </a:cxn>
                <a:cxn ang="0">
                  <a:pos x="41" y="198"/>
                </a:cxn>
                <a:cxn ang="0">
                  <a:pos x="84" y="188"/>
                </a:cxn>
                <a:cxn ang="0">
                  <a:pos x="128" y="178"/>
                </a:cxn>
                <a:cxn ang="0">
                  <a:pos x="182" y="242"/>
                </a:cxn>
                <a:cxn ang="0">
                  <a:pos x="215" y="326"/>
                </a:cxn>
                <a:cxn ang="0">
                  <a:pos x="293" y="410"/>
                </a:cxn>
                <a:cxn ang="0">
                  <a:pos x="357" y="461"/>
                </a:cxn>
                <a:cxn ang="0">
                  <a:pos x="404" y="508"/>
                </a:cxn>
                <a:cxn ang="0">
                  <a:pos x="457" y="565"/>
                </a:cxn>
                <a:cxn ang="0">
                  <a:pos x="451" y="625"/>
                </a:cxn>
                <a:cxn ang="0">
                  <a:pos x="457" y="682"/>
                </a:cxn>
                <a:cxn ang="0">
                  <a:pos x="518" y="605"/>
                </a:cxn>
                <a:cxn ang="0">
                  <a:pos x="518" y="565"/>
                </a:cxn>
                <a:cxn ang="0">
                  <a:pos x="528" y="494"/>
                </a:cxn>
                <a:cxn ang="0">
                  <a:pos x="578" y="518"/>
                </a:cxn>
                <a:cxn ang="0">
                  <a:pos x="424" y="672"/>
                </a:cxn>
                <a:cxn ang="0">
                  <a:pos x="414" y="740"/>
                </a:cxn>
                <a:cxn ang="0">
                  <a:pos x="343" y="736"/>
                </a:cxn>
                <a:cxn ang="0">
                  <a:pos x="256" y="659"/>
                </a:cxn>
                <a:cxn ang="0">
                  <a:pos x="296" y="649"/>
                </a:cxn>
                <a:cxn ang="0">
                  <a:pos x="350" y="666"/>
                </a:cxn>
                <a:cxn ang="0">
                  <a:pos x="427" y="652"/>
                </a:cxn>
              </a:cxnLst>
              <a:rect l="0" t="0" r="r" b="b"/>
              <a:pathLst>
                <a:path w="609" h="766">
                  <a:moveTo>
                    <a:pt x="24" y="565"/>
                  </a:moveTo>
                  <a:lnTo>
                    <a:pt x="24" y="565"/>
                  </a:lnTo>
                  <a:lnTo>
                    <a:pt x="24" y="565"/>
                  </a:lnTo>
                  <a:lnTo>
                    <a:pt x="24" y="565"/>
                  </a:lnTo>
                  <a:close/>
                  <a:moveTo>
                    <a:pt x="115" y="420"/>
                  </a:moveTo>
                  <a:lnTo>
                    <a:pt x="115" y="420"/>
                  </a:lnTo>
                  <a:lnTo>
                    <a:pt x="111" y="420"/>
                  </a:lnTo>
                  <a:lnTo>
                    <a:pt x="108" y="417"/>
                  </a:lnTo>
                  <a:lnTo>
                    <a:pt x="108" y="414"/>
                  </a:lnTo>
                  <a:lnTo>
                    <a:pt x="108" y="414"/>
                  </a:lnTo>
                  <a:lnTo>
                    <a:pt x="105" y="410"/>
                  </a:lnTo>
                  <a:lnTo>
                    <a:pt x="101" y="410"/>
                  </a:lnTo>
                  <a:lnTo>
                    <a:pt x="91" y="407"/>
                  </a:lnTo>
                  <a:lnTo>
                    <a:pt x="91" y="407"/>
                  </a:lnTo>
                  <a:lnTo>
                    <a:pt x="91" y="414"/>
                  </a:lnTo>
                  <a:lnTo>
                    <a:pt x="91" y="414"/>
                  </a:lnTo>
                  <a:lnTo>
                    <a:pt x="71" y="424"/>
                  </a:lnTo>
                  <a:lnTo>
                    <a:pt x="57" y="430"/>
                  </a:lnTo>
                  <a:lnTo>
                    <a:pt x="47" y="430"/>
                  </a:lnTo>
                  <a:lnTo>
                    <a:pt x="47" y="430"/>
                  </a:lnTo>
                  <a:lnTo>
                    <a:pt x="41" y="427"/>
                  </a:lnTo>
                  <a:lnTo>
                    <a:pt x="37" y="424"/>
                  </a:lnTo>
                  <a:lnTo>
                    <a:pt x="37" y="424"/>
                  </a:lnTo>
                  <a:lnTo>
                    <a:pt x="31" y="451"/>
                  </a:lnTo>
                  <a:lnTo>
                    <a:pt x="31" y="451"/>
                  </a:lnTo>
                  <a:lnTo>
                    <a:pt x="34" y="451"/>
                  </a:lnTo>
                  <a:lnTo>
                    <a:pt x="37" y="447"/>
                  </a:lnTo>
                  <a:lnTo>
                    <a:pt x="37" y="447"/>
                  </a:lnTo>
                  <a:lnTo>
                    <a:pt x="41" y="457"/>
                  </a:lnTo>
                  <a:lnTo>
                    <a:pt x="44" y="467"/>
                  </a:lnTo>
                  <a:lnTo>
                    <a:pt x="44" y="467"/>
                  </a:lnTo>
                  <a:lnTo>
                    <a:pt x="44" y="481"/>
                  </a:lnTo>
                  <a:lnTo>
                    <a:pt x="41" y="487"/>
                  </a:lnTo>
                  <a:lnTo>
                    <a:pt x="41" y="487"/>
                  </a:lnTo>
                  <a:lnTo>
                    <a:pt x="37" y="487"/>
                  </a:lnTo>
                  <a:lnTo>
                    <a:pt x="37" y="487"/>
                  </a:lnTo>
                  <a:lnTo>
                    <a:pt x="37" y="487"/>
                  </a:lnTo>
                  <a:lnTo>
                    <a:pt x="37" y="487"/>
                  </a:lnTo>
                  <a:lnTo>
                    <a:pt x="37" y="498"/>
                  </a:lnTo>
                  <a:lnTo>
                    <a:pt x="37" y="501"/>
                  </a:lnTo>
                  <a:lnTo>
                    <a:pt x="37" y="501"/>
                  </a:lnTo>
                  <a:lnTo>
                    <a:pt x="41" y="501"/>
                  </a:lnTo>
                  <a:lnTo>
                    <a:pt x="41" y="501"/>
                  </a:lnTo>
                  <a:lnTo>
                    <a:pt x="44" y="508"/>
                  </a:lnTo>
                  <a:lnTo>
                    <a:pt x="44" y="508"/>
                  </a:lnTo>
                  <a:lnTo>
                    <a:pt x="41" y="508"/>
                  </a:lnTo>
                  <a:lnTo>
                    <a:pt x="41" y="504"/>
                  </a:lnTo>
                  <a:lnTo>
                    <a:pt x="37" y="504"/>
                  </a:lnTo>
                  <a:lnTo>
                    <a:pt x="37" y="504"/>
                  </a:lnTo>
                  <a:lnTo>
                    <a:pt x="34" y="518"/>
                  </a:lnTo>
                  <a:lnTo>
                    <a:pt x="34" y="518"/>
                  </a:lnTo>
                  <a:lnTo>
                    <a:pt x="27" y="555"/>
                  </a:lnTo>
                  <a:lnTo>
                    <a:pt x="27" y="555"/>
                  </a:lnTo>
                  <a:lnTo>
                    <a:pt x="21" y="555"/>
                  </a:lnTo>
                  <a:lnTo>
                    <a:pt x="21" y="555"/>
                  </a:lnTo>
                  <a:lnTo>
                    <a:pt x="24" y="561"/>
                  </a:lnTo>
                  <a:lnTo>
                    <a:pt x="24" y="565"/>
                  </a:lnTo>
                  <a:lnTo>
                    <a:pt x="24" y="565"/>
                  </a:lnTo>
                  <a:lnTo>
                    <a:pt x="34" y="561"/>
                  </a:lnTo>
                  <a:lnTo>
                    <a:pt x="34" y="561"/>
                  </a:lnTo>
                  <a:lnTo>
                    <a:pt x="34" y="565"/>
                  </a:lnTo>
                  <a:lnTo>
                    <a:pt x="37" y="568"/>
                  </a:lnTo>
                  <a:lnTo>
                    <a:pt x="37" y="568"/>
                  </a:lnTo>
                  <a:lnTo>
                    <a:pt x="34" y="568"/>
                  </a:lnTo>
                  <a:lnTo>
                    <a:pt x="34" y="571"/>
                  </a:lnTo>
                  <a:lnTo>
                    <a:pt x="37" y="575"/>
                  </a:lnTo>
                  <a:lnTo>
                    <a:pt x="54" y="578"/>
                  </a:lnTo>
                  <a:lnTo>
                    <a:pt x="54" y="578"/>
                  </a:lnTo>
                  <a:lnTo>
                    <a:pt x="64" y="568"/>
                  </a:lnTo>
                  <a:lnTo>
                    <a:pt x="64" y="568"/>
                  </a:lnTo>
                  <a:lnTo>
                    <a:pt x="61" y="561"/>
                  </a:lnTo>
                  <a:lnTo>
                    <a:pt x="61" y="558"/>
                  </a:lnTo>
                  <a:lnTo>
                    <a:pt x="61" y="558"/>
                  </a:lnTo>
                  <a:lnTo>
                    <a:pt x="68" y="558"/>
                  </a:lnTo>
                  <a:lnTo>
                    <a:pt x="78" y="555"/>
                  </a:lnTo>
                  <a:lnTo>
                    <a:pt x="78" y="555"/>
                  </a:lnTo>
                  <a:lnTo>
                    <a:pt x="81" y="561"/>
                  </a:lnTo>
                  <a:lnTo>
                    <a:pt x="81" y="565"/>
                  </a:lnTo>
                  <a:lnTo>
                    <a:pt x="91" y="565"/>
                  </a:lnTo>
                  <a:lnTo>
                    <a:pt x="91" y="565"/>
                  </a:lnTo>
                  <a:lnTo>
                    <a:pt x="94" y="561"/>
                  </a:lnTo>
                  <a:lnTo>
                    <a:pt x="94" y="561"/>
                  </a:lnTo>
                  <a:lnTo>
                    <a:pt x="94" y="555"/>
                  </a:lnTo>
                  <a:lnTo>
                    <a:pt x="94" y="555"/>
                  </a:lnTo>
                  <a:lnTo>
                    <a:pt x="101" y="548"/>
                  </a:lnTo>
                  <a:lnTo>
                    <a:pt x="101" y="548"/>
                  </a:lnTo>
                  <a:lnTo>
                    <a:pt x="101" y="535"/>
                  </a:lnTo>
                  <a:lnTo>
                    <a:pt x="105" y="518"/>
                  </a:lnTo>
                  <a:lnTo>
                    <a:pt x="105" y="518"/>
                  </a:lnTo>
                  <a:lnTo>
                    <a:pt x="111" y="504"/>
                  </a:lnTo>
                  <a:lnTo>
                    <a:pt x="111" y="504"/>
                  </a:lnTo>
                  <a:lnTo>
                    <a:pt x="111" y="498"/>
                  </a:lnTo>
                  <a:lnTo>
                    <a:pt x="108" y="487"/>
                  </a:lnTo>
                  <a:lnTo>
                    <a:pt x="108" y="487"/>
                  </a:lnTo>
                  <a:lnTo>
                    <a:pt x="115" y="474"/>
                  </a:lnTo>
                  <a:lnTo>
                    <a:pt x="121" y="464"/>
                  </a:lnTo>
                  <a:lnTo>
                    <a:pt x="121" y="464"/>
                  </a:lnTo>
                  <a:lnTo>
                    <a:pt x="121" y="454"/>
                  </a:lnTo>
                  <a:lnTo>
                    <a:pt x="118" y="447"/>
                  </a:lnTo>
                  <a:lnTo>
                    <a:pt x="115" y="434"/>
                  </a:lnTo>
                  <a:lnTo>
                    <a:pt x="115" y="434"/>
                  </a:lnTo>
                  <a:lnTo>
                    <a:pt x="115" y="427"/>
                  </a:lnTo>
                  <a:lnTo>
                    <a:pt x="115" y="420"/>
                  </a:lnTo>
                  <a:lnTo>
                    <a:pt x="115" y="420"/>
                  </a:lnTo>
                  <a:close/>
                  <a:moveTo>
                    <a:pt x="605" y="535"/>
                  </a:moveTo>
                  <a:lnTo>
                    <a:pt x="605" y="535"/>
                  </a:lnTo>
                  <a:lnTo>
                    <a:pt x="609" y="521"/>
                  </a:lnTo>
                  <a:lnTo>
                    <a:pt x="605" y="514"/>
                  </a:lnTo>
                  <a:lnTo>
                    <a:pt x="602" y="508"/>
                  </a:lnTo>
                  <a:lnTo>
                    <a:pt x="599" y="501"/>
                  </a:lnTo>
                  <a:lnTo>
                    <a:pt x="599" y="501"/>
                  </a:lnTo>
                  <a:lnTo>
                    <a:pt x="592" y="501"/>
                  </a:lnTo>
                  <a:lnTo>
                    <a:pt x="592" y="501"/>
                  </a:lnTo>
                  <a:lnTo>
                    <a:pt x="588" y="494"/>
                  </a:lnTo>
                  <a:lnTo>
                    <a:pt x="585" y="487"/>
                  </a:lnTo>
                  <a:lnTo>
                    <a:pt x="582" y="484"/>
                  </a:lnTo>
                  <a:lnTo>
                    <a:pt x="572" y="477"/>
                  </a:lnTo>
                  <a:lnTo>
                    <a:pt x="572" y="477"/>
                  </a:lnTo>
                  <a:lnTo>
                    <a:pt x="562" y="474"/>
                  </a:lnTo>
                  <a:lnTo>
                    <a:pt x="562" y="474"/>
                  </a:lnTo>
                  <a:lnTo>
                    <a:pt x="555" y="474"/>
                  </a:lnTo>
                  <a:lnTo>
                    <a:pt x="555" y="474"/>
                  </a:lnTo>
                  <a:lnTo>
                    <a:pt x="552" y="467"/>
                  </a:lnTo>
                  <a:lnTo>
                    <a:pt x="545" y="464"/>
                  </a:lnTo>
                  <a:lnTo>
                    <a:pt x="545" y="461"/>
                  </a:lnTo>
                  <a:lnTo>
                    <a:pt x="545" y="461"/>
                  </a:lnTo>
                  <a:lnTo>
                    <a:pt x="535" y="454"/>
                  </a:lnTo>
                  <a:lnTo>
                    <a:pt x="525" y="451"/>
                  </a:lnTo>
                  <a:lnTo>
                    <a:pt x="525" y="451"/>
                  </a:lnTo>
                  <a:lnTo>
                    <a:pt x="504" y="440"/>
                  </a:lnTo>
                  <a:lnTo>
                    <a:pt x="504" y="440"/>
                  </a:lnTo>
                  <a:lnTo>
                    <a:pt x="501" y="434"/>
                  </a:lnTo>
                  <a:lnTo>
                    <a:pt x="501" y="434"/>
                  </a:lnTo>
                  <a:lnTo>
                    <a:pt x="498" y="434"/>
                  </a:lnTo>
                  <a:lnTo>
                    <a:pt x="498" y="434"/>
                  </a:lnTo>
                  <a:lnTo>
                    <a:pt x="491" y="427"/>
                  </a:lnTo>
                  <a:lnTo>
                    <a:pt x="491" y="427"/>
                  </a:lnTo>
                  <a:lnTo>
                    <a:pt x="474" y="424"/>
                  </a:lnTo>
                  <a:lnTo>
                    <a:pt x="474" y="424"/>
                  </a:lnTo>
                  <a:lnTo>
                    <a:pt x="481" y="410"/>
                  </a:lnTo>
                  <a:lnTo>
                    <a:pt x="481" y="410"/>
                  </a:lnTo>
                  <a:lnTo>
                    <a:pt x="488" y="403"/>
                  </a:lnTo>
                  <a:lnTo>
                    <a:pt x="491" y="400"/>
                  </a:lnTo>
                  <a:lnTo>
                    <a:pt x="491" y="393"/>
                  </a:lnTo>
                  <a:lnTo>
                    <a:pt x="491" y="393"/>
                  </a:lnTo>
                  <a:lnTo>
                    <a:pt x="488" y="390"/>
                  </a:lnTo>
                  <a:lnTo>
                    <a:pt x="488" y="390"/>
                  </a:lnTo>
                  <a:lnTo>
                    <a:pt x="481" y="387"/>
                  </a:lnTo>
                  <a:lnTo>
                    <a:pt x="478" y="387"/>
                  </a:lnTo>
                  <a:lnTo>
                    <a:pt x="478" y="387"/>
                  </a:lnTo>
                  <a:lnTo>
                    <a:pt x="467" y="390"/>
                  </a:lnTo>
                  <a:lnTo>
                    <a:pt x="461" y="393"/>
                  </a:lnTo>
                  <a:lnTo>
                    <a:pt x="454" y="393"/>
                  </a:lnTo>
                  <a:lnTo>
                    <a:pt x="451" y="390"/>
                  </a:lnTo>
                  <a:lnTo>
                    <a:pt x="451" y="390"/>
                  </a:lnTo>
                  <a:lnTo>
                    <a:pt x="444" y="390"/>
                  </a:lnTo>
                  <a:lnTo>
                    <a:pt x="437" y="390"/>
                  </a:lnTo>
                  <a:lnTo>
                    <a:pt x="437" y="390"/>
                  </a:lnTo>
                  <a:lnTo>
                    <a:pt x="407" y="370"/>
                  </a:lnTo>
                  <a:lnTo>
                    <a:pt x="407" y="366"/>
                  </a:lnTo>
                  <a:lnTo>
                    <a:pt x="407" y="366"/>
                  </a:lnTo>
                  <a:lnTo>
                    <a:pt x="404" y="363"/>
                  </a:lnTo>
                  <a:lnTo>
                    <a:pt x="404" y="363"/>
                  </a:lnTo>
                  <a:lnTo>
                    <a:pt x="397" y="353"/>
                  </a:lnTo>
                  <a:lnTo>
                    <a:pt x="390" y="343"/>
                  </a:lnTo>
                  <a:lnTo>
                    <a:pt x="390" y="343"/>
                  </a:lnTo>
                  <a:lnTo>
                    <a:pt x="383" y="343"/>
                  </a:lnTo>
                  <a:lnTo>
                    <a:pt x="377" y="340"/>
                  </a:lnTo>
                  <a:lnTo>
                    <a:pt x="377" y="340"/>
                  </a:lnTo>
                  <a:lnTo>
                    <a:pt x="373" y="330"/>
                  </a:lnTo>
                  <a:lnTo>
                    <a:pt x="373" y="323"/>
                  </a:lnTo>
                  <a:lnTo>
                    <a:pt x="373" y="323"/>
                  </a:lnTo>
                  <a:lnTo>
                    <a:pt x="363" y="313"/>
                  </a:lnTo>
                  <a:lnTo>
                    <a:pt x="363" y="313"/>
                  </a:lnTo>
                  <a:lnTo>
                    <a:pt x="363" y="309"/>
                  </a:lnTo>
                  <a:lnTo>
                    <a:pt x="367" y="306"/>
                  </a:lnTo>
                  <a:lnTo>
                    <a:pt x="367" y="306"/>
                  </a:lnTo>
                  <a:lnTo>
                    <a:pt x="357" y="266"/>
                  </a:lnTo>
                  <a:lnTo>
                    <a:pt x="357" y="266"/>
                  </a:lnTo>
                  <a:lnTo>
                    <a:pt x="353" y="262"/>
                  </a:lnTo>
                  <a:lnTo>
                    <a:pt x="353" y="262"/>
                  </a:lnTo>
                  <a:lnTo>
                    <a:pt x="350" y="259"/>
                  </a:lnTo>
                  <a:lnTo>
                    <a:pt x="350" y="252"/>
                  </a:lnTo>
                  <a:lnTo>
                    <a:pt x="350" y="252"/>
                  </a:lnTo>
                  <a:lnTo>
                    <a:pt x="336" y="249"/>
                  </a:lnTo>
                  <a:lnTo>
                    <a:pt x="336" y="249"/>
                  </a:lnTo>
                  <a:lnTo>
                    <a:pt x="333" y="242"/>
                  </a:lnTo>
                  <a:lnTo>
                    <a:pt x="333" y="242"/>
                  </a:lnTo>
                  <a:lnTo>
                    <a:pt x="326" y="239"/>
                  </a:lnTo>
                  <a:lnTo>
                    <a:pt x="320" y="235"/>
                  </a:lnTo>
                  <a:lnTo>
                    <a:pt x="320" y="235"/>
                  </a:lnTo>
                  <a:lnTo>
                    <a:pt x="310" y="222"/>
                  </a:lnTo>
                  <a:lnTo>
                    <a:pt x="299" y="209"/>
                  </a:lnTo>
                  <a:lnTo>
                    <a:pt x="296" y="188"/>
                  </a:lnTo>
                  <a:lnTo>
                    <a:pt x="293" y="168"/>
                  </a:lnTo>
                  <a:lnTo>
                    <a:pt x="293" y="168"/>
                  </a:lnTo>
                  <a:lnTo>
                    <a:pt x="293" y="165"/>
                  </a:lnTo>
                  <a:lnTo>
                    <a:pt x="293" y="161"/>
                  </a:lnTo>
                  <a:lnTo>
                    <a:pt x="293" y="161"/>
                  </a:lnTo>
                  <a:lnTo>
                    <a:pt x="303" y="161"/>
                  </a:lnTo>
                  <a:lnTo>
                    <a:pt x="303" y="151"/>
                  </a:lnTo>
                  <a:lnTo>
                    <a:pt x="306" y="151"/>
                  </a:lnTo>
                  <a:lnTo>
                    <a:pt x="306" y="151"/>
                  </a:lnTo>
                  <a:lnTo>
                    <a:pt x="306" y="145"/>
                  </a:lnTo>
                  <a:lnTo>
                    <a:pt x="303" y="141"/>
                  </a:lnTo>
                  <a:lnTo>
                    <a:pt x="296" y="131"/>
                  </a:lnTo>
                  <a:lnTo>
                    <a:pt x="296" y="131"/>
                  </a:lnTo>
                  <a:lnTo>
                    <a:pt x="296" y="121"/>
                  </a:lnTo>
                  <a:lnTo>
                    <a:pt x="299" y="121"/>
                  </a:lnTo>
                  <a:lnTo>
                    <a:pt x="299" y="121"/>
                  </a:lnTo>
                  <a:lnTo>
                    <a:pt x="303" y="114"/>
                  </a:lnTo>
                  <a:lnTo>
                    <a:pt x="303" y="114"/>
                  </a:lnTo>
                  <a:lnTo>
                    <a:pt x="320" y="111"/>
                  </a:lnTo>
                  <a:lnTo>
                    <a:pt x="320" y="111"/>
                  </a:lnTo>
                  <a:lnTo>
                    <a:pt x="346" y="104"/>
                  </a:lnTo>
                  <a:lnTo>
                    <a:pt x="346" y="104"/>
                  </a:lnTo>
                  <a:lnTo>
                    <a:pt x="343" y="98"/>
                  </a:lnTo>
                  <a:lnTo>
                    <a:pt x="343" y="98"/>
                  </a:lnTo>
                  <a:lnTo>
                    <a:pt x="350" y="98"/>
                  </a:lnTo>
                  <a:lnTo>
                    <a:pt x="353" y="101"/>
                  </a:lnTo>
                  <a:lnTo>
                    <a:pt x="360" y="101"/>
                  </a:lnTo>
                  <a:lnTo>
                    <a:pt x="360" y="101"/>
                  </a:lnTo>
                  <a:lnTo>
                    <a:pt x="363" y="98"/>
                  </a:lnTo>
                  <a:lnTo>
                    <a:pt x="367" y="98"/>
                  </a:lnTo>
                  <a:lnTo>
                    <a:pt x="367" y="98"/>
                  </a:lnTo>
                  <a:lnTo>
                    <a:pt x="370" y="101"/>
                  </a:lnTo>
                  <a:lnTo>
                    <a:pt x="373" y="104"/>
                  </a:lnTo>
                  <a:lnTo>
                    <a:pt x="373" y="104"/>
                  </a:lnTo>
                  <a:lnTo>
                    <a:pt x="367" y="111"/>
                  </a:lnTo>
                  <a:lnTo>
                    <a:pt x="367" y="111"/>
                  </a:lnTo>
                  <a:lnTo>
                    <a:pt x="373" y="111"/>
                  </a:lnTo>
                  <a:lnTo>
                    <a:pt x="377" y="114"/>
                  </a:lnTo>
                  <a:lnTo>
                    <a:pt x="377" y="114"/>
                  </a:lnTo>
                  <a:lnTo>
                    <a:pt x="383" y="111"/>
                  </a:lnTo>
                  <a:lnTo>
                    <a:pt x="383" y="111"/>
                  </a:lnTo>
                  <a:lnTo>
                    <a:pt x="383" y="108"/>
                  </a:lnTo>
                  <a:lnTo>
                    <a:pt x="383" y="104"/>
                  </a:lnTo>
                  <a:lnTo>
                    <a:pt x="383" y="104"/>
                  </a:lnTo>
                  <a:lnTo>
                    <a:pt x="380" y="104"/>
                  </a:lnTo>
                  <a:lnTo>
                    <a:pt x="377" y="104"/>
                  </a:lnTo>
                  <a:lnTo>
                    <a:pt x="377" y="104"/>
                  </a:lnTo>
                  <a:lnTo>
                    <a:pt x="377" y="101"/>
                  </a:lnTo>
                  <a:lnTo>
                    <a:pt x="377" y="101"/>
                  </a:lnTo>
                  <a:lnTo>
                    <a:pt x="373" y="94"/>
                  </a:lnTo>
                  <a:lnTo>
                    <a:pt x="373" y="94"/>
                  </a:lnTo>
                  <a:lnTo>
                    <a:pt x="373" y="91"/>
                  </a:lnTo>
                  <a:lnTo>
                    <a:pt x="370" y="88"/>
                  </a:lnTo>
                  <a:lnTo>
                    <a:pt x="370" y="88"/>
                  </a:lnTo>
                  <a:lnTo>
                    <a:pt x="367" y="88"/>
                  </a:lnTo>
                  <a:lnTo>
                    <a:pt x="367" y="91"/>
                  </a:lnTo>
                  <a:lnTo>
                    <a:pt x="367" y="91"/>
                  </a:lnTo>
                  <a:lnTo>
                    <a:pt x="367" y="88"/>
                  </a:lnTo>
                  <a:lnTo>
                    <a:pt x="367" y="84"/>
                  </a:lnTo>
                  <a:lnTo>
                    <a:pt x="367" y="84"/>
                  </a:lnTo>
                  <a:lnTo>
                    <a:pt x="370" y="81"/>
                  </a:lnTo>
                  <a:lnTo>
                    <a:pt x="370" y="77"/>
                  </a:lnTo>
                  <a:lnTo>
                    <a:pt x="370" y="77"/>
                  </a:lnTo>
                  <a:lnTo>
                    <a:pt x="367" y="77"/>
                  </a:lnTo>
                  <a:lnTo>
                    <a:pt x="367" y="77"/>
                  </a:lnTo>
                  <a:lnTo>
                    <a:pt x="367" y="74"/>
                  </a:lnTo>
                  <a:lnTo>
                    <a:pt x="367" y="74"/>
                  </a:lnTo>
                  <a:lnTo>
                    <a:pt x="363" y="74"/>
                  </a:lnTo>
                  <a:lnTo>
                    <a:pt x="363" y="74"/>
                  </a:lnTo>
                  <a:lnTo>
                    <a:pt x="360" y="71"/>
                  </a:lnTo>
                  <a:lnTo>
                    <a:pt x="360" y="71"/>
                  </a:lnTo>
                  <a:lnTo>
                    <a:pt x="360" y="71"/>
                  </a:lnTo>
                  <a:lnTo>
                    <a:pt x="363" y="67"/>
                  </a:lnTo>
                  <a:lnTo>
                    <a:pt x="363" y="67"/>
                  </a:lnTo>
                  <a:lnTo>
                    <a:pt x="363" y="64"/>
                  </a:lnTo>
                  <a:lnTo>
                    <a:pt x="363" y="64"/>
                  </a:lnTo>
                  <a:lnTo>
                    <a:pt x="367" y="61"/>
                  </a:lnTo>
                  <a:lnTo>
                    <a:pt x="373" y="57"/>
                  </a:lnTo>
                  <a:lnTo>
                    <a:pt x="373" y="57"/>
                  </a:lnTo>
                  <a:lnTo>
                    <a:pt x="377" y="54"/>
                  </a:lnTo>
                  <a:lnTo>
                    <a:pt x="377" y="54"/>
                  </a:lnTo>
                  <a:lnTo>
                    <a:pt x="377" y="47"/>
                  </a:lnTo>
                  <a:lnTo>
                    <a:pt x="377" y="47"/>
                  </a:lnTo>
                  <a:lnTo>
                    <a:pt x="373" y="47"/>
                  </a:lnTo>
                  <a:lnTo>
                    <a:pt x="373" y="47"/>
                  </a:lnTo>
                  <a:lnTo>
                    <a:pt x="367" y="44"/>
                  </a:lnTo>
                  <a:lnTo>
                    <a:pt x="367" y="44"/>
                  </a:lnTo>
                  <a:lnTo>
                    <a:pt x="360" y="44"/>
                  </a:lnTo>
                  <a:lnTo>
                    <a:pt x="360" y="44"/>
                  </a:lnTo>
                  <a:lnTo>
                    <a:pt x="353" y="47"/>
                  </a:lnTo>
                  <a:lnTo>
                    <a:pt x="353" y="47"/>
                  </a:lnTo>
                  <a:lnTo>
                    <a:pt x="350" y="44"/>
                  </a:lnTo>
                  <a:lnTo>
                    <a:pt x="350" y="44"/>
                  </a:lnTo>
                  <a:lnTo>
                    <a:pt x="343" y="41"/>
                  </a:lnTo>
                  <a:lnTo>
                    <a:pt x="343" y="41"/>
                  </a:lnTo>
                  <a:lnTo>
                    <a:pt x="340" y="41"/>
                  </a:lnTo>
                  <a:lnTo>
                    <a:pt x="340" y="41"/>
                  </a:lnTo>
                  <a:lnTo>
                    <a:pt x="333" y="37"/>
                  </a:lnTo>
                  <a:lnTo>
                    <a:pt x="333" y="37"/>
                  </a:lnTo>
                  <a:lnTo>
                    <a:pt x="326" y="34"/>
                  </a:lnTo>
                  <a:lnTo>
                    <a:pt x="326" y="34"/>
                  </a:lnTo>
                  <a:lnTo>
                    <a:pt x="320" y="30"/>
                  </a:lnTo>
                  <a:lnTo>
                    <a:pt x="320" y="30"/>
                  </a:lnTo>
                  <a:lnTo>
                    <a:pt x="316" y="27"/>
                  </a:lnTo>
                  <a:lnTo>
                    <a:pt x="316" y="27"/>
                  </a:lnTo>
                  <a:lnTo>
                    <a:pt x="313" y="24"/>
                  </a:lnTo>
                  <a:lnTo>
                    <a:pt x="313" y="24"/>
                  </a:lnTo>
                  <a:lnTo>
                    <a:pt x="310" y="17"/>
                  </a:lnTo>
                  <a:lnTo>
                    <a:pt x="310" y="17"/>
                  </a:lnTo>
                  <a:lnTo>
                    <a:pt x="306" y="17"/>
                  </a:lnTo>
                  <a:lnTo>
                    <a:pt x="306" y="17"/>
                  </a:lnTo>
                  <a:lnTo>
                    <a:pt x="306" y="14"/>
                  </a:lnTo>
                  <a:lnTo>
                    <a:pt x="306" y="14"/>
                  </a:lnTo>
                  <a:lnTo>
                    <a:pt x="310" y="10"/>
                  </a:lnTo>
                  <a:lnTo>
                    <a:pt x="310" y="10"/>
                  </a:lnTo>
                  <a:lnTo>
                    <a:pt x="313" y="10"/>
                  </a:lnTo>
                  <a:lnTo>
                    <a:pt x="316" y="7"/>
                  </a:lnTo>
                  <a:lnTo>
                    <a:pt x="316" y="7"/>
                  </a:lnTo>
                  <a:lnTo>
                    <a:pt x="316" y="4"/>
                  </a:lnTo>
                  <a:lnTo>
                    <a:pt x="316" y="4"/>
                  </a:lnTo>
                  <a:lnTo>
                    <a:pt x="313" y="0"/>
                  </a:lnTo>
                  <a:lnTo>
                    <a:pt x="310" y="4"/>
                  </a:lnTo>
                  <a:lnTo>
                    <a:pt x="303" y="4"/>
                  </a:lnTo>
                  <a:lnTo>
                    <a:pt x="303" y="4"/>
                  </a:lnTo>
                  <a:lnTo>
                    <a:pt x="296" y="4"/>
                  </a:lnTo>
                  <a:lnTo>
                    <a:pt x="296" y="4"/>
                  </a:lnTo>
                  <a:lnTo>
                    <a:pt x="293" y="7"/>
                  </a:lnTo>
                  <a:lnTo>
                    <a:pt x="293" y="7"/>
                  </a:lnTo>
                  <a:lnTo>
                    <a:pt x="286" y="7"/>
                  </a:lnTo>
                  <a:lnTo>
                    <a:pt x="286" y="7"/>
                  </a:lnTo>
                  <a:lnTo>
                    <a:pt x="279" y="7"/>
                  </a:lnTo>
                  <a:lnTo>
                    <a:pt x="279" y="7"/>
                  </a:lnTo>
                  <a:lnTo>
                    <a:pt x="273" y="7"/>
                  </a:lnTo>
                  <a:lnTo>
                    <a:pt x="273" y="7"/>
                  </a:lnTo>
                  <a:lnTo>
                    <a:pt x="266" y="7"/>
                  </a:lnTo>
                  <a:lnTo>
                    <a:pt x="266" y="7"/>
                  </a:lnTo>
                  <a:lnTo>
                    <a:pt x="259" y="4"/>
                  </a:lnTo>
                  <a:lnTo>
                    <a:pt x="256" y="4"/>
                  </a:lnTo>
                  <a:lnTo>
                    <a:pt x="256" y="4"/>
                  </a:lnTo>
                  <a:lnTo>
                    <a:pt x="252" y="7"/>
                  </a:lnTo>
                  <a:lnTo>
                    <a:pt x="252" y="7"/>
                  </a:lnTo>
                  <a:lnTo>
                    <a:pt x="249" y="10"/>
                  </a:lnTo>
                  <a:lnTo>
                    <a:pt x="249" y="10"/>
                  </a:lnTo>
                  <a:lnTo>
                    <a:pt x="246" y="7"/>
                  </a:lnTo>
                  <a:lnTo>
                    <a:pt x="246" y="7"/>
                  </a:lnTo>
                  <a:lnTo>
                    <a:pt x="239" y="7"/>
                  </a:lnTo>
                  <a:lnTo>
                    <a:pt x="239" y="7"/>
                  </a:lnTo>
                  <a:lnTo>
                    <a:pt x="236" y="4"/>
                  </a:lnTo>
                  <a:lnTo>
                    <a:pt x="236" y="4"/>
                  </a:lnTo>
                  <a:lnTo>
                    <a:pt x="232" y="4"/>
                  </a:lnTo>
                  <a:lnTo>
                    <a:pt x="232" y="4"/>
                  </a:lnTo>
                  <a:lnTo>
                    <a:pt x="222" y="14"/>
                  </a:lnTo>
                  <a:lnTo>
                    <a:pt x="222" y="14"/>
                  </a:lnTo>
                  <a:lnTo>
                    <a:pt x="222" y="17"/>
                  </a:lnTo>
                  <a:lnTo>
                    <a:pt x="222" y="17"/>
                  </a:lnTo>
                  <a:lnTo>
                    <a:pt x="229" y="20"/>
                  </a:lnTo>
                  <a:lnTo>
                    <a:pt x="229" y="20"/>
                  </a:lnTo>
                  <a:lnTo>
                    <a:pt x="229" y="27"/>
                  </a:lnTo>
                  <a:lnTo>
                    <a:pt x="229" y="27"/>
                  </a:lnTo>
                  <a:lnTo>
                    <a:pt x="226" y="27"/>
                  </a:lnTo>
                  <a:lnTo>
                    <a:pt x="222" y="27"/>
                  </a:lnTo>
                  <a:lnTo>
                    <a:pt x="219" y="20"/>
                  </a:lnTo>
                  <a:lnTo>
                    <a:pt x="219" y="20"/>
                  </a:lnTo>
                  <a:lnTo>
                    <a:pt x="215" y="24"/>
                  </a:lnTo>
                  <a:lnTo>
                    <a:pt x="212" y="24"/>
                  </a:lnTo>
                  <a:lnTo>
                    <a:pt x="212" y="24"/>
                  </a:lnTo>
                  <a:lnTo>
                    <a:pt x="212" y="17"/>
                  </a:lnTo>
                  <a:lnTo>
                    <a:pt x="212" y="17"/>
                  </a:lnTo>
                  <a:lnTo>
                    <a:pt x="205" y="17"/>
                  </a:lnTo>
                  <a:lnTo>
                    <a:pt x="205" y="17"/>
                  </a:lnTo>
                  <a:lnTo>
                    <a:pt x="202" y="20"/>
                  </a:lnTo>
                  <a:lnTo>
                    <a:pt x="202" y="20"/>
                  </a:lnTo>
                  <a:lnTo>
                    <a:pt x="202" y="24"/>
                  </a:lnTo>
                  <a:lnTo>
                    <a:pt x="202" y="24"/>
                  </a:lnTo>
                  <a:lnTo>
                    <a:pt x="202" y="24"/>
                  </a:lnTo>
                  <a:lnTo>
                    <a:pt x="205" y="27"/>
                  </a:lnTo>
                  <a:lnTo>
                    <a:pt x="205" y="27"/>
                  </a:lnTo>
                  <a:lnTo>
                    <a:pt x="205" y="30"/>
                  </a:lnTo>
                  <a:lnTo>
                    <a:pt x="202" y="30"/>
                  </a:lnTo>
                  <a:lnTo>
                    <a:pt x="202" y="30"/>
                  </a:lnTo>
                  <a:lnTo>
                    <a:pt x="202" y="34"/>
                  </a:lnTo>
                  <a:lnTo>
                    <a:pt x="202" y="34"/>
                  </a:lnTo>
                  <a:lnTo>
                    <a:pt x="205" y="37"/>
                  </a:lnTo>
                  <a:lnTo>
                    <a:pt x="205" y="37"/>
                  </a:lnTo>
                  <a:lnTo>
                    <a:pt x="199" y="41"/>
                  </a:lnTo>
                  <a:lnTo>
                    <a:pt x="199" y="41"/>
                  </a:lnTo>
                  <a:lnTo>
                    <a:pt x="199" y="41"/>
                  </a:lnTo>
                  <a:lnTo>
                    <a:pt x="199" y="37"/>
                  </a:lnTo>
                  <a:lnTo>
                    <a:pt x="199" y="37"/>
                  </a:lnTo>
                  <a:lnTo>
                    <a:pt x="195" y="37"/>
                  </a:lnTo>
                  <a:lnTo>
                    <a:pt x="195" y="37"/>
                  </a:lnTo>
                  <a:lnTo>
                    <a:pt x="195" y="34"/>
                  </a:lnTo>
                  <a:lnTo>
                    <a:pt x="195" y="34"/>
                  </a:lnTo>
                  <a:lnTo>
                    <a:pt x="192" y="30"/>
                  </a:lnTo>
                  <a:lnTo>
                    <a:pt x="192" y="30"/>
                  </a:lnTo>
                  <a:lnTo>
                    <a:pt x="189" y="30"/>
                  </a:lnTo>
                  <a:lnTo>
                    <a:pt x="189" y="34"/>
                  </a:lnTo>
                  <a:lnTo>
                    <a:pt x="189" y="34"/>
                  </a:lnTo>
                  <a:lnTo>
                    <a:pt x="178" y="37"/>
                  </a:lnTo>
                  <a:lnTo>
                    <a:pt x="178" y="37"/>
                  </a:lnTo>
                  <a:lnTo>
                    <a:pt x="172" y="37"/>
                  </a:lnTo>
                  <a:lnTo>
                    <a:pt x="172" y="37"/>
                  </a:lnTo>
                  <a:lnTo>
                    <a:pt x="172" y="34"/>
                  </a:lnTo>
                  <a:lnTo>
                    <a:pt x="168" y="30"/>
                  </a:lnTo>
                  <a:lnTo>
                    <a:pt x="168" y="30"/>
                  </a:lnTo>
                  <a:lnTo>
                    <a:pt x="168" y="27"/>
                  </a:lnTo>
                  <a:lnTo>
                    <a:pt x="168" y="20"/>
                  </a:lnTo>
                  <a:lnTo>
                    <a:pt x="168" y="20"/>
                  </a:lnTo>
                  <a:lnTo>
                    <a:pt x="168" y="20"/>
                  </a:lnTo>
                  <a:lnTo>
                    <a:pt x="168" y="17"/>
                  </a:lnTo>
                  <a:lnTo>
                    <a:pt x="168" y="17"/>
                  </a:lnTo>
                  <a:lnTo>
                    <a:pt x="162" y="17"/>
                  </a:lnTo>
                  <a:lnTo>
                    <a:pt x="162" y="17"/>
                  </a:lnTo>
                  <a:lnTo>
                    <a:pt x="162" y="17"/>
                  </a:lnTo>
                  <a:lnTo>
                    <a:pt x="158" y="17"/>
                  </a:lnTo>
                  <a:lnTo>
                    <a:pt x="158" y="17"/>
                  </a:lnTo>
                  <a:lnTo>
                    <a:pt x="158" y="20"/>
                  </a:lnTo>
                  <a:lnTo>
                    <a:pt x="158" y="20"/>
                  </a:lnTo>
                  <a:lnTo>
                    <a:pt x="158" y="24"/>
                  </a:lnTo>
                  <a:lnTo>
                    <a:pt x="158" y="24"/>
                  </a:lnTo>
                  <a:lnTo>
                    <a:pt x="155" y="34"/>
                  </a:lnTo>
                  <a:lnTo>
                    <a:pt x="155" y="34"/>
                  </a:lnTo>
                  <a:lnTo>
                    <a:pt x="148" y="37"/>
                  </a:lnTo>
                  <a:lnTo>
                    <a:pt x="148" y="37"/>
                  </a:lnTo>
                  <a:lnTo>
                    <a:pt x="148" y="41"/>
                  </a:lnTo>
                  <a:lnTo>
                    <a:pt x="148" y="44"/>
                  </a:lnTo>
                  <a:lnTo>
                    <a:pt x="148" y="44"/>
                  </a:lnTo>
                  <a:lnTo>
                    <a:pt x="145" y="47"/>
                  </a:lnTo>
                  <a:lnTo>
                    <a:pt x="145" y="47"/>
                  </a:lnTo>
                  <a:lnTo>
                    <a:pt x="141" y="51"/>
                  </a:lnTo>
                  <a:lnTo>
                    <a:pt x="141" y="51"/>
                  </a:lnTo>
                  <a:lnTo>
                    <a:pt x="141" y="54"/>
                  </a:lnTo>
                  <a:lnTo>
                    <a:pt x="141" y="54"/>
                  </a:lnTo>
                  <a:lnTo>
                    <a:pt x="135" y="57"/>
                  </a:lnTo>
                  <a:lnTo>
                    <a:pt x="135" y="57"/>
                  </a:lnTo>
                  <a:lnTo>
                    <a:pt x="135" y="54"/>
                  </a:lnTo>
                  <a:lnTo>
                    <a:pt x="135" y="54"/>
                  </a:lnTo>
                  <a:lnTo>
                    <a:pt x="131" y="54"/>
                  </a:lnTo>
                  <a:lnTo>
                    <a:pt x="131" y="54"/>
                  </a:lnTo>
                  <a:lnTo>
                    <a:pt x="131" y="51"/>
                  </a:lnTo>
                  <a:lnTo>
                    <a:pt x="131" y="51"/>
                  </a:lnTo>
                  <a:lnTo>
                    <a:pt x="125" y="51"/>
                  </a:lnTo>
                  <a:lnTo>
                    <a:pt x="121" y="47"/>
                  </a:lnTo>
                  <a:lnTo>
                    <a:pt x="121" y="47"/>
                  </a:lnTo>
                  <a:lnTo>
                    <a:pt x="121" y="44"/>
                  </a:lnTo>
                  <a:lnTo>
                    <a:pt x="121" y="44"/>
                  </a:lnTo>
                  <a:lnTo>
                    <a:pt x="121" y="44"/>
                  </a:lnTo>
                  <a:lnTo>
                    <a:pt x="118" y="41"/>
                  </a:lnTo>
                  <a:lnTo>
                    <a:pt x="118" y="41"/>
                  </a:lnTo>
                  <a:lnTo>
                    <a:pt x="118" y="41"/>
                  </a:lnTo>
                  <a:lnTo>
                    <a:pt x="118" y="41"/>
                  </a:lnTo>
                  <a:lnTo>
                    <a:pt x="115" y="41"/>
                  </a:lnTo>
                  <a:lnTo>
                    <a:pt x="115" y="41"/>
                  </a:lnTo>
                  <a:lnTo>
                    <a:pt x="111" y="37"/>
                  </a:lnTo>
                  <a:lnTo>
                    <a:pt x="108" y="41"/>
                  </a:lnTo>
                  <a:lnTo>
                    <a:pt x="108" y="41"/>
                  </a:lnTo>
                  <a:lnTo>
                    <a:pt x="108" y="41"/>
                  </a:lnTo>
                  <a:lnTo>
                    <a:pt x="108" y="41"/>
                  </a:lnTo>
                  <a:lnTo>
                    <a:pt x="101" y="41"/>
                  </a:lnTo>
                  <a:lnTo>
                    <a:pt x="101" y="41"/>
                  </a:lnTo>
                  <a:lnTo>
                    <a:pt x="98" y="41"/>
                  </a:lnTo>
                  <a:lnTo>
                    <a:pt x="94" y="37"/>
                  </a:lnTo>
                  <a:lnTo>
                    <a:pt x="94" y="37"/>
                  </a:lnTo>
                  <a:lnTo>
                    <a:pt x="94" y="37"/>
                  </a:lnTo>
                  <a:lnTo>
                    <a:pt x="98" y="34"/>
                  </a:lnTo>
                  <a:lnTo>
                    <a:pt x="98" y="34"/>
                  </a:lnTo>
                  <a:lnTo>
                    <a:pt x="101" y="30"/>
                  </a:lnTo>
                  <a:lnTo>
                    <a:pt x="101" y="30"/>
                  </a:lnTo>
                  <a:lnTo>
                    <a:pt x="101" y="27"/>
                  </a:lnTo>
                  <a:lnTo>
                    <a:pt x="101" y="24"/>
                  </a:lnTo>
                  <a:lnTo>
                    <a:pt x="101" y="24"/>
                  </a:lnTo>
                  <a:lnTo>
                    <a:pt x="105" y="20"/>
                  </a:lnTo>
                  <a:lnTo>
                    <a:pt x="105" y="20"/>
                  </a:lnTo>
                  <a:lnTo>
                    <a:pt x="101" y="17"/>
                  </a:lnTo>
                  <a:lnTo>
                    <a:pt x="101" y="17"/>
                  </a:lnTo>
                  <a:lnTo>
                    <a:pt x="98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20"/>
                  </a:lnTo>
                  <a:lnTo>
                    <a:pt x="94" y="20"/>
                  </a:lnTo>
                  <a:lnTo>
                    <a:pt x="88" y="27"/>
                  </a:lnTo>
                  <a:lnTo>
                    <a:pt x="88" y="27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1" y="30"/>
                  </a:lnTo>
                  <a:lnTo>
                    <a:pt x="81" y="30"/>
                  </a:lnTo>
                  <a:lnTo>
                    <a:pt x="78" y="27"/>
                  </a:lnTo>
                  <a:lnTo>
                    <a:pt x="78" y="27"/>
                  </a:lnTo>
                  <a:lnTo>
                    <a:pt x="74" y="27"/>
                  </a:lnTo>
                  <a:lnTo>
                    <a:pt x="74" y="27"/>
                  </a:lnTo>
                  <a:lnTo>
                    <a:pt x="71" y="27"/>
                  </a:lnTo>
                  <a:lnTo>
                    <a:pt x="71" y="27"/>
                  </a:lnTo>
                  <a:lnTo>
                    <a:pt x="68" y="27"/>
                  </a:lnTo>
                  <a:lnTo>
                    <a:pt x="68" y="30"/>
                  </a:lnTo>
                  <a:lnTo>
                    <a:pt x="68" y="30"/>
                  </a:lnTo>
                  <a:lnTo>
                    <a:pt x="68" y="37"/>
                  </a:lnTo>
                  <a:lnTo>
                    <a:pt x="68" y="37"/>
                  </a:lnTo>
                  <a:lnTo>
                    <a:pt x="64" y="41"/>
                  </a:lnTo>
                  <a:lnTo>
                    <a:pt x="64" y="41"/>
                  </a:lnTo>
                  <a:lnTo>
                    <a:pt x="61" y="41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1" y="41"/>
                  </a:lnTo>
                  <a:lnTo>
                    <a:pt x="51" y="41"/>
                  </a:lnTo>
                  <a:lnTo>
                    <a:pt x="44" y="41"/>
                  </a:lnTo>
                  <a:lnTo>
                    <a:pt x="44" y="41"/>
                  </a:lnTo>
                  <a:lnTo>
                    <a:pt x="41" y="41"/>
                  </a:lnTo>
                  <a:lnTo>
                    <a:pt x="41" y="41"/>
                  </a:lnTo>
                  <a:lnTo>
                    <a:pt x="34" y="41"/>
                  </a:lnTo>
                  <a:lnTo>
                    <a:pt x="34" y="41"/>
                  </a:lnTo>
                  <a:lnTo>
                    <a:pt x="31" y="37"/>
                  </a:lnTo>
                  <a:lnTo>
                    <a:pt x="31" y="34"/>
                  </a:lnTo>
                  <a:lnTo>
                    <a:pt x="31" y="34"/>
                  </a:lnTo>
                  <a:lnTo>
                    <a:pt x="27" y="41"/>
                  </a:lnTo>
                  <a:lnTo>
                    <a:pt x="27" y="41"/>
                  </a:lnTo>
                  <a:lnTo>
                    <a:pt x="27" y="44"/>
                  </a:lnTo>
                  <a:lnTo>
                    <a:pt x="27" y="47"/>
                  </a:lnTo>
                  <a:lnTo>
                    <a:pt x="27" y="47"/>
                  </a:lnTo>
                  <a:lnTo>
                    <a:pt x="31" y="47"/>
                  </a:lnTo>
                  <a:lnTo>
                    <a:pt x="31" y="47"/>
                  </a:lnTo>
                  <a:lnTo>
                    <a:pt x="31" y="51"/>
                  </a:lnTo>
                  <a:lnTo>
                    <a:pt x="27" y="54"/>
                  </a:lnTo>
                  <a:lnTo>
                    <a:pt x="27" y="54"/>
                  </a:lnTo>
                  <a:lnTo>
                    <a:pt x="27" y="61"/>
                  </a:lnTo>
                  <a:lnTo>
                    <a:pt x="27" y="61"/>
                  </a:lnTo>
                  <a:lnTo>
                    <a:pt x="24" y="64"/>
                  </a:lnTo>
                  <a:lnTo>
                    <a:pt x="24" y="67"/>
                  </a:lnTo>
                  <a:lnTo>
                    <a:pt x="24" y="67"/>
                  </a:lnTo>
                  <a:lnTo>
                    <a:pt x="27" y="71"/>
                  </a:lnTo>
                  <a:lnTo>
                    <a:pt x="31" y="71"/>
                  </a:lnTo>
                  <a:lnTo>
                    <a:pt x="31" y="71"/>
                  </a:lnTo>
                  <a:lnTo>
                    <a:pt x="31" y="74"/>
                  </a:lnTo>
                  <a:lnTo>
                    <a:pt x="31" y="77"/>
                  </a:lnTo>
                  <a:lnTo>
                    <a:pt x="31" y="77"/>
                  </a:lnTo>
                  <a:lnTo>
                    <a:pt x="27" y="81"/>
                  </a:lnTo>
                  <a:lnTo>
                    <a:pt x="24" y="81"/>
                  </a:lnTo>
                  <a:lnTo>
                    <a:pt x="24" y="81"/>
                  </a:lnTo>
                  <a:lnTo>
                    <a:pt x="14" y="88"/>
                  </a:lnTo>
                  <a:lnTo>
                    <a:pt x="14" y="88"/>
                  </a:lnTo>
                  <a:lnTo>
                    <a:pt x="10" y="88"/>
                  </a:lnTo>
                  <a:lnTo>
                    <a:pt x="4" y="91"/>
                  </a:lnTo>
                  <a:lnTo>
                    <a:pt x="4" y="91"/>
                  </a:lnTo>
                  <a:lnTo>
                    <a:pt x="0" y="91"/>
                  </a:lnTo>
                  <a:lnTo>
                    <a:pt x="0" y="94"/>
                  </a:lnTo>
                  <a:lnTo>
                    <a:pt x="0" y="94"/>
                  </a:lnTo>
                  <a:lnTo>
                    <a:pt x="0" y="94"/>
                  </a:lnTo>
                  <a:lnTo>
                    <a:pt x="4" y="98"/>
                  </a:lnTo>
                  <a:lnTo>
                    <a:pt x="4" y="98"/>
                  </a:lnTo>
                  <a:lnTo>
                    <a:pt x="10" y="104"/>
                  </a:lnTo>
                  <a:lnTo>
                    <a:pt x="10" y="104"/>
                  </a:lnTo>
                  <a:lnTo>
                    <a:pt x="10" y="108"/>
                  </a:lnTo>
                  <a:lnTo>
                    <a:pt x="10" y="111"/>
                  </a:lnTo>
                  <a:lnTo>
                    <a:pt x="10" y="111"/>
                  </a:lnTo>
                  <a:lnTo>
                    <a:pt x="14" y="111"/>
                  </a:lnTo>
                  <a:lnTo>
                    <a:pt x="17" y="108"/>
                  </a:lnTo>
                  <a:lnTo>
                    <a:pt x="17" y="108"/>
                  </a:lnTo>
                  <a:lnTo>
                    <a:pt x="21" y="108"/>
                  </a:lnTo>
                  <a:lnTo>
                    <a:pt x="21" y="111"/>
                  </a:lnTo>
                  <a:lnTo>
                    <a:pt x="21" y="111"/>
                  </a:lnTo>
                  <a:lnTo>
                    <a:pt x="24" y="118"/>
                  </a:lnTo>
                  <a:lnTo>
                    <a:pt x="24" y="121"/>
                  </a:lnTo>
                  <a:lnTo>
                    <a:pt x="24" y="121"/>
                  </a:lnTo>
                  <a:lnTo>
                    <a:pt x="21" y="128"/>
                  </a:lnTo>
                  <a:lnTo>
                    <a:pt x="17" y="135"/>
                  </a:lnTo>
                  <a:lnTo>
                    <a:pt x="17" y="135"/>
                  </a:lnTo>
                  <a:lnTo>
                    <a:pt x="14" y="138"/>
                  </a:lnTo>
                  <a:lnTo>
                    <a:pt x="10" y="141"/>
                  </a:lnTo>
                  <a:lnTo>
                    <a:pt x="10" y="141"/>
                  </a:lnTo>
                  <a:lnTo>
                    <a:pt x="7" y="141"/>
                  </a:lnTo>
                  <a:lnTo>
                    <a:pt x="10" y="145"/>
                  </a:lnTo>
                  <a:lnTo>
                    <a:pt x="14" y="151"/>
                  </a:lnTo>
                  <a:lnTo>
                    <a:pt x="14" y="151"/>
                  </a:lnTo>
                  <a:lnTo>
                    <a:pt x="24" y="161"/>
                  </a:lnTo>
                  <a:lnTo>
                    <a:pt x="24" y="161"/>
                  </a:lnTo>
                  <a:lnTo>
                    <a:pt x="31" y="168"/>
                  </a:lnTo>
                  <a:lnTo>
                    <a:pt x="31" y="168"/>
                  </a:lnTo>
                  <a:lnTo>
                    <a:pt x="34" y="172"/>
                  </a:lnTo>
                  <a:lnTo>
                    <a:pt x="41" y="175"/>
                  </a:lnTo>
                  <a:lnTo>
                    <a:pt x="41" y="175"/>
                  </a:lnTo>
                  <a:lnTo>
                    <a:pt x="44" y="172"/>
                  </a:lnTo>
                  <a:lnTo>
                    <a:pt x="47" y="175"/>
                  </a:lnTo>
                  <a:lnTo>
                    <a:pt x="47" y="175"/>
                  </a:lnTo>
                  <a:lnTo>
                    <a:pt x="47" y="178"/>
                  </a:lnTo>
                  <a:lnTo>
                    <a:pt x="47" y="178"/>
                  </a:lnTo>
                  <a:lnTo>
                    <a:pt x="51" y="182"/>
                  </a:lnTo>
                  <a:lnTo>
                    <a:pt x="51" y="182"/>
                  </a:lnTo>
                  <a:lnTo>
                    <a:pt x="47" y="188"/>
                  </a:lnTo>
                  <a:lnTo>
                    <a:pt x="47" y="188"/>
                  </a:lnTo>
                  <a:lnTo>
                    <a:pt x="44" y="192"/>
                  </a:lnTo>
                  <a:lnTo>
                    <a:pt x="44" y="192"/>
                  </a:lnTo>
                  <a:lnTo>
                    <a:pt x="41" y="198"/>
                  </a:lnTo>
                  <a:lnTo>
                    <a:pt x="41" y="198"/>
                  </a:lnTo>
                  <a:lnTo>
                    <a:pt x="37" y="202"/>
                  </a:lnTo>
                  <a:lnTo>
                    <a:pt x="34" y="205"/>
                  </a:lnTo>
                  <a:lnTo>
                    <a:pt x="34" y="205"/>
                  </a:lnTo>
                  <a:lnTo>
                    <a:pt x="34" y="209"/>
                  </a:lnTo>
                  <a:lnTo>
                    <a:pt x="34" y="209"/>
                  </a:lnTo>
                  <a:lnTo>
                    <a:pt x="47" y="209"/>
                  </a:lnTo>
                  <a:lnTo>
                    <a:pt x="64" y="209"/>
                  </a:lnTo>
                  <a:lnTo>
                    <a:pt x="64" y="209"/>
                  </a:lnTo>
                  <a:lnTo>
                    <a:pt x="68" y="205"/>
                  </a:lnTo>
                  <a:lnTo>
                    <a:pt x="71" y="202"/>
                  </a:lnTo>
                  <a:lnTo>
                    <a:pt x="78" y="192"/>
                  </a:lnTo>
                  <a:lnTo>
                    <a:pt x="78" y="188"/>
                  </a:lnTo>
                  <a:lnTo>
                    <a:pt x="78" y="188"/>
                  </a:lnTo>
                  <a:lnTo>
                    <a:pt x="84" y="188"/>
                  </a:lnTo>
                  <a:lnTo>
                    <a:pt x="84" y="188"/>
                  </a:lnTo>
                  <a:lnTo>
                    <a:pt x="88" y="185"/>
                  </a:lnTo>
                  <a:lnTo>
                    <a:pt x="91" y="178"/>
                  </a:lnTo>
                  <a:lnTo>
                    <a:pt x="91" y="178"/>
                  </a:lnTo>
                  <a:lnTo>
                    <a:pt x="98" y="178"/>
                  </a:lnTo>
                  <a:lnTo>
                    <a:pt x="105" y="175"/>
                  </a:lnTo>
                  <a:lnTo>
                    <a:pt x="105" y="175"/>
                  </a:lnTo>
                  <a:lnTo>
                    <a:pt x="105" y="165"/>
                  </a:lnTo>
                  <a:lnTo>
                    <a:pt x="105" y="165"/>
                  </a:lnTo>
                  <a:lnTo>
                    <a:pt x="115" y="161"/>
                  </a:lnTo>
                  <a:lnTo>
                    <a:pt x="115" y="161"/>
                  </a:lnTo>
                  <a:lnTo>
                    <a:pt x="115" y="168"/>
                  </a:lnTo>
                  <a:lnTo>
                    <a:pt x="118" y="175"/>
                  </a:lnTo>
                  <a:lnTo>
                    <a:pt x="118" y="175"/>
                  </a:lnTo>
                  <a:lnTo>
                    <a:pt x="128" y="178"/>
                  </a:lnTo>
                  <a:lnTo>
                    <a:pt x="128" y="178"/>
                  </a:lnTo>
                  <a:lnTo>
                    <a:pt x="131" y="182"/>
                  </a:lnTo>
                  <a:lnTo>
                    <a:pt x="131" y="182"/>
                  </a:lnTo>
                  <a:lnTo>
                    <a:pt x="138" y="185"/>
                  </a:lnTo>
                  <a:lnTo>
                    <a:pt x="141" y="185"/>
                  </a:lnTo>
                  <a:lnTo>
                    <a:pt x="141" y="188"/>
                  </a:lnTo>
                  <a:lnTo>
                    <a:pt x="158" y="205"/>
                  </a:lnTo>
                  <a:lnTo>
                    <a:pt x="158" y="205"/>
                  </a:lnTo>
                  <a:lnTo>
                    <a:pt x="168" y="205"/>
                  </a:lnTo>
                  <a:lnTo>
                    <a:pt x="168" y="205"/>
                  </a:lnTo>
                  <a:lnTo>
                    <a:pt x="178" y="215"/>
                  </a:lnTo>
                  <a:lnTo>
                    <a:pt x="178" y="215"/>
                  </a:lnTo>
                  <a:lnTo>
                    <a:pt x="182" y="229"/>
                  </a:lnTo>
                  <a:lnTo>
                    <a:pt x="182" y="242"/>
                  </a:lnTo>
                  <a:lnTo>
                    <a:pt x="182" y="242"/>
                  </a:lnTo>
                  <a:lnTo>
                    <a:pt x="185" y="256"/>
                  </a:lnTo>
                  <a:lnTo>
                    <a:pt x="189" y="266"/>
                  </a:lnTo>
                  <a:lnTo>
                    <a:pt x="189" y="279"/>
                  </a:lnTo>
                  <a:lnTo>
                    <a:pt x="185" y="293"/>
                  </a:lnTo>
                  <a:lnTo>
                    <a:pt x="185" y="293"/>
                  </a:lnTo>
                  <a:lnTo>
                    <a:pt x="199" y="293"/>
                  </a:lnTo>
                  <a:lnTo>
                    <a:pt x="199" y="293"/>
                  </a:lnTo>
                  <a:lnTo>
                    <a:pt x="199" y="303"/>
                  </a:lnTo>
                  <a:lnTo>
                    <a:pt x="199" y="303"/>
                  </a:lnTo>
                  <a:lnTo>
                    <a:pt x="209" y="313"/>
                  </a:lnTo>
                  <a:lnTo>
                    <a:pt x="209" y="313"/>
                  </a:lnTo>
                  <a:lnTo>
                    <a:pt x="212" y="319"/>
                  </a:lnTo>
                  <a:lnTo>
                    <a:pt x="215" y="323"/>
                  </a:lnTo>
                  <a:lnTo>
                    <a:pt x="215" y="326"/>
                  </a:lnTo>
                  <a:lnTo>
                    <a:pt x="215" y="326"/>
                  </a:lnTo>
                  <a:lnTo>
                    <a:pt x="212" y="336"/>
                  </a:lnTo>
                  <a:lnTo>
                    <a:pt x="212" y="336"/>
                  </a:lnTo>
                  <a:lnTo>
                    <a:pt x="219" y="333"/>
                  </a:lnTo>
                  <a:lnTo>
                    <a:pt x="229" y="333"/>
                  </a:lnTo>
                  <a:lnTo>
                    <a:pt x="229" y="333"/>
                  </a:lnTo>
                  <a:lnTo>
                    <a:pt x="236" y="336"/>
                  </a:lnTo>
                  <a:lnTo>
                    <a:pt x="239" y="346"/>
                  </a:lnTo>
                  <a:lnTo>
                    <a:pt x="249" y="360"/>
                  </a:lnTo>
                  <a:lnTo>
                    <a:pt x="249" y="360"/>
                  </a:lnTo>
                  <a:lnTo>
                    <a:pt x="259" y="370"/>
                  </a:lnTo>
                  <a:lnTo>
                    <a:pt x="269" y="380"/>
                  </a:lnTo>
                  <a:lnTo>
                    <a:pt x="269" y="380"/>
                  </a:lnTo>
                  <a:lnTo>
                    <a:pt x="283" y="397"/>
                  </a:lnTo>
                  <a:lnTo>
                    <a:pt x="293" y="410"/>
                  </a:lnTo>
                  <a:lnTo>
                    <a:pt x="293" y="410"/>
                  </a:lnTo>
                  <a:lnTo>
                    <a:pt x="299" y="417"/>
                  </a:lnTo>
                  <a:lnTo>
                    <a:pt x="306" y="420"/>
                  </a:lnTo>
                  <a:lnTo>
                    <a:pt x="306" y="420"/>
                  </a:lnTo>
                  <a:lnTo>
                    <a:pt x="313" y="427"/>
                  </a:lnTo>
                  <a:lnTo>
                    <a:pt x="313" y="427"/>
                  </a:lnTo>
                  <a:lnTo>
                    <a:pt x="316" y="427"/>
                  </a:lnTo>
                  <a:lnTo>
                    <a:pt x="323" y="427"/>
                  </a:lnTo>
                  <a:lnTo>
                    <a:pt x="323" y="427"/>
                  </a:lnTo>
                  <a:lnTo>
                    <a:pt x="330" y="430"/>
                  </a:lnTo>
                  <a:lnTo>
                    <a:pt x="336" y="434"/>
                  </a:lnTo>
                  <a:lnTo>
                    <a:pt x="336" y="434"/>
                  </a:lnTo>
                  <a:lnTo>
                    <a:pt x="340" y="434"/>
                  </a:lnTo>
                  <a:lnTo>
                    <a:pt x="350" y="430"/>
                  </a:lnTo>
                  <a:lnTo>
                    <a:pt x="350" y="430"/>
                  </a:lnTo>
                  <a:lnTo>
                    <a:pt x="357" y="461"/>
                  </a:lnTo>
                  <a:lnTo>
                    <a:pt x="357" y="461"/>
                  </a:lnTo>
                  <a:lnTo>
                    <a:pt x="370" y="461"/>
                  </a:lnTo>
                  <a:lnTo>
                    <a:pt x="370" y="461"/>
                  </a:lnTo>
                  <a:lnTo>
                    <a:pt x="370" y="464"/>
                  </a:lnTo>
                  <a:lnTo>
                    <a:pt x="373" y="467"/>
                  </a:lnTo>
                  <a:lnTo>
                    <a:pt x="373" y="467"/>
                  </a:lnTo>
                  <a:lnTo>
                    <a:pt x="377" y="467"/>
                  </a:lnTo>
                  <a:lnTo>
                    <a:pt x="377" y="467"/>
                  </a:lnTo>
                  <a:lnTo>
                    <a:pt x="373" y="477"/>
                  </a:lnTo>
                  <a:lnTo>
                    <a:pt x="373" y="477"/>
                  </a:lnTo>
                  <a:lnTo>
                    <a:pt x="400" y="474"/>
                  </a:lnTo>
                  <a:lnTo>
                    <a:pt x="400" y="474"/>
                  </a:lnTo>
                  <a:lnTo>
                    <a:pt x="407" y="491"/>
                  </a:lnTo>
                  <a:lnTo>
                    <a:pt x="407" y="498"/>
                  </a:lnTo>
                  <a:lnTo>
                    <a:pt x="404" y="508"/>
                  </a:lnTo>
                  <a:lnTo>
                    <a:pt x="404" y="508"/>
                  </a:lnTo>
                  <a:lnTo>
                    <a:pt x="417" y="514"/>
                  </a:lnTo>
                  <a:lnTo>
                    <a:pt x="424" y="524"/>
                  </a:lnTo>
                  <a:lnTo>
                    <a:pt x="424" y="524"/>
                  </a:lnTo>
                  <a:lnTo>
                    <a:pt x="427" y="528"/>
                  </a:lnTo>
                  <a:lnTo>
                    <a:pt x="431" y="528"/>
                  </a:lnTo>
                  <a:lnTo>
                    <a:pt x="431" y="528"/>
                  </a:lnTo>
                  <a:lnTo>
                    <a:pt x="441" y="521"/>
                  </a:lnTo>
                  <a:lnTo>
                    <a:pt x="441" y="521"/>
                  </a:lnTo>
                  <a:lnTo>
                    <a:pt x="444" y="524"/>
                  </a:lnTo>
                  <a:lnTo>
                    <a:pt x="444" y="524"/>
                  </a:lnTo>
                  <a:lnTo>
                    <a:pt x="444" y="524"/>
                  </a:lnTo>
                  <a:lnTo>
                    <a:pt x="451" y="548"/>
                  </a:lnTo>
                  <a:lnTo>
                    <a:pt x="457" y="565"/>
                  </a:lnTo>
                  <a:lnTo>
                    <a:pt x="457" y="565"/>
                  </a:lnTo>
                  <a:lnTo>
                    <a:pt x="464" y="575"/>
                  </a:lnTo>
                  <a:lnTo>
                    <a:pt x="464" y="575"/>
                  </a:lnTo>
                  <a:lnTo>
                    <a:pt x="464" y="582"/>
                  </a:lnTo>
                  <a:lnTo>
                    <a:pt x="464" y="588"/>
                  </a:lnTo>
                  <a:lnTo>
                    <a:pt x="464" y="588"/>
                  </a:lnTo>
                  <a:lnTo>
                    <a:pt x="474" y="615"/>
                  </a:lnTo>
                  <a:lnTo>
                    <a:pt x="474" y="615"/>
                  </a:lnTo>
                  <a:lnTo>
                    <a:pt x="471" y="615"/>
                  </a:lnTo>
                  <a:lnTo>
                    <a:pt x="467" y="622"/>
                  </a:lnTo>
                  <a:lnTo>
                    <a:pt x="467" y="622"/>
                  </a:lnTo>
                  <a:lnTo>
                    <a:pt x="464" y="615"/>
                  </a:lnTo>
                  <a:lnTo>
                    <a:pt x="464" y="615"/>
                  </a:lnTo>
                  <a:lnTo>
                    <a:pt x="454" y="622"/>
                  </a:lnTo>
                  <a:lnTo>
                    <a:pt x="454" y="622"/>
                  </a:lnTo>
                  <a:lnTo>
                    <a:pt x="451" y="625"/>
                  </a:lnTo>
                  <a:lnTo>
                    <a:pt x="451" y="629"/>
                  </a:lnTo>
                  <a:lnTo>
                    <a:pt x="454" y="635"/>
                  </a:lnTo>
                  <a:lnTo>
                    <a:pt x="454" y="639"/>
                  </a:lnTo>
                  <a:lnTo>
                    <a:pt x="454" y="639"/>
                  </a:lnTo>
                  <a:lnTo>
                    <a:pt x="447" y="649"/>
                  </a:lnTo>
                  <a:lnTo>
                    <a:pt x="441" y="656"/>
                  </a:lnTo>
                  <a:lnTo>
                    <a:pt x="441" y="656"/>
                  </a:lnTo>
                  <a:lnTo>
                    <a:pt x="437" y="666"/>
                  </a:lnTo>
                  <a:lnTo>
                    <a:pt x="437" y="666"/>
                  </a:lnTo>
                  <a:lnTo>
                    <a:pt x="437" y="672"/>
                  </a:lnTo>
                  <a:lnTo>
                    <a:pt x="437" y="676"/>
                  </a:lnTo>
                  <a:lnTo>
                    <a:pt x="441" y="679"/>
                  </a:lnTo>
                  <a:lnTo>
                    <a:pt x="441" y="679"/>
                  </a:lnTo>
                  <a:lnTo>
                    <a:pt x="451" y="682"/>
                  </a:lnTo>
                  <a:lnTo>
                    <a:pt x="457" y="682"/>
                  </a:lnTo>
                  <a:lnTo>
                    <a:pt x="464" y="679"/>
                  </a:lnTo>
                  <a:lnTo>
                    <a:pt x="471" y="672"/>
                  </a:lnTo>
                  <a:lnTo>
                    <a:pt x="471" y="672"/>
                  </a:lnTo>
                  <a:lnTo>
                    <a:pt x="478" y="659"/>
                  </a:lnTo>
                  <a:lnTo>
                    <a:pt x="478" y="659"/>
                  </a:lnTo>
                  <a:lnTo>
                    <a:pt x="484" y="652"/>
                  </a:lnTo>
                  <a:lnTo>
                    <a:pt x="494" y="645"/>
                  </a:lnTo>
                  <a:lnTo>
                    <a:pt x="494" y="645"/>
                  </a:lnTo>
                  <a:lnTo>
                    <a:pt x="498" y="632"/>
                  </a:lnTo>
                  <a:lnTo>
                    <a:pt x="498" y="622"/>
                  </a:lnTo>
                  <a:lnTo>
                    <a:pt x="498" y="615"/>
                  </a:lnTo>
                  <a:lnTo>
                    <a:pt x="501" y="612"/>
                  </a:lnTo>
                  <a:lnTo>
                    <a:pt x="508" y="608"/>
                  </a:lnTo>
                  <a:lnTo>
                    <a:pt x="518" y="605"/>
                  </a:lnTo>
                  <a:lnTo>
                    <a:pt x="518" y="605"/>
                  </a:lnTo>
                  <a:lnTo>
                    <a:pt x="528" y="612"/>
                  </a:lnTo>
                  <a:lnTo>
                    <a:pt x="528" y="612"/>
                  </a:lnTo>
                  <a:lnTo>
                    <a:pt x="528" y="608"/>
                  </a:lnTo>
                  <a:lnTo>
                    <a:pt x="528" y="605"/>
                  </a:lnTo>
                  <a:lnTo>
                    <a:pt x="528" y="605"/>
                  </a:lnTo>
                  <a:lnTo>
                    <a:pt x="525" y="592"/>
                  </a:lnTo>
                  <a:lnTo>
                    <a:pt x="528" y="575"/>
                  </a:lnTo>
                  <a:lnTo>
                    <a:pt x="528" y="575"/>
                  </a:lnTo>
                  <a:lnTo>
                    <a:pt x="531" y="575"/>
                  </a:lnTo>
                  <a:lnTo>
                    <a:pt x="531" y="575"/>
                  </a:lnTo>
                  <a:lnTo>
                    <a:pt x="531" y="575"/>
                  </a:lnTo>
                  <a:lnTo>
                    <a:pt x="528" y="568"/>
                  </a:lnTo>
                  <a:lnTo>
                    <a:pt x="528" y="568"/>
                  </a:lnTo>
                  <a:lnTo>
                    <a:pt x="528" y="568"/>
                  </a:lnTo>
                  <a:lnTo>
                    <a:pt x="518" y="565"/>
                  </a:lnTo>
                  <a:lnTo>
                    <a:pt x="518" y="565"/>
                  </a:lnTo>
                  <a:lnTo>
                    <a:pt x="515" y="558"/>
                  </a:lnTo>
                  <a:lnTo>
                    <a:pt x="515" y="558"/>
                  </a:lnTo>
                  <a:lnTo>
                    <a:pt x="498" y="551"/>
                  </a:lnTo>
                  <a:lnTo>
                    <a:pt x="498" y="551"/>
                  </a:lnTo>
                  <a:lnTo>
                    <a:pt x="494" y="541"/>
                  </a:lnTo>
                  <a:lnTo>
                    <a:pt x="494" y="541"/>
                  </a:lnTo>
                  <a:lnTo>
                    <a:pt x="504" y="521"/>
                  </a:lnTo>
                  <a:lnTo>
                    <a:pt x="515" y="504"/>
                  </a:lnTo>
                  <a:lnTo>
                    <a:pt x="515" y="504"/>
                  </a:lnTo>
                  <a:lnTo>
                    <a:pt x="515" y="501"/>
                  </a:lnTo>
                  <a:lnTo>
                    <a:pt x="515" y="501"/>
                  </a:lnTo>
                  <a:lnTo>
                    <a:pt x="521" y="494"/>
                  </a:lnTo>
                  <a:lnTo>
                    <a:pt x="521" y="494"/>
                  </a:lnTo>
                  <a:lnTo>
                    <a:pt x="528" y="494"/>
                  </a:lnTo>
                  <a:lnTo>
                    <a:pt x="535" y="494"/>
                  </a:lnTo>
                  <a:lnTo>
                    <a:pt x="535" y="494"/>
                  </a:lnTo>
                  <a:lnTo>
                    <a:pt x="538" y="501"/>
                  </a:lnTo>
                  <a:lnTo>
                    <a:pt x="538" y="501"/>
                  </a:lnTo>
                  <a:lnTo>
                    <a:pt x="541" y="501"/>
                  </a:lnTo>
                  <a:lnTo>
                    <a:pt x="541" y="501"/>
                  </a:lnTo>
                  <a:lnTo>
                    <a:pt x="555" y="508"/>
                  </a:lnTo>
                  <a:lnTo>
                    <a:pt x="555" y="508"/>
                  </a:lnTo>
                  <a:lnTo>
                    <a:pt x="565" y="508"/>
                  </a:lnTo>
                  <a:lnTo>
                    <a:pt x="568" y="508"/>
                  </a:lnTo>
                  <a:lnTo>
                    <a:pt x="575" y="511"/>
                  </a:lnTo>
                  <a:lnTo>
                    <a:pt x="575" y="514"/>
                  </a:lnTo>
                  <a:lnTo>
                    <a:pt x="575" y="514"/>
                  </a:lnTo>
                  <a:lnTo>
                    <a:pt x="578" y="518"/>
                  </a:lnTo>
                  <a:lnTo>
                    <a:pt x="578" y="518"/>
                  </a:lnTo>
                  <a:lnTo>
                    <a:pt x="578" y="521"/>
                  </a:lnTo>
                  <a:lnTo>
                    <a:pt x="578" y="524"/>
                  </a:lnTo>
                  <a:lnTo>
                    <a:pt x="575" y="528"/>
                  </a:lnTo>
                  <a:lnTo>
                    <a:pt x="578" y="531"/>
                  </a:lnTo>
                  <a:lnTo>
                    <a:pt x="578" y="531"/>
                  </a:lnTo>
                  <a:lnTo>
                    <a:pt x="592" y="548"/>
                  </a:lnTo>
                  <a:lnTo>
                    <a:pt x="592" y="548"/>
                  </a:lnTo>
                  <a:lnTo>
                    <a:pt x="602" y="548"/>
                  </a:lnTo>
                  <a:lnTo>
                    <a:pt x="602" y="548"/>
                  </a:lnTo>
                  <a:lnTo>
                    <a:pt x="602" y="538"/>
                  </a:lnTo>
                  <a:lnTo>
                    <a:pt x="605" y="535"/>
                  </a:lnTo>
                  <a:close/>
                  <a:moveTo>
                    <a:pt x="437" y="652"/>
                  </a:moveTo>
                  <a:lnTo>
                    <a:pt x="431" y="662"/>
                  </a:lnTo>
                  <a:lnTo>
                    <a:pt x="431" y="662"/>
                  </a:lnTo>
                  <a:lnTo>
                    <a:pt x="424" y="672"/>
                  </a:lnTo>
                  <a:lnTo>
                    <a:pt x="417" y="682"/>
                  </a:lnTo>
                  <a:lnTo>
                    <a:pt x="417" y="682"/>
                  </a:lnTo>
                  <a:lnTo>
                    <a:pt x="414" y="699"/>
                  </a:lnTo>
                  <a:lnTo>
                    <a:pt x="414" y="699"/>
                  </a:lnTo>
                  <a:lnTo>
                    <a:pt x="407" y="706"/>
                  </a:lnTo>
                  <a:lnTo>
                    <a:pt x="404" y="709"/>
                  </a:lnTo>
                  <a:lnTo>
                    <a:pt x="404" y="716"/>
                  </a:lnTo>
                  <a:lnTo>
                    <a:pt x="404" y="716"/>
                  </a:lnTo>
                  <a:lnTo>
                    <a:pt x="407" y="723"/>
                  </a:lnTo>
                  <a:lnTo>
                    <a:pt x="407" y="723"/>
                  </a:lnTo>
                  <a:lnTo>
                    <a:pt x="407" y="729"/>
                  </a:lnTo>
                  <a:lnTo>
                    <a:pt x="407" y="733"/>
                  </a:lnTo>
                  <a:lnTo>
                    <a:pt x="407" y="733"/>
                  </a:lnTo>
                  <a:lnTo>
                    <a:pt x="410" y="736"/>
                  </a:lnTo>
                  <a:lnTo>
                    <a:pt x="414" y="740"/>
                  </a:lnTo>
                  <a:lnTo>
                    <a:pt x="414" y="740"/>
                  </a:lnTo>
                  <a:lnTo>
                    <a:pt x="414" y="746"/>
                  </a:lnTo>
                  <a:lnTo>
                    <a:pt x="414" y="746"/>
                  </a:lnTo>
                  <a:lnTo>
                    <a:pt x="404" y="753"/>
                  </a:lnTo>
                  <a:lnTo>
                    <a:pt x="404" y="766"/>
                  </a:lnTo>
                  <a:lnTo>
                    <a:pt x="404" y="766"/>
                  </a:lnTo>
                  <a:lnTo>
                    <a:pt x="380" y="763"/>
                  </a:lnTo>
                  <a:lnTo>
                    <a:pt x="370" y="760"/>
                  </a:lnTo>
                  <a:lnTo>
                    <a:pt x="363" y="753"/>
                  </a:lnTo>
                  <a:lnTo>
                    <a:pt x="363" y="753"/>
                  </a:lnTo>
                  <a:lnTo>
                    <a:pt x="360" y="746"/>
                  </a:lnTo>
                  <a:lnTo>
                    <a:pt x="357" y="740"/>
                  </a:lnTo>
                  <a:lnTo>
                    <a:pt x="357" y="740"/>
                  </a:lnTo>
                  <a:lnTo>
                    <a:pt x="350" y="736"/>
                  </a:lnTo>
                  <a:lnTo>
                    <a:pt x="343" y="736"/>
                  </a:lnTo>
                  <a:lnTo>
                    <a:pt x="326" y="736"/>
                  </a:lnTo>
                  <a:lnTo>
                    <a:pt x="326" y="736"/>
                  </a:lnTo>
                  <a:lnTo>
                    <a:pt x="320" y="726"/>
                  </a:lnTo>
                  <a:lnTo>
                    <a:pt x="310" y="719"/>
                  </a:lnTo>
                  <a:lnTo>
                    <a:pt x="310" y="719"/>
                  </a:lnTo>
                  <a:lnTo>
                    <a:pt x="303" y="719"/>
                  </a:lnTo>
                  <a:lnTo>
                    <a:pt x="303" y="719"/>
                  </a:lnTo>
                  <a:lnTo>
                    <a:pt x="296" y="709"/>
                  </a:lnTo>
                  <a:lnTo>
                    <a:pt x="296" y="709"/>
                  </a:lnTo>
                  <a:lnTo>
                    <a:pt x="279" y="699"/>
                  </a:lnTo>
                  <a:lnTo>
                    <a:pt x="256" y="692"/>
                  </a:lnTo>
                  <a:lnTo>
                    <a:pt x="256" y="692"/>
                  </a:lnTo>
                  <a:lnTo>
                    <a:pt x="252" y="676"/>
                  </a:lnTo>
                  <a:lnTo>
                    <a:pt x="252" y="666"/>
                  </a:lnTo>
                  <a:lnTo>
                    <a:pt x="256" y="659"/>
                  </a:lnTo>
                  <a:lnTo>
                    <a:pt x="256" y="659"/>
                  </a:lnTo>
                  <a:lnTo>
                    <a:pt x="266" y="656"/>
                  </a:lnTo>
                  <a:lnTo>
                    <a:pt x="266" y="656"/>
                  </a:lnTo>
                  <a:lnTo>
                    <a:pt x="269" y="649"/>
                  </a:lnTo>
                  <a:lnTo>
                    <a:pt x="273" y="649"/>
                  </a:lnTo>
                  <a:lnTo>
                    <a:pt x="273" y="649"/>
                  </a:lnTo>
                  <a:lnTo>
                    <a:pt x="279" y="656"/>
                  </a:lnTo>
                  <a:lnTo>
                    <a:pt x="283" y="659"/>
                  </a:lnTo>
                  <a:lnTo>
                    <a:pt x="289" y="659"/>
                  </a:lnTo>
                  <a:lnTo>
                    <a:pt x="289" y="659"/>
                  </a:lnTo>
                  <a:lnTo>
                    <a:pt x="289" y="656"/>
                  </a:lnTo>
                  <a:lnTo>
                    <a:pt x="286" y="656"/>
                  </a:lnTo>
                  <a:lnTo>
                    <a:pt x="289" y="649"/>
                  </a:lnTo>
                  <a:lnTo>
                    <a:pt x="289" y="649"/>
                  </a:lnTo>
                  <a:lnTo>
                    <a:pt x="296" y="649"/>
                  </a:lnTo>
                  <a:lnTo>
                    <a:pt x="306" y="649"/>
                  </a:lnTo>
                  <a:lnTo>
                    <a:pt x="306" y="649"/>
                  </a:lnTo>
                  <a:lnTo>
                    <a:pt x="306" y="659"/>
                  </a:lnTo>
                  <a:lnTo>
                    <a:pt x="306" y="659"/>
                  </a:lnTo>
                  <a:lnTo>
                    <a:pt x="313" y="656"/>
                  </a:lnTo>
                  <a:lnTo>
                    <a:pt x="316" y="656"/>
                  </a:lnTo>
                  <a:lnTo>
                    <a:pt x="316" y="656"/>
                  </a:lnTo>
                  <a:lnTo>
                    <a:pt x="316" y="659"/>
                  </a:lnTo>
                  <a:lnTo>
                    <a:pt x="316" y="662"/>
                  </a:lnTo>
                  <a:lnTo>
                    <a:pt x="316" y="662"/>
                  </a:lnTo>
                  <a:lnTo>
                    <a:pt x="326" y="666"/>
                  </a:lnTo>
                  <a:lnTo>
                    <a:pt x="336" y="669"/>
                  </a:lnTo>
                  <a:lnTo>
                    <a:pt x="340" y="666"/>
                  </a:lnTo>
                  <a:lnTo>
                    <a:pt x="340" y="666"/>
                  </a:lnTo>
                  <a:lnTo>
                    <a:pt x="350" y="666"/>
                  </a:lnTo>
                  <a:lnTo>
                    <a:pt x="357" y="666"/>
                  </a:lnTo>
                  <a:lnTo>
                    <a:pt x="363" y="669"/>
                  </a:lnTo>
                  <a:lnTo>
                    <a:pt x="370" y="666"/>
                  </a:lnTo>
                  <a:lnTo>
                    <a:pt x="370" y="666"/>
                  </a:lnTo>
                  <a:lnTo>
                    <a:pt x="377" y="662"/>
                  </a:lnTo>
                  <a:lnTo>
                    <a:pt x="377" y="662"/>
                  </a:lnTo>
                  <a:lnTo>
                    <a:pt x="390" y="659"/>
                  </a:lnTo>
                  <a:lnTo>
                    <a:pt x="407" y="659"/>
                  </a:lnTo>
                  <a:lnTo>
                    <a:pt x="407" y="659"/>
                  </a:lnTo>
                  <a:lnTo>
                    <a:pt x="414" y="649"/>
                  </a:lnTo>
                  <a:lnTo>
                    <a:pt x="414" y="649"/>
                  </a:lnTo>
                  <a:lnTo>
                    <a:pt x="417" y="652"/>
                  </a:lnTo>
                  <a:lnTo>
                    <a:pt x="420" y="652"/>
                  </a:lnTo>
                  <a:lnTo>
                    <a:pt x="420" y="652"/>
                  </a:lnTo>
                  <a:lnTo>
                    <a:pt x="427" y="652"/>
                  </a:lnTo>
                  <a:lnTo>
                    <a:pt x="434" y="652"/>
                  </a:lnTo>
                  <a:lnTo>
                    <a:pt x="437" y="652"/>
                  </a:lnTo>
                  <a:lnTo>
                    <a:pt x="437" y="652"/>
                  </a:lnTo>
                  <a:close/>
                </a:path>
              </a:pathLst>
            </a:custGeom>
            <a:solidFill>
              <a:srgbClr val="C0C0C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EYInterstate" pitchFamily="2" charset="0"/>
                <a:cs typeface="Arial" charset="0"/>
              </a:endParaRPr>
            </a:p>
          </p:txBody>
        </p:sp>
        <p:sp>
          <p:nvSpPr>
            <p:cNvPr id="37" name="Freeform 51"/>
            <p:cNvSpPr>
              <a:spLocks noEditPoints="1"/>
            </p:cNvSpPr>
            <p:nvPr/>
          </p:nvSpPr>
          <p:spPr bwMode="auto">
            <a:xfrm>
              <a:off x="3331" y="822"/>
              <a:ext cx="1201" cy="2118"/>
            </a:xfrm>
            <a:custGeom>
              <a:avLst/>
              <a:gdLst/>
              <a:ahLst/>
              <a:cxnLst>
                <a:cxn ang="0">
                  <a:pos x="834" y="336"/>
                </a:cxn>
                <a:cxn ang="0">
                  <a:pos x="68" y="1579"/>
                </a:cxn>
                <a:cxn ang="0">
                  <a:pos x="11" y="1620"/>
                </a:cxn>
                <a:cxn ang="0">
                  <a:pos x="1076" y="0"/>
                </a:cxn>
                <a:cxn ang="0">
                  <a:pos x="1160" y="67"/>
                </a:cxn>
                <a:cxn ang="0">
                  <a:pos x="1039" y="87"/>
                </a:cxn>
                <a:cxn ang="0">
                  <a:pos x="918" y="121"/>
                </a:cxn>
                <a:cxn ang="0">
                  <a:pos x="965" y="218"/>
                </a:cxn>
                <a:cxn ang="0">
                  <a:pos x="918" y="198"/>
                </a:cxn>
                <a:cxn ang="0">
                  <a:pos x="881" y="262"/>
                </a:cxn>
                <a:cxn ang="0">
                  <a:pos x="851" y="359"/>
                </a:cxn>
                <a:cxn ang="0">
                  <a:pos x="837" y="302"/>
                </a:cxn>
                <a:cxn ang="0">
                  <a:pos x="807" y="295"/>
                </a:cxn>
                <a:cxn ang="0">
                  <a:pos x="810" y="322"/>
                </a:cxn>
                <a:cxn ang="0">
                  <a:pos x="743" y="427"/>
                </a:cxn>
                <a:cxn ang="0">
                  <a:pos x="730" y="517"/>
                </a:cxn>
                <a:cxn ang="0">
                  <a:pos x="696" y="453"/>
                </a:cxn>
                <a:cxn ang="0">
                  <a:pos x="589" y="437"/>
                </a:cxn>
                <a:cxn ang="0">
                  <a:pos x="686" y="605"/>
                </a:cxn>
                <a:cxn ang="0">
                  <a:pos x="585" y="679"/>
                </a:cxn>
                <a:cxn ang="0">
                  <a:pos x="629" y="746"/>
                </a:cxn>
                <a:cxn ang="0">
                  <a:pos x="525" y="739"/>
                </a:cxn>
                <a:cxn ang="0">
                  <a:pos x="545" y="786"/>
                </a:cxn>
                <a:cxn ang="0">
                  <a:pos x="444" y="793"/>
                </a:cxn>
                <a:cxn ang="0">
                  <a:pos x="407" y="692"/>
                </a:cxn>
                <a:cxn ang="0">
                  <a:pos x="350" y="638"/>
                </a:cxn>
                <a:cxn ang="0">
                  <a:pos x="498" y="655"/>
                </a:cxn>
                <a:cxn ang="0">
                  <a:pos x="562" y="527"/>
                </a:cxn>
                <a:cxn ang="0">
                  <a:pos x="444" y="480"/>
                </a:cxn>
                <a:cxn ang="0">
                  <a:pos x="320" y="457"/>
                </a:cxn>
                <a:cxn ang="0">
                  <a:pos x="269" y="427"/>
                </a:cxn>
                <a:cxn ang="0">
                  <a:pos x="232" y="463"/>
                </a:cxn>
                <a:cxn ang="0">
                  <a:pos x="195" y="521"/>
                </a:cxn>
                <a:cxn ang="0">
                  <a:pos x="239" y="628"/>
                </a:cxn>
                <a:cxn ang="0">
                  <a:pos x="279" y="773"/>
                </a:cxn>
                <a:cxn ang="0">
                  <a:pos x="306" y="823"/>
                </a:cxn>
                <a:cxn ang="0">
                  <a:pos x="330" y="890"/>
                </a:cxn>
                <a:cxn ang="0">
                  <a:pos x="347" y="1031"/>
                </a:cxn>
                <a:cxn ang="0">
                  <a:pos x="320" y="1152"/>
                </a:cxn>
                <a:cxn ang="0">
                  <a:pos x="303" y="1196"/>
                </a:cxn>
                <a:cxn ang="0">
                  <a:pos x="303" y="1290"/>
                </a:cxn>
                <a:cxn ang="0">
                  <a:pos x="310" y="1334"/>
                </a:cxn>
                <a:cxn ang="0">
                  <a:pos x="326" y="1388"/>
                </a:cxn>
                <a:cxn ang="0">
                  <a:pos x="357" y="1445"/>
                </a:cxn>
                <a:cxn ang="0">
                  <a:pos x="411" y="1468"/>
                </a:cxn>
                <a:cxn ang="0">
                  <a:pos x="481" y="1502"/>
                </a:cxn>
                <a:cxn ang="0">
                  <a:pos x="521" y="1596"/>
                </a:cxn>
                <a:cxn ang="0">
                  <a:pos x="575" y="1646"/>
                </a:cxn>
                <a:cxn ang="0">
                  <a:pos x="518" y="1683"/>
                </a:cxn>
                <a:cxn ang="0">
                  <a:pos x="582" y="1730"/>
                </a:cxn>
                <a:cxn ang="0">
                  <a:pos x="669" y="1734"/>
                </a:cxn>
                <a:cxn ang="0">
                  <a:pos x="736" y="1788"/>
                </a:cxn>
                <a:cxn ang="0">
                  <a:pos x="837" y="1794"/>
                </a:cxn>
                <a:cxn ang="0">
                  <a:pos x="918" y="1821"/>
                </a:cxn>
                <a:cxn ang="0">
                  <a:pos x="978" y="1875"/>
                </a:cxn>
                <a:cxn ang="0">
                  <a:pos x="968" y="1969"/>
                </a:cxn>
                <a:cxn ang="0">
                  <a:pos x="931" y="2023"/>
                </a:cxn>
                <a:cxn ang="0">
                  <a:pos x="925" y="2053"/>
                </a:cxn>
                <a:cxn ang="0">
                  <a:pos x="928" y="2110"/>
                </a:cxn>
                <a:cxn ang="0">
                  <a:pos x="911" y="2151"/>
                </a:cxn>
                <a:cxn ang="0">
                  <a:pos x="888" y="2188"/>
                </a:cxn>
                <a:cxn ang="0">
                  <a:pos x="1039" y="2261"/>
                </a:cxn>
                <a:cxn ang="0">
                  <a:pos x="1200" y="10"/>
                </a:cxn>
              </a:cxnLst>
              <a:rect l="0" t="0" r="r" b="b"/>
              <a:pathLst>
                <a:path w="1200" h="2261">
                  <a:moveTo>
                    <a:pt x="7" y="1613"/>
                  </a:moveTo>
                  <a:lnTo>
                    <a:pt x="7" y="1613"/>
                  </a:lnTo>
                  <a:lnTo>
                    <a:pt x="4" y="1616"/>
                  </a:lnTo>
                  <a:lnTo>
                    <a:pt x="0" y="1613"/>
                  </a:lnTo>
                  <a:lnTo>
                    <a:pt x="0" y="1613"/>
                  </a:lnTo>
                  <a:lnTo>
                    <a:pt x="7" y="1613"/>
                  </a:lnTo>
                  <a:lnTo>
                    <a:pt x="7" y="1613"/>
                  </a:lnTo>
                  <a:close/>
                  <a:moveTo>
                    <a:pt x="41" y="1576"/>
                  </a:moveTo>
                  <a:lnTo>
                    <a:pt x="41" y="1576"/>
                  </a:lnTo>
                  <a:lnTo>
                    <a:pt x="41" y="1576"/>
                  </a:lnTo>
                  <a:lnTo>
                    <a:pt x="41" y="1576"/>
                  </a:lnTo>
                  <a:lnTo>
                    <a:pt x="41" y="1576"/>
                  </a:lnTo>
                  <a:lnTo>
                    <a:pt x="41" y="1576"/>
                  </a:lnTo>
                  <a:lnTo>
                    <a:pt x="41" y="1576"/>
                  </a:lnTo>
                  <a:lnTo>
                    <a:pt x="41" y="1576"/>
                  </a:lnTo>
                  <a:close/>
                  <a:moveTo>
                    <a:pt x="41" y="1579"/>
                  </a:moveTo>
                  <a:lnTo>
                    <a:pt x="41" y="1579"/>
                  </a:lnTo>
                  <a:lnTo>
                    <a:pt x="41" y="1579"/>
                  </a:lnTo>
                  <a:lnTo>
                    <a:pt x="41" y="1579"/>
                  </a:lnTo>
                  <a:lnTo>
                    <a:pt x="41" y="1579"/>
                  </a:lnTo>
                  <a:lnTo>
                    <a:pt x="41" y="1579"/>
                  </a:lnTo>
                  <a:close/>
                  <a:moveTo>
                    <a:pt x="834" y="336"/>
                  </a:moveTo>
                  <a:lnTo>
                    <a:pt x="834" y="336"/>
                  </a:lnTo>
                  <a:lnTo>
                    <a:pt x="837" y="343"/>
                  </a:lnTo>
                  <a:lnTo>
                    <a:pt x="837" y="343"/>
                  </a:lnTo>
                  <a:lnTo>
                    <a:pt x="837" y="343"/>
                  </a:lnTo>
                  <a:lnTo>
                    <a:pt x="837" y="343"/>
                  </a:lnTo>
                  <a:lnTo>
                    <a:pt x="834" y="336"/>
                  </a:lnTo>
                  <a:lnTo>
                    <a:pt x="834" y="336"/>
                  </a:lnTo>
                  <a:close/>
                  <a:moveTo>
                    <a:pt x="810" y="299"/>
                  </a:moveTo>
                  <a:lnTo>
                    <a:pt x="810" y="299"/>
                  </a:lnTo>
                  <a:lnTo>
                    <a:pt x="810" y="299"/>
                  </a:lnTo>
                  <a:lnTo>
                    <a:pt x="810" y="299"/>
                  </a:lnTo>
                  <a:lnTo>
                    <a:pt x="810" y="299"/>
                  </a:lnTo>
                  <a:lnTo>
                    <a:pt x="810" y="299"/>
                  </a:lnTo>
                  <a:close/>
                  <a:moveTo>
                    <a:pt x="128" y="1573"/>
                  </a:moveTo>
                  <a:lnTo>
                    <a:pt x="128" y="1573"/>
                  </a:lnTo>
                  <a:lnTo>
                    <a:pt x="128" y="1566"/>
                  </a:lnTo>
                  <a:lnTo>
                    <a:pt x="128" y="1562"/>
                  </a:lnTo>
                  <a:lnTo>
                    <a:pt x="121" y="1562"/>
                  </a:lnTo>
                  <a:lnTo>
                    <a:pt x="115" y="1562"/>
                  </a:lnTo>
                  <a:lnTo>
                    <a:pt x="108" y="1566"/>
                  </a:lnTo>
                  <a:lnTo>
                    <a:pt x="101" y="1562"/>
                  </a:lnTo>
                  <a:lnTo>
                    <a:pt x="95" y="1559"/>
                  </a:lnTo>
                  <a:lnTo>
                    <a:pt x="88" y="1562"/>
                  </a:lnTo>
                  <a:lnTo>
                    <a:pt x="78" y="1562"/>
                  </a:lnTo>
                  <a:lnTo>
                    <a:pt x="74" y="1559"/>
                  </a:lnTo>
                  <a:lnTo>
                    <a:pt x="71" y="1559"/>
                  </a:lnTo>
                  <a:lnTo>
                    <a:pt x="68" y="1559"/>
                  </a:lnTo>
                  <a:lnTo>
                    <a:pt x="68" y="1559"/>
                  </a:lnTo>
                  <a:lnTo>
                    <a:pt x="64" y="1569"/>
                  </a:lnTo>
                  <a:lnTo>
                    <a:pt x="64" y="1569"/>
                  </a:lnTo>
                  <a:lnTo>
                    <a:pt x="68" y="1573"/>
                  </a:lnTo>
                  <a:lnTo>
                    <a:pt x="68" y="1573"/>
                  </a:lnTo>
                  <a:lnTo>
                    <a:pt x="68" y="1579"/>
                  </a:lnTo>
                  <a:lnTo>
                    <a:pt x="68" y="1579"/>
                  </a:lnTo>
                  <a:lnTo>
                    <a:pt x="48" y="1579"/>
                  </a:lnTo>
                  <a:lnTo>
                    <a:pt x="48" y="1579"/>
                  </a:lnTo>
                  <a:lnTo>
                    <a:pt x="41" y="1579"/>
                  </a:lnTo>
                  <a:lnTo>
                    <a:pt x="41" y="1579"/>
                  </a:lnTo>
                  <a:lnTo>
                    <a:pt x="41" y="1579"/>
                  </a:lnTo>
                  <a:lnTo>
                    <a:pt x="41" y="1579"/>
                  </a:lnTo>
                  <a:lnTo>
                    <a:pt x="41" y="1576"/>
                  </a:lnTo>
                  <a:lnTo>
                    <a:pt x="41" y="1576"/>
                  </a:lnTo>
                  <a:lnTo>
                    <a:pt x="34" y="1579"/>
                  </a:lnTo>
                  <a:lnTo>
                    <a:pt x="34" y="1579"/>
                  </a:lnTo>
                  <a:lnTo>
                    <a:pt x="24" y="1579"/>
                  </a:lnTo>
                  <a:lnTo>
                    <a:pt x="14" y="1579"/>
                  </a:lnTo>
                  <a:lnTo>
                    <a:pt x="14" y="1579"/>
                  </a:lnTo>
                  <a:lnTo>
                    <a:pt x="14" y="1593"/>
                  </a:lnTo>
                  <a:lnTo>
                    <a:pt x="11" y="1593"/>
                  </a:lnTo>
                  <a:lnTo>
                    <a:pt x="11" y="1593"/>
                  </a:lnTo>
                  <a:lnTo>
                    <a:pt x="11" y="1603"/>
                  </a:lnTo>
                  <a:lnTo>
                    <a:pt x="14" y="1603"/>
                  </a:lnTo>
                  <a:lnTo>
                    <a:pt x="14" y="1603"/>
                  </a:lnTo>
                  <a:lnTo>
                    <a:pt x="17" y="1603"/>
                  </a:lnTo>
                  <a:lnTo>
                    <a:pt x="17" y="1599"/>
                  </a:lnTo>
                  <a:lnTo>
                    <a:pt x="17" y="1599"/>
                  </a:lnTo>
                  <a:lnTo>
                    <a:pt x="21" y="1603"/>
                  </a:lnTo>
                  <a:lnTo>
                    <a:pt x="24" y="1603"/>
                  </a:lnTo>
                  <a:lnTo>
                    <a:pt x="24" y="1603"/>
                  </a:lnTo>
                  <a:lnTo>
                    <a:pt x="17" y="1609"/>
                  </a:lnTo>
                  <a:lnTo>
                    <a:pt x="11" y="1616"/>
                  </a:lnTo>
                  <a:lnTo>
                    <a:pt x="11" y="1620"/>
                  </a:lnTo>
                  <a:lnTo>
                    <a:pt x="11" y="1620"/>
                  </a:lnTo>
                  <a:lnTo>
                    <a:pt x="7" y="1620"/>
                  </a:lnTo>
                  <a:lnTo>
                    <a:pt x="7" y="1620"/>
                  </a:lnTo>
                  <a:lnTo>
                    <a:pt x="14" y="1626"/>
                  </a:lnTo>
                  <a:lnTo>
                    <a:pt x="14" y="1626"/>
                  </a:lnTo>
                  <a:lnTo>
                    <a:pt x="58" y="1626"/>
                  </a:lnTo>
                  <a:lnTo>
                    <a:pt x="58" y="1626"/>
                  </a:lnTo>
                  <a:lnTo>
                    <a:pt x="91" y="1626"/>
                  </a:lnTo>
                  <a:lnTo>
                    <a:pt x="111" y="1623"/>
                  </a:lnTo>
                  <a:lnTo>
                    <a:pt x="111" y="1623"/>
                  </a:lnTo>
                  <a:lnTo>
                    <a:pt x="128" y="1616"/>
                  </a:lnTo>
                  <a:lnTo>
                    <a:pt x="128" y="1616"/>
                  </a:lnTo>
                  <a:lnTo>
                    <a:pt x="128" y="1609"/>
                  </a:lnTo>
                  <a:lnTo>
                    <a:pt x="128" y="1606"/>
                  </a:lnTo>
                  <a:lnTo>
                    <a:pt x="125" y="1603"/>
                  </a:lnTo>
                  <a:lnTo>
                    <a:pt x="125" y="1603"/>
                  </a:lnTo>
                  <a:lnTo>
                    <a:pt x="125" y="1599"/>
                  </a:lnTo>
                  <a:lnTo>
                    <a:pt x="128" y="1589"/>
                  </a:lnTo>
                  <a:lnTo>
                    <a:pt x="128" y="1589"/>
                  </a:lnTo>
                  <a:lnTo>
                    <a:pt x="132" y="1583"/>
                  </a:lnTo>
                  <a:lnTo>
                    <a:pt x="132" y="1583"/>
                  </a:lnTo>
                  <a:lnTo>
                    <a:pt x="132" y="1579"/>
                  </a:lnTo>
                  <a:lnTo>
                    <a:pt x="128" y="1576"/>
                  </a:lnTo>
                  <a:lnTo>
                    <a:pt x="128" y="1576"/>
                  </a:lnTo>
                  <a:lnTo>
                    <a:pt x="128" y="1573"/>
                  </a:lnTo>
                  <a:lnTo>
                    <a:pt x="128" y="1573"/>
                  </a:lnTo>
                  <a:close/>
                  <a:moveTo>
                    <a:pt x="1190" y="0"/>
                  </a:moveTo>
                  <a:lnTo>
                    <a:pt x="1076" y="0"/>
                  </a:lnTo>
                  <a:lnTo>
                    <a:pt x="1076" y="0"/>
                  </a:lnTo>
                  <a:lnTo>
                    <a:pt x="1079" y="0"/>
                  </a:lnTo>
                  <a:lnTo>
                    <a:pt x="1079" y="3"/>
                  </a:lnTo>
                  <a:lnTo>
                    <a:pt x="1073" y="13"/>
                  </a:lnTo>
                  <a:lnTo>
                    <a:pt x="1073" y="17"/>
                  </a:lnTo>
                  <a:lnTo>
                    <a:pt x="1076" y="20"/>
                  </a:lnTo>
                  <a:lnTo>
                    <a:pt x="1079" y="23"/>
                  </a:lnTo>
                  <a:lnTo>
                    <a:pt x="1093" y="27"/>
                  </a:lnTo>
                  <a:lnTo>
                    <a:pt x="1093" y="27"/>
                  </a:lnTo>
                  <a:lnTo>
                    <a:pt x="1106" y="27"/>
                  </a:lnTo>
                  <a:lnTo>
                    <a:pt x="1120" y="27"/>
                  </a:lnTo>
                  <a:lnTo>
                    <a:pt x="1123" y="20"/>
                  </a:lnTo>
                  <a:lnTo>
                    <a:pt x="1123" y="20"/>
                  </a:lnTo>
                  <a:lnTo>
                    <a:pt x="1126" y="20"/>
                  </a:lnTo>
                  <a:lnTo>
                    <a:pt x="1126" y="23"/>
                  </a:lnTo>
                  <a:lnTo>
                    <a:pt x="1130" y="27"/>
                  </a:lnTo>
                  <a:lnTo>
                    <a:pt x="1130" y="27"/>
                  </a:lnTo>
                  <a:lnTo>
                    <a:pt x="1136" y="27"/>
                  </a:lnTo>
                  <a:lnTo>
                    <a:pt x="1136" y="27"/>
                  </a:lnTo>
                  <a:lnTo>
                    <a:pt x="1143" y="33"/>
                  </a:lnTo>
                  <a:lnTo>
                    <a:pt x="1150" y="40"/>
                  </a:lnTo>
                  <a:lnTo>
                    <a:pt x="1150" y="40"/>
                  </a:lnTo>
                  <a:lnTo>
                    <a:pt x="1160" y="60"/>
                  </a:lnTo>
                  <a:lnTo>
                    <a:pt x="1163" y="60"/>
                  </a:lnTo>
                  <a:lnTo>
                    <a:pt x="1163" y="60"/>
                  </a:lnTo>
                  <a:lnTo>
                    <a:pt x="1160" y="64"/>
                  </a:lnTo>
                  <a:lnTo>
                    <a:pt x="1160" y="67"/>
                  </a:lnTo>
                  <a:lnTo>
                    <a:pt x="1160" y="67"/>
                  </a:lnTo>
                  <a:lnTo>
                    <a:pt x="1157" y="67"/>
                  </a:lnTo>
                  <a:lnTo>
                    <a:pt x="1157" y="64"/>
                  </a:lnTo>
                  <a:lnTo>
                    <a:pt x="1153" y="64"/>
                  </a:lnTo>
                  <a:lnTo>
                    <a:pt x="1153" y="67"/>
                  </a:lnTo>
                  <a:lnTo>
                    <a:pt x="1153" y="67"/>
                  </a:lnTo>
                  <a:lnTo>
                    <a:pt x="1143" y="64"/>
                  </a:lnTo>
                  <a:lnTo>
                    <a:pt x="1130" y="64"/>
                  </a:lnTo>
                  <a:lnTo>
                    <a:pt x="1130" y="64"/>
                  </a:lnTo>
                  <a:lnTo>
                    <a:pt x="1123" y="67"/>
                  </a:lnTo>
                  <a:lnTo>
                    <a:pt x="1113" y="70"/>
                  </a:lnTo>
                  <a:lnTo>
                    <a:pt x="1110" y="64"/>
                  </a:lnTo>
                  <a:lnTo>
                    <a:pt x="1110" y="64"/>
                  </a:lnTo>
                  <a:lnTo>
                    <a:pt x="1096" y="64"/>
                  </a:lnTo>
                  <a:lnTo>
                    <a:pt x="1096" y="64"/>
                  </a:lnTo>
                  <a:lnTo>
                    <a:pt x="1089" y="60"/>
                  </a:lnTo>
                  <a:lnTo>
                    <a:pt x="1089" y="60"/>
                  </a:lnTo>
                  <a:lnTo>
                    <a:pt x="1076" y="67"/>
                  </a:lnTo>
                  <a:lnTo>
                    <a:pt x="1066" y="74"/>
                  </a:lnTo>
                  <a:lnTo>
                    <a:pt x="1066" y="74"/>
                  </a:lnTo>
                  <a:lnTo>
                    <a:pt x="1059" y="74"/>
                  </a:lnTo>
                  <a:lnTo>
                    <a:pt x="1052" y="74"/>
                  </a:lnTo>
                  <a:lnTo>
                    <a:pt x="1046" y="70"/>
                  </a:lnTo>
                  <a:lnTo>
                    <a:pt x="1039" y="70"/>
                  </a:lnTo>
                  <a:lnTo>
                    <a:pt x="1039" y="70"/>
                  </a:lnTo>
                  <a:lnTo>
                    <a:pt x="1039" y="74"/>
                  </a:lnTo>
                  <a:lnTo>
                    <a:pt x="1039" y="77"/>
                  </a:lnTo>
                  <a:lnTo>
                    <a:pt x="1039" y="84"/>
                  </a:lnTo>
                  <a:lnTo>
                    <a:pt x="1039" y="87"/>
                  </a:lnTo>
                  <a:lnTo>
                    <a:pt x="1039" y="87"/>
                  </a:lnTo>
                  <a:lnTo>
                    <a:pt x="1032" y="84"/>
                  </a:lnTo>
                  <a:lnTo>
                    <a:pt x="1032" y="84"/>
                  </a:lnTo>
                  <a:lnTo>
                    <a:pt x="1032" y="80"/>
                  </a:lnTo>
                  <a:lnTo>
                    <a:pt x="1029" y="74"/>
                  </a:lnTo>
                  <a:lnTo>
                    <a:pt x="1029" y="74"/>
                  </a:lnTo>
                  <a:lnTo>
                    <a:pt x="1015" y="77"/>
                  </a:lnTo>
                  <a:lnTo>
                    <a:pt x="1015" y="77"/>
                  </a:lnTo>
                  <a:lnTo>
                    <a:pt x="1009" y="84"/>
                  </a:lnTo>
                  <a:lnTo>
                    <a:pt x="1009" y="84"/>
                  </a:lnTo>
                  <a:lnTo>
                    <a:pt x="999" y="84"/>
                  </a:lnTo>
                  <a:lnTo>
                    <a:pt x="995" y="87"/>
                  </a:lnTo>
                  <a:lnTo>
                    <a:pt x="995" y="87"/>
                  </a:lnTo>
                  <a:lnTo>
                    <a:pt x="982" y="94"/>
                  </a:lnTo>
                  <a:lnTo>
                    <a:pt x="982" y="94"/>
                  </a:lnTo>
                  <a:lnTo>
                    <a:pt x="975" y="97"/>
                  </a:lnTo>
                  <a:lnTo>
                    <a:pt x="968" y="101"/>
                  </a:lnTo>
                  <a:lnTo>
                    <a:pt x="968" y="101"/>
                  </a:lnTo>
                  <a:lnTo>
                    <a:pt x="958" y="104"/>
                  </a:lnTo>
                  <a:lnTo>
                    <a:pt x="945" y="104"/>
                  </a:lnTo>
                  <a:lnTo>
                    <a:pt x="915" y="104"/>
                  </a:lnTo>
                  <a:lnTo>
                    <a:pt x="915" y="104"/>
                  </a:lnTo>
                  <a:lnTo>
                    <a:pt x="915" y="111"/>
                  </a:lnTo>
                  <a:lnTo>
                    <a:pt x="915" y="111"/>
                  </a:lnTo>
                  <a:lnTo>
                    <a:pt x="918" y="111"/>
                  </a:lnTo>
                  <a:lnTo>
                    <a:pt x="918" y="114"/>
                  </a:lnTo>
                  <a:lnTo>
                    <a:pt x="918" y="121"/>
                  </a:lnTo>
                  <a:lnTo>
                    <a:pt x="918" y="121"/>
                  </a:lnTo>
                  <a:lnTo>
                    <a:pt x="915" y="117"/>
                  </a:lnTo>
                  <a:lnTo>
                    <a:pt x="915" y="121"/>
                  </a:lnTo>
                  <a:lnTo>
                    <a:pt x="918" y="124"/>
                  </a:lnTo>
                  <a:lnTo>
                    <a:pt x="918" y="124"/>
                  </a:lnTo>
                  <a:lnTo>
                    <a:pt x="921" y="127"/>
                  </a:lnTo>
                  <a:lnTo>
                    <a:pt x="928" y="131"/>
                  </a:lnTo>
                  <a:lnTo>
                    <a:pt x="928" y="131"/>
                  </a:lnTo>
                  <a:lnTo>
                    <a:pt x="928" y="138"/>
                  </a:lnTo>
                  <a:lnTo>
                    <a:pt x="928" y="138"/>
                  </a:lnTo>
                  <a:lnTo>
                    <a:pt x="931" y="138"/>
                  </a:lnTo>
                  <a:lnTo>
                    <a:pt x="931" y="138"/>
                  </a:lnTo>
                  <a:lnTo>
                    <a:pt x="931" y="138"/>
                  </a:lnTo>
                  <a:lnTo>
                    <a:pt x="938" y="151"/>
                  </a:lnTo>
                  <a:lnTo>
                    <a:pt x="942" y="161"/>
                  </a:lnTo>
                  <a:lnTo>
                    <a:pt x="942" y="161"/>
                  </a:lnTo>
                  <a:lnTo>
                    <a:pt x="952" y="161"/>
                  </a:lnTo>
                  <a:lnTo>
                    <a:pt x="968" y="174"/>
                  </a:lnTo>
                  <a:lnTo>
                    <a:pt x="968" y="174"/>
                  </a:lnTo>
                  <a:lnTo>
                    <a:pt x="968" y="188"/>
                  </a:lnTo>
                  <a:lnTo>
                    <a:pt x="965" y="191"/>
                  </a:lnTo>
                  <a:lnTo>
                    <a:pt x="958" y="195"/>
                  </a:lnTo>
                  <a:lnTo>
                    <a:pt x="948" y="195"/>
                  </a:lnTo>
                  <a:lnTo>
                    <a:pt x="948" y="195"/>
                  </a:lnTo>
                  <a:lnTo>
                    <a:pt x="948" y="205"/>
                  </a:lnTo>
                  <a:lnTo>
                    <a:pt x="948" y="205"/>
                  </a:lnTo>
                  <a:lnTo>
                    <a:pt x="958" y="208"/>
                  </a:lnTo>
                  <a:lnTo>
                    <a:pt x="965" y="218"/>
                  </a:lnTo>
                  <a:lnTo>
                    <a:pt x="965" y="218"/>
                  </a:lnTo>
                  <a:lnTo>
                    <a:pt x="965" y="222"/>
                  </a:lnTo>
                  <a:lnTo>
                    <a:pt x="965" y="222"/>
                  </a:lnTo>
                  <a:lnTo>
                    <a:pt x="965" y="222"/>
                  </a:lnTo>
                  <a:lnTo>
                    <a:pt x="965" y="225"/>
                  </a:lnTo>
                  <a:lnTo>
                    <a:pt x="965" y="232"/>
                  </a:lnTo>
                  <a:lnTo>
                    <a:pt x="965" y="232"/>
                  </a:lnTo>
                  <a:lnTo>
                    <a:pt x="948" y="235"/>
                  </a:lnTo>
                  <a:lnTo>
                    <a:pt x="948" y="235"/>
                  </a:lnTo>
                  <a:lnTo>
                    <a:pt x="945" y="235"/>
                  </a:lnTo>
                  <a:lnTo>
                    <a:pt x="942" y="235"/>
                  </a:lnTo>
                  <a:lnTo>
                    <a:pt x="942" y="235"/>
                  </a:lnTo>
                  <a:lnTo>
                    <a:pt x="931" y="222"/>
                  </a:lnTo>
                  <a:lnTo>
                    <a:pt x="931" y="215"/>
                  </a:lnTo>
                  <a:lnTo>
                    <a:pt x="931" y="205"/>
                  </a:lnTo>
                  <a:lnTo>
                    <a:pt x="931" y="205"/>
                  </a:lnTo>
                  <a:lnTo>
                    <a:pt x="928" y="205"/>
                  </a:lnTo>
                  <a:lnTo>
                    <a:pt x="928" y="205"/>
                  </a:lnTo>
                  <a:lnTo>
                    <a:pt x="928" y="205"/>
                  </a:lnTo>
                  <a:lnTo>
                    <a:pt x="925" y="201"/>
                  </a:lnTo>
                  <a:lnTo>
                    <a:pt x="925" y="198"/>
                  </a:lnTo>
                  <a:lnTo>
                    <a:pt x="925" y="198"/>
                  </a:lnTo>
                  <a:lnTo>
                    <a:pt x="921" y="201"/>
                  </a:lnTo>
                  <a:lnTo>
                    <a:pt x="918" y="205"/>
                  </a:lnTo>
                  <a:lnTo>
                    <a:pt x="918" y="205"/>
                  </a:lnTo>
                  <a:lnTo>
                    <a:pt x="915" y="201"/>
                  </a:lnTo>
                  <a:lnTo>
                    <a:pt x="915" y="201"/>
                  </a:lnTo>
                  <a:lnTo>
                    <a:pt x="918" y="198"/>
                  </a:lnTo>
                  <a:lnTo>
                    <a:pt x="918" y="198"/>
                  </a:lnTo>
                  <a:lnTo>
                    <a:pt x="921" y="195"/>
                  </a:lnTo>
                  <a:lnTo>
                    <a:pt x="921" y="191"/>
                  </a:lnTo>
                  <a:lnTo>
                    <a:pt x="918" y="188"/>
                  </a:lnTo>
                  <a:lnTo>
                    <a:pt x="915" y="191"/>
                  </a:lnTo>
                  <a:lnTo>
                    <a:pt x="915" y="191"/>
                  </a:lnTo>
                  <a:lnTo>
                    <a:pt x="915" y="198"/>
                  </a:lnTo>
                  <a:lnTo>
                    <a:pt x="911" y="208"/>
                  </a:lnTo>
                  <a:lnTo>
                    <a:pt x="911" y="208"/>
                  </a:lnTo>
                  <a:lnTo>
                    <a:pt x="908" y="208"/>
                  </a:lnTo>
                  <a:lnTo>
                    <a:pt x="908" y="211"/>
                  </a:lnTo>
                  <a:lnTo>
                    <a:pt x="908" y="211"/>
                  </a:lnTo>
                  <a:lnTo>
                    <a:pt x="905" y="208"/>
                  </a:lnTo>
                  <a:lnTo>
                    <a:pt x="901" y="208"/>
                  </a:lnTo>
                  <a:lnTo>
                    <a:pt x="901" y="208"/>
                  </a:lnTo>
                  <a:lnTo>
                    <a:pt x="898" y="211"/>
                  </a:lnTo>
                  <a:lnTo>
                    <a:pt x="898" y="211"/>
                  </a:lnTo>
                  <a:lnTo>
                    <a:pt x="901" y="228"/>
                  </a:lnTo>
                  <a:lnTo>
                    <a:pt x="905" y="248"/>
                  </a:lnTo>
                  <a:lnTo>
                    <a:pt x="905" y="248"/>
                  </a:lnTo>
                  <a:lnTo>
                    <a:pt x="901" y="252"/>
                  </a:lnTo>
                  <a:lnTo>
                    <a:pt x="901" y="252"/>
                  </a:lnTo>
                  <a:lnTo>
                    <a:pt x="898" y="252"/>
                  </a:lnTo>
                  <a:lnTo>
                    <a:pt x="894" y="248"/>
                  </a:lnTo>
                  <a:lnTo>
                    <a:pt x="894" y="248"/>
                  </a:lnTo>
                  <a:lnTo>
                    <a:pt x="888" y="255"/>
                  </a:lnTo>
                  <a:lnTo>
                    <a:pt x="884" y="262"/>
                  </a:lnTo>
                  <a:lnTo>
                    <a:pt x="881" y="262"/>
                  </a:lnTo>
                  <a:lnTo>
                    <a:pt x="881" y="262"/>
                  </a:lnTo>
                  <a:lnTo>
                    <a:pt x="881" y="269"/>
                  </a:lnTo>
                  <a:lnTo>
                    <a:pt x="878" y="272"/>
                  </a:lnTo>
                  <a:lnTo>
                    <a:pt x="878" y="272"/>
                  </a:lnTo>
                  <a:lnTo>
                    <a:pt x="868" y="275"/>
                  </a:lnTo>
                  <a:lnTo>
                    <a:pt x="868" y="275"/>
                  </a:lnTo>
                  <a:lnTo>
                    <a:pt x="874" y="299"/>
                  </a:lnTo>
                  <a:lnTo>
                    <a:pt x="878" y="299"/>
                  </a:lnTo>
                  <a:lnTo>
                    <a:pt x="878" y="299"/>
                  </a:lnTo>
                  <a:lnTo>
                    <a:pt x="878" y="309"/>
                  </a:lnTo>
                  <a:lnTo>
                    <a:pt x="878" y="309"/>
                  </a:lnTo>
                  <a:lnTo>
                    <a:pt x="868" y="309"/>
                  </a:lnTo>
                  <a:lnTo>
                    <a:pt x="857" y="309"/>
                  </a:lnTo>
                  <a:lnTo>
                    <a:pt x="857" y="309"/>
                  </a:lnTo>
                  <a:lnTo>
                    <a:pt x="861" y="322"/>
                  </a:lnTo>
                  <a:lnTo>
                    <a:pt x="861" y="336"/>
                  </a:lnTo>
                  <a:lnTo>
                    <a:pt x="857" y="339"/>
                  </a:lnTo>
                  <a:lnTo>
                    <a:pt x="857" y="339"/>
                  </a:lnTo>
                  <a:lnTo>
                    <a:pt x="857" y="349"/>
                  </a:lnTo>
                  <a:lnTo>
                    <a:pt x="854" y="356"/>
                  </a:lnTo>
                  <a:lnTo>
                    <a:pt x="854" y="356"/>
                  </a:lnTo>
                  <a:lnTo>
                    <a:pt x="854" y="366"/>
                  </a:lnTo>
                  <a:lnTo>
                    <a:pt x="854" y="366"/>
                  </a:lnTo>
                  <a:lnTo>
                    <a:pt x="847" y="366"/>
                  </a:lnTo>
                  <a:lnTo>
                    <a:pt x="841" y="369"/>
                  </a:lnTo>
                  <a:lnTo>
                    <a:pt x="841" y="369"/>
                  </a:lnTo>
                  <a:lnTo>
                    <a:pt x="841" y="366"/>
                  </a:lnTo>
                  <a:lnTo>
                    <a:pt x="841" y="366"/>
                  </a:lnTo>
                  <a:lnTo>
                    <a:pt x="851" y="359"/>
                  </a:lnTo>
                  <a:lnTo>
                    <a:pt x="851" y="359"/>
                  </a:lnTo>
                  <a:lnTo>
                    <a:pt x="851" y="353"/>
                  </a:lnTo>
                  <a:lnTo>
                    <a:pt x="851" y="353"/>
                  </a:lnTo>
                  <a:lnTo>
                    <a:pt x="844" y="353"/>
                  </a:lnTo>
                  <a:lnTo>
                    <a:pt x="841" y="349"/>
                  </a:lnTo>
                  <a:lnTo>
                    <a:pt x="841" y="349"/>
                  </a:lnTo>
                  <a:lnTo>
                    <a:pt x="841" y="353"/>
                  </a:lnTo>
                  <a:lnTo>
                    <a:pt x="837" y="353"/>
                  </a:lnTo>
                  <a:lnTo>
                    <a:pt x="837" y="353"/>
                  </a:lnTo>
                  <a:lnTo>
                    <a:pt x="837" y="366"/>
                  </a:lnTo>
                  <a:lnTo>
                    <a:pt x="837" y="373"/>
                  </a:lnTo>
                  <a:lnTo>
                    <a:pt x="837" y="373"/>
                  </a:lnTo>
                  <a:lnTo>
                    <a:pt x="831" y="373"/>
                  </a:lnTo>
                  <a:lnTo>
                    <a:pt x="831" y="369"/>
                  </a:lnTo>
                  <a:lnTo>
                    <a:pt x="831" y="369"/>
                  </a:lnTo>
                  <a:lnTo>
                    <a:pt x="827" y="369"/>
                  </a:lnTo>
                  <a:lnTo>
                    <a:pt x="827" y="369"/>
                  </a:lnTo>
                  <a:lnTo>
                    <a:pt x="831" y="356"/>
                  </a:lnTo>
                  <a:lnTo>
                    <a:pt x="834" y="343"/>
                  </a:lnTo>
                  <a:lnTo>
                    <a:pt x="834" y="343"/>
                  </a:lnTo>
                  <a:lnTo>
                    <a:pt x="827" y="336"/>
                  </a:lnTo>
                  <a:lnTo>
                    <a:pt x="827" y="336"/>
                  </a:lnTo>
                  <a:lnTo>
                    <a:pt x="827" y="322"/>
                  </a:lnTo>
                  <a:lnTo>
                    <a:pt x="831" y="309"/>
                  </a:lnTo>
                  <a:lnTo>
                    <a:pt x="831" y="309"/>
                  </a:lnTo>
                  <a:lnTo>
                    <a:pt x="837" y="309"/>
                  </a:lnTo>
                  <a:lnTo>
                    <a:pt x="837" y="309"/>
                  </a:lnTo>
                  <a:lnTo>
                    <a:pt x="837" y="302"/>
                  </a:lnTo>
                  <a:lnTo>
                    <a:pt x="837" y="292"/>
                  </a:lnTo>
                  <a:lnTo>
                    <a:pt x="837" y="292"/>
                  </a:lnTo>
                  <a:lnTo>
                    <a:pt x="831" y="292"/>
                  </a:lnTo>
                  <a:lnTo>
                    <a:pt x="831" y="292"/>
                  </a:lnTo>
                  <a:lnTo>
                    <a:pt x="831" y="285"/>
                  </a:lnTo>
                  <a:lnTo>
                    <a:pt x="831" y="282"/>
                  </a:lnTo>
                  <a:lnTo>
                    <a:pt x="831" y="282"/>
                  </a:lnTo>
                  <a:lnTo>
                    <a:pt x="831" y="279"/>
                  </a:lnTo>
                  <a:lnTo>
                    <a:pt x="831" y="275"/>
                  </a:lnTo>
                  <a:lnTo>
                    <a:pt x="831" y="275"/>
                  </a:lnTo>
                  <a:lnTo>
                    <a:pt x="827" y="279"/>
                  </a:lnTo>
                  <a:lnTo>
                    <a:pt x="817" y="279"/>
                  </a:lnTo>
                  <a:lnTo>
                    <a:pt x="817" y="279"/>
                  </a:lnTo>
                  <a:lnTo>
                    <a:pt x="817" y="275"/>
                  </a:lnTo>
                  <a:lnTo>
                    <a:pt x="814" y="275"/>
                  </a:lnTo>
                  <a:lnTo>
                    <a:pt x="814" y="275"/>
                  </a:lnTo>
                  <a:lnTo>
                    <a:pt x="810" y="279"/>
                  </a:lnTo>
                  <a:lnTo>
                    <a:pt x="810" y="285"/>
                  </a:lnTo>
                  <a:lnTo>
                    <a:pt x="817" y="289"/>
                  </a:lnTo>
                  <a:lnTo>
                    <a:pt x="817" y="292"/>
                  </a:lnTo>
                  <a:lnTo>
                    <a:pt x="817" y="292"/>
                  </a:lnTo>
                  <a:lnTo>
                    <a:pt x="817" y="292"/>
                  </a:lnTo>
                  <a:lnTo>
                    <a:pt x="814" y="299"/>
                  </a:lnTo>
                  <a:lnTo>
                    <a:pt x="814" y="299"/>
                  </a:lnTo>
                  <a:lnTo>
                    <a:pt x="814" y="299"/>
                  </a:lnTo>
                  <a:lnTo>
                    <a:pt x="814" y="302"/>
                  </a:lnTo>
                  <a:lnTo>
                    <a:pt x="810" y="302"/>
                  </a:lnTo>
                  <a:lnTo>
                    <a:pt x="807" y="295"/>
                  </a:lnTo>
                  <a:lnTo>
                    <a:pt x="810" y="299"/>
                  </a:lnTo>
                  <a:lnTo>
                    <a:pt x="810" y="299"/>
                  </a:lnTo>
                  <a:lnTo>
                    <a:pt x="810" y="299"/>
                  </a:lnTo>
                  <a:lnTo>
                    <a:pt x="810" y="299"/>
                  </a:lnTo>
                  <a:lnTo>
                    <a:pt x="810" y="295"/>
                  </a:lnTo>
                  <a:lnTo>
                    <a:pt x="810" y="295"/>
                  </a:lnTo>
                  <a:lnTo>
                    <a:pt x="814" y="292"/>
                  </a:lnTo>
                  <a:lnTo>
                    <a:pt x="810" y="292"/>
                  </a:lnTo>
                  <a:lnTo>
                    <a:pt x="810" y="289"/>
                  </a:lnTo>
                  <a:lnTo>
                    <a:pt x="810" y="289"/>
                  </a:lnTo>
                  <a:lnTo>
                    <a:pt x="810" y="292"/>
                  </a:lnTo>
                  <a:lnTo>
                    <a:pt x="807" y="292"/>
                  </a:lnTo>
                  <a:lnTo>
                    <a:pt x="807" y="292"/>
                  </a:lnTo>
                  <a:lnTo>
                    <a:pt x="807" y="289"/>
                  </a:lnTo>
                  <a:lnTo>
                    <a:pt x="807" y="289"/>
                  </a:lnTo>
                  <a:lnTo>
                    <a:pt x="804" y="289"/>
                  </a:lnTo>
                  <a:lnTo>
                    <a:pt x="800" y="295"/>
                  </a:lnTo>
                  <a:lnTo>
                    <a:pt x="804" y="302"/>
                  </a:lnTo>
                  <a:lnTo>
                    <a:pt x="804" y="302"/>
                  </a:lnTo>
                  <a:lnTo>
                    <a:pt x="804" y="309"/>
                  </a:lnTo>
                  <a:lnTo>
                    <a:pt x="804" y="309"/>
                  </a:lnTo>
                  <a:lnTo>
                    <a:pt x="814" y="312"/>
                  </a:lnTo>
                  <a:lnTo>
                    <a:pt x="814" y="312"/>
                  </a:lnTo>
                  <a:lnTo>
                    <a:pt x="814" y="319"/>
                  </a:lnTo>
                  <a:lnTo>
                    <a:pt x="814" y="319"/>
                  </a:lnTo>
                  <a:lnTo>
                    <a:pt x="814" y="319"/>
                  </a:lnTo>
                  <a:lnTo>
                    <a:pt x="810" y="322"/>
                  </a:lnTo>
                  <a:lnTo>
                    <a:pt x="810" y="322"/>
                  </a:lnTo>
                  <a:lnTo>
                    <a:pt x="804" y="316"/>
                  </a:lnTo>
                  <a:lnTo>
                    <a:pt x="794" y="306"/>
                  </a:lnTo>
                  <a:lnTo>
                    <a:pt x="794" y="306"/>
                  </a:lnTo>
                  <a:lnTo>
                    <a:pt x="794" y="312"/>
                  </a:lnTo>
                  <a:lnTo>
                    <a:pt x="794" y="312"/>
                  </a:lnTo>
                  <a:lnTo>
                    <a:pt x="787" y="319"/>
                  </a:lnTo>
                  <a:lnTo>
                    <a:pt x="777" y="329"/>
                  </a:lnTo>
                  <a:lnTo>
                    <a:pt x="777" y="329"/>
                  </a:lnTo>
                  <a:lnTo>
                    <a:pt x="777" y="336"/>
                  </a:lnTo>
                  <a:lnTo>
                    <a:pt x="777" y="343"/>
                  </a:lnTo>
                  <a:lnTo>
                    <a:pt x="777" y="343"/>
                  </a:lnTo>
                  <a:lnTo>
                    <a:pt x="773" y="349"/>
                  </a:lnTo>
                  <a:lnTo>
                    <a:pt x="767" y="356"/>
                  </a:lnTo>
                  <a:lnTo>
                    <a:pt x="767" y="356"/>
                  </a:lnTo>
                  <a:lnTo>
                    <a:pt x="763" y="359"/>
                  </a:lnTo>
                  <a:lnTo>
                    <a:pt x="767" y="366"/>
                  </a:lnTo>
                  <a:lnTo>
                    <a:pt x="767" y="376"/>
                  </a:lnTo>
                  <a:lnTo>
                    <a:pt x="757" y="379"/>
                  </a:lnTo>
                  <a:lnTo>
                    <a:pt x="757" y="379"/>
                  </a:lnTo>
                  <a:lnTo>
                    <a:pt x="757" y="413"/>
                  </a:lnTo>
                  <a:lnTo>
                    <a:pt x="753" y="413"/>
                  </a:lnTo>
                  <a:lnTo>
                    <a:pt x="753" y="413"/>
                  </a:lnTo>
                  <a:lnTo>
                    <a:pt x="743" y="416"/>
                  </a:lnTo>
                  <a:lnTo>
                    <a:pt x="743" y="416"/>
                  </a:lnTo>
                  <a:lnTo>
                    <a:pt x="743" y="423"/>
                  </a:lnTo>
                  <a:lnTo>
                    <a:pt x="743" y="423"/>
                  </a:lnTo>
                  <a:lnTo>
                    <a:pt x="740" y="427"/>
                  </a:lnTo>
                  <a:lnTo>
                    <a:pt x="743" y="427"/>
                  </a:lnTo>
                  <a:lnTo>
                    <a:pt x="750" y="427"/>
                  </a:lnTo>
                  <a:lnTo>
                    <a:pt x="750" y="430"/>
                  </a:lnTo>
                  <a:lnTo>
                    <a:pt x="750" y="430"/>
                  </a:lnTo>
                  <a:lnTo>
                    <a:pt x="743" y="430"/>
                  </a:lnTo>
                  <a:lnTo>
                    <a:pt x="743" y="430"/>
                  </a:lnTo>
                  <a:lnTo>
                    <a:pt x="740" y="437"/>
                  </a:lnTo>
                  <a:lnTo>
                    <a:pt x="740" y="443"/>
                  </a:lnTo>
                  <a:lnTo>
                    <a:pt x="740" y="443"/>
                  </a:lnTo>
                  <a:lnTo>
                    <a:pt x="733" y="443"/>
                  </a:lnTo>
                  <a:lnTo>
                    <a:pt x="733" y="443"/>
                  </a:lnTo>
                  <a:lnTo>
                    <a:pt x="733" y="453"/>
                  </a:lnTo>
                  <a:lnTo>
                    <a:pt x="733" y="453"/>
                  </a:lnTo>
                  <a:lnTo>
                    <a:pt x="740" y="457"/>
                  </a:lnTo>
                  <a:lnTo>
                    <a:pt x="740" y="457"/>
                  </a:lnTo>
                  <a:lnTo>
                    <a:pt x="743" y="470"/>
                  </a:lnTo>
                  <a:lnTo>
                    <a:pt x="743" y="480"/>
                  </a:lnTo>
                  <a:lnTo>
                    <a:pt x="747" y="480"/>
                  </a:lnTo>
                  <a:lnTo>
                    <a:pt x="747" y="480"/>
                  </a:lnTo>
                  <a:lnTo>
                    <a:pt x="750" y="497"/>
                  </a:lnTo>
                  <a:lnTo>
                    <a:pt x="750" y="497"/>
                  </a:lnTo>
                  <a:lnTo>
                    <a:pt x="743" y="504"/>
                  </a:lnTo>
                  <a:lnTo>
                    <a:pt x="743" y="504"/>
                  </a:lnTo>
                  <a:lnTo>
                    <a:pt x="736" y="511"/>
                  </a:lnTo>
                  <a:lnTo>
                    <a:pt x="730" y="514"/>
                  </a:lnTo>
                  <a:lnTo>
                    <a:pt x="730" y="514"/>
                  </a:lnTo>
                  <a:lnTo>
                    <a:pt x="730" y="517"/>
                  </a:lnTo>
                  <a:lnTo>
                    <a:pt x="730" y="517"/>
                  </a:lnTo>
                  <a:lnTo>
                    <a:pt x="730" y="517"/>
                  </a:lnTo>
                  <a:lnTo>
                    <a:pt x="730" y="517"/>
                  </a:lnTo>
                  <a:lnTo>
                    <a:pt x="730" y="524"/>
                  </a:lnTo>
                  <a:lnTo>
                    <a:pt x="730" y="524"/>
                  </a:lnTo>
                  <a:lnTo>
                    <a:pt x="730" y="524"/>
                  </a:lnTo>
                  <a:lnTo>
                    <a:pt x="730" y="524"/>
                  </a:lnTo>
                  <a:lnTo>
                    <a:pt x="730" y="521"/>
                  </a:lnTo>
                  <a:lnTo>
                    <a:pt x="730" y="521"/>
                  </a:lnTo>
                  <a:lnTo>
                    <a:pt x="716" y="521"/>
                  </a:lnTo>
                  <a:lnTo>
                    <a:pt x="710" y="521"/>
                  </a:lnTo>
                  <a:lnTo>
                    <a:pt x="700" y="517"/>
                  </a:lnTo>
                  <a:lnTo>
                    <a:pt x="693" y="511"/>
                  </a:lnTo>
                  <a:lnTo>
                    <a:pt x="693" y="511"/>
                  </a:lnTo>
                  <a:lnTo>
                    <a:pt x="693" y="507"/>
                  </a:lnTo>
                  <a:lnTo>
                    <a:pt x="693" y="504"/>
                  </a:lnTo>
                  <a:lnTo>
                    <a:pt x="693" y="504"/>
                  </a:lnTo>
                  <a:lnTo>
                    <a:pt x="683" y="504"/>
                  </a:lnTo>
                  <a:lnTo>
                    <a:pt x="673" y="504"/>
                  </a:lnTo>
                  <a:lnTo>
                    <a:pt x="673" y="504"/>
                  </a:lnTo>
                  <a:lnTo>
                    <a:pt x="669" y="497"/>
                  </a:lnTo>
                  <a:lnTo>
                    <a:pt x="669" y="494"/>
                  </a:lnTo>
                  <a:lnTo>
                    <a:pt x="669" y="487"/>
                  </a:lnTo>
                  <a:lnTo>
                    <a:pt x="669" y="487"/>
                  </a:lnTo>
                  <a:lnTo>
                    <a:pt x="666" y="474"/>
                  </a:lnTo>
                  <a:lnTo>
                    <a:pt x="666" y="474"/>
                  </a:lnTo>
                  <a:lnTo>
                    <a:pt x="689" y="453"/>
                  </a:lnTo>
                  <a:lnTo>
                    <a:pt x="689" y="453"/>
                  </a:lnTo>
                  <a:lnTo>
                    <a:pt x="696" y="453"/>
                  </a:lnTo>
                  <a:lnTo>
                    <a:pt x="696" y="453"/>
                  </a:lnTo>
                  <a:lnTo>
                    <a:pt x="700" y="443"/>
                  </a:lnTo>
                  <a:lnTo>
                    <a:pt x="700" y="443"/>
                  </a:lnTo>
                  <a:lnTo>
                    <a:pt x="689" y="437"/>
                  </a:lnTo>
                  <a:lnTo>
                    <a:pt x="689" y="437"/>
                  </a:lnTo>
                  <a:lnTo>
                    <a:pt x="686" y="433"/>
                  </a:lnTo>
                  <a:lnTo>
                    <a:pt x="679" y="427"/>
                  </a:lnTo>
                  <a:lnTo>
                    <a:pt x="679" y="427"/>
                  </a:lnTo>
                  <a:lnTo>
                    <a:pt x="676" y="427"/>
                  </a:lnTo>
                  <a:lnTo>
                    <a:pt x="669" y="427"/>
                  </a:lnTo>
                  <a:lnTo>
                    <a:pt x="669" y="423"/>
                  </a:lnTo>
                  <a:lnTo>
                    <a:pt x="669" y="423"/>
                  </a:lnTo>
                  <a:lnTo>
                    <a:pt x="663" y="420"/>
                  </a:lnTo>
                  <a:lnTo>
                    <a:pt x="663" y="416"/>
                  </a:lnTo>
                  <a:lnTo>
                    <a:pt x="663" y="413"/>
                  </a:lnTo>
                  <a:lnTo>
                    <a:pt x="663" y="413"/>
                  </a:lnTo>
                  <a:lnTo>
                    <a:pt x="652" y="413"/>
                  </a:lnTo>
                  <a:lnTo>
                    <a:pt x="646" y="413"/>
                  </a:lnTo>
                  <a:lnTo>
                    <a:pt x="636" y="420"/>
                  </a:lnTo>
                  <a:lnTo>
                    <a:pt x="636" y="420"/>
                  </a:lnTo>
                  <a:lnTo>
                    <a:pt x="629" y="420"/>
                  </a:lnTo>
                  <a:lnTo>
                    <a:pt x="629" y="420"/>
                  </a:lnTo>
                  <a:lnTo>
                    <a:pt x="622" y="423"/>
                  </a:lnTo>
                  <a:lnTo>
                    <a:pt x="619" y="430"/>
                  </a:lnTo>
                  <a:lnTo>
                    <a:pt x="619" y="430"/>
                  </a:lnTo>
                  <a:lnTo>
                    <a:pt x="605" y="430"/>
                  </a:lnTo>
                  <a:lnTo>
                    <a:pt x="589" y="430"/>
                  </a:lnTo>
                  <a:lnTo>
                    <a:pt x="589" y="437"/>
                  </a:lnTo>
                  <a:lnTo>
                    <a:pt x="589" y="437"/>
                  </a:lnTo>
                  <a:lnTo>
                    <a:pt x="602" y="437"/>
                  </a:lnTo>
                  <a:lnTo>
                    <a:pt x="605" y="443"/>
                  </a:lnTo>
                  <a:lnTo>
                    <a:pt x="605" y="443"/>
                  </a:lnTo>
                  <a:lnTo>
                    <a:pt x="612" y="443"/>
                  </a:lnTo>
                  <a:lnTo>
                    <a:pt x="612" y="443"/>
                  </a:lnTo>
                  <a:lnTo>
                    <a:pt x="616" y="447"/>
                  </a:lnTo>
                  <a:lnTo>
                    <a:pt x="616" y="447"/>
                  </a:lnTo>
                  <a:lnTo>
                    <a:pt x="622" y="450"/>
                  </a:lnTo>
                  <a:lnTo>
                    <a:pt x="626" y="453"/>
                  </a:lnTo>
                  <a:lnTo>
                    <a:pt x="626" y="453"/>
                  </a:lnTo>
                  <a:lnTo>
                    <a:pt x="632" y="467"/>
                  </a:lnTo>
                  <a:lnTo>
                    <a:pt x="636" y="487"/>
                  </a:lnTo>
                  <a:lnTo>
                    <a:pt x="639" y="524"/>
                  </a:lnTo>
                  <a:lnTo>
                    <a:pt x="639" y="524"/>
                  </a:lnTo>
                  <a:lnTo>
                    <a:pt x="642" y="524"/>
                  </a:lnTo>
                  <a:lnTo>
                    <a:pt x="642" y="527"/>
                  </a:lnTo>
                  <a:lnTo>
                    <a:pt x="642" y="527"/>
                  </a:lnTo>
                  <a:lnTo>
                    <a:pt x="649" y="527"/>
                  </a:lnTo>
                  <a:lnTo>
                    <a:pt x="652" y="524"/>
                  </a:lnTo>
                  <a:lnTo>
                    <a:pt x="652" y="524"/>
                  </a:lnTo>
                  <a:lnTo>
                    <a:pt x="659" y="527"/>
                  </a:lnTo>
                  <a:lnTo>
                    <a:pt x="666" y="534"/>
                  </a:lnTo>
                  <a:lnTo>
                    <a:pt x="676" y="548"/>
                  </a:lnTo>
                  <a:lnTo>
                    <a:pt x="676" y="548"/>
                  </a:lnTo>
                  <a:lnTo>
                    <a:pt x="679" y="564"/>
                  </a:lnTo>
                  <a:lnTo>
                    <a:pt x="679" y="578"/>
                  </a:lnTo>
                  <a:lnTo>
                    <a:pt x="679" y="591"/>
                  </a:lnTo>
                  <a:lnTo>
                    <a:pt x="686" y="605"/>
                  </a:lnTo>
                  <a:lnTo>
                    <a:pt x="686" y="605"/>
                  </a:lnTo>
                  <a:lnTo>
                    <a:pt x="676" y="598"/>
                  </a:lnTo>
                  <a:lnTo>
                    <a:pt x="663" y="601"/>
                  </a:lnTo>
                  <a:lnTo>
                    <a:pt x="663" y="598"/>
                  </a:lnTo>
                  <a:lnTo>
                    <a:pt x="666" y="595"/>
                  </a:lnTo>
                  <a:lnTo>
                    <a:pt x="666" y="595"/>
                  </a:lnTo>
                  <a:lnTo>
                    <a:pt x="666" y="595"/>
                  </a:lnTo>
                  <a:lnTo>
                    <a:pt x="666" y="591"/>
                  </a:lnTo>
                  <a:lnTo>
                    <a:pt x="656" y="588"/>
                  </a:lnTo>
                  <a:lnTo>
                    <a:pt x="656" y="588"/>
                  </a:lnTo>
                  <a:lnTo>
                    <a:pt x="646" y="591"/>
                  </a:lnTo>
                  <a:lnTo>
                    <a:pt x="639" y="595"/>
                  </a:lnTo>
                  <a:lnTo>
                    <a:pt x="639" y="595"/>
                  </a:lnTo>
                  <a:lnTo>
                    <a:pt x="619" y="595"/>
                  </a:lnTo>
                  <a:lnTo>
                    <a:pt x="619" y="595"/>
                  </a:lnTo>
                  <a:lnTo>
                    <a:pt x="619" y="615"/>
                  </a:lnTo>
                  <a:lnTo>
                    <a:pt x="616" y="625"/>
                  </a:lnTo>
                  <a:lnTo>
                    <a:pt x="612" y="635"/>
                  </a:lnTo>
                  <a:lnTo>
                    <a:pt x="612" y="635"/>
                  </a:lnTo>
                  <a:lnTo>
                    <a:pt x="605" y="638"/>
                  </a:lnTo>
                  <a:lnTo>
                    <a:pt x="599" y="645"/>
                  </a:lnTo>
                  <a:lnTo>
                    <a:pt x="599" y="645"/>
                  </a:lnTo>
                  <a:lnTo>
                    <a:pt x="595" y="648"/>
                  </a:lnTo>
                  <a:lnTo>
                    <a:pt x="595" y="655"/>
                  </a:lnTo>
                  <a:lnTo>
                    <a:pt x="595" y="655"/>
                  </a:lnTo>
                  <a:lnTo>
                    <a:pt x="585" y="668"/>
                  </a:lnTo>
                  <a:lnTo>
                    <a:pt x="585" y="668"/>
                  </a:lnTo>
                  <a:lnTo>
                    <a:pt x="585" y="679"/>
                  </a:lnTo>
                  <a:lnTo>
                    <a:pt x="582" y="679"/>
                  </a:lnTo>
                  <a:lnTo>
                    <a:pt x="582" y="679"/>
                  </a:lnTo>
                  <a:lnTo>
                    <a:pt x="579" y="685"/>
                  </a:lnTo>
                  <a:lnTo>
                    <a:pt x="575" y="695"/>
                  </a:lnTo>
                  <a:lnTo>
                    <a:pt x="575" y="695"/>
                  </a:lnTo>
                  <a:lnTo>
                    <a:pt x="579" y="702"/>
                  </a:lnTo>
                  <a:lnTo>
                    <a:pt x="579" y="702"/>
                  </a:lnTo>
                  <a:lnTo>
                    <a:pt x="592" y="705"/>
                  </a:lnTo>
                  <a:lnTo>
                    <a:pt x="592" y="705"/>
                  </a:lnTo>
                  <a:lnTo>
                    <a:pt x="599" y="716"/>
                  </a:lnTo>
                  <a:lnTo>
                    <a:pt x="599" y="716"/>
                  </a:lnTo>
                  <a:lnTo>
                    <a:pt x="605" y="716"/>
                  </a:lnTo>
                  <a:lnTo>
                    <a:pt x="612" y="719"/>
                  </a:lnTo>
                  <a:lnTo>
                    <a:pt x="612" y="719"/>
                  </a:lnTo>
                  <a:lnTo>
                    <a:pt x="612" y="722"/>
                  </a:lnTo>
                  <a:lnTo>
                    <a:pt x="612" y="726"/>
                  </a:lnTo>
                  <a:lnTo>
                    <a:pt x="612" y="726"/>
                  </a:lnTo>
                  <a:lnTo>
                    <a:pt x="619" y="729"/>
                  </a:lnTo>
                  <a:lnTo>
                    <a:pt x="619" y="729"/>
                  </a:lnTo>
                  <a:lnTo>
                    <a:pt x="622" y="736"/>
                  </a:lnTo>
                  <a:lnTo>
                    <a:pt x="622" y="742"/>
                  </a:lnTo>
                  <a:lnTo>
                    <a:pt x="622" y="742"/>
                  </a:lnTo>
                  <a:lnTo>
                    <a:pt x="629" y="746"/>
                  </a:lnTo>
                  <a:lnTo>
                    <a:pt x="639" y="746"/>
                  </a:lnTo>
                  <a:lnTo>
                    <a:pt x="639" y="746"/>
                  </a:lnTo>
                  <a:lnTo>
                    <a:pt x="642" y="753"/>
                  </a:lnTo>
                  <a:lnTo>
                    <a:pt x="642" y="753"/>
                  </a:lnTo>
                  <a:lnTo>
                    <a:pt x="629" y="746"/>
                  </a:lnTo>
                  <a:lnTo>
                    <a:pt x="629" y="746"/>
                  </a:lnTo>
                  <a:lnTo>
                    <a:pt x="619" y="749"/>
                  </a:lnTo>
                  <a:lnTo>
                    <a:pt x="609" y="749"/>
                  </a:lnTo>
                  <a:lnTo>
                    <a:pt x="609" y="749"/>
                  </a:lnTo>
                  <a:lnTo>
                    <a:pt x="599" y="742"/>
                  </a:lnTo>
                  <a:lnTo>
                    <a:pt x="599" y="742"/>
                  </a:lnTo>
                  <a:lnTo>
                    <a:pt x="599" y="756"/>
                  </a:lnTo>
                  <a:lnTo>
                    <a:pt x="599" y="756"/>
                  </a:lnTo>
                  <a:lnTo>
                    <a:pt x="575" y="749"/>
                  </a:lnTo>
                  <a:lnTo>
                    <a:pt x="555" y="746"/>
                  </a:lnTo>
                  <a:lnTo>
                    <a:pt x="555" y="746"/>
                  </a:lnTo>
                  <a:lnTo>
                    <a:pt x="552" y="753"/>
                  </a:lnTo>
                  <a:lnTo>
                    <a:pt x="552" y="756"/>
                  </a:lnTo>
                  <a:lnTo>
                    <a:pt x="552" y="756"/>
                  </a:lnTo>
                  <a:lnTo>
                    <a:pt x="542" y="759"/>
                  </a:lnTo>
                  <a:lnTo>
                    <a:pt x="542" y="759"/>
                  </a:lnTo>
                  <a:lnTo>
                    <a:pt x="542" y="753"/>
                  </a:lnTo>
                  <a:lnTo>
                    <a:pt x="542" y="753"/>
                  </a:lnTo>
                  <a:lnTo>
                    <a:pt x="542" y="753"/>
                  </a:lnTo>
                  <a:lnTo>
                    <a:pt x="545" y="753"/>
                  </a:lnTo>
                  <a:lnTo>
                    <a:pt x="545" y="746"/>
                  </a:lnTo>
                  <a:lnTo>
                    <a:pt x="545" y="746"/>
                  </a:lnTo>
                  <a:lnTo>
                    <a:pt x="542" y="749"/>
                  </a:lnTo>
                  <a:lnTo>
                    <a:pt x="535" y="749"/>
                  </a:lnTo>
                  <a:lnTo>
                    <a:pt x="535" y="749"/>
                  </a:lnTo>
                  <a:lnTo>
                    <a:pt x="528" y="746"/>
                  </a:lnTo>
                  <a:lnTo>
                    <a:pt x="525" y="739"/>
                  </a:lnTo>
                  <a:lnTo>
                    <a:pt x="525" y="739"/>
                  </a:lnTo>
                  <a:lnTo>
                    <a:pt x="515" y="736"/>
                  </a:lnTo>
                  <a:lnTo>
                    <a:pt x="505" y="736"/>
                  </a:lnTo>
                  <a:lnTo>
                    <a:pt x="505" y="736"/>
                  </a:lnTo>
                  <a:lnTo>
                    <a:pt x="501" y="739"/>
                  </a:lnTo>
                  <a:lnTo>
                    <a:pt x="501" y="746"/>
                  </a:lnTo>
                  <a:lnTo>
                    <a:pt x="505" y="756"/>
                  </a:lnTo>
                  <a:lnTo>
                    <a:pt x="505" y="756"/>
                  </a:lnTo>
                  <a:lnTo>
                    <a:pt x="501" y="759"/>
                  </a:lnTo>
                  <a:lnTo>
                    <a:pt x="501" y="759"/>
                  </a:lnTo>
                  <a:lnTo>
                    <a:pt x="501" y="759"/>
                  </a:lnTo>
                  <a:lnTo>
                    <a:pt x="491" y="759"/>
                  </a:lnTo>
                  <a:lnTo>
                    <a:pt x="491" y="759"/>
                  </a:lnTo>
                  <a:lnTo>
                    <a:pt x="498" y="773"/>
                  </a:lnTo>
                  <a:lnTo>
                    <a:pt x="505" y="779"/>
                  </a:lnTo>
                  <a:lnTo>
                    <a:pt x="511" y="783"/>
                  </a:lnTo>
                  <a:lnTo>
                    <a:pt x="511" y="783"/>
                  </a:lnTo>
                  <a:lnTo>
                    <a:pt x="515" y="783"/>
                  </a:lnTo>
                  <a:lnTo>
                    <a:pt x="515" y="783"/>
                  </a:lnTo>
                  <a:lnTo>
                    <a:pt x="525" y="789"/>
                  </a:lnTo>
                  <a:lnTo>
                    <a:pt x="525" y="789"/>
                  </a:lnTo>
                  <a:lnTo>
                    <a:pt x="531" y="789"/>
                  </a:lnTo>
                  <a:lnTo>
                    <a:pt x="531" y="789"/>
                  </a:lnTo>
                  <a:lnTo>
                    <a:pt x="538" y="789"/>
                  </a:lnTo>
                  <a:lnTo>
                    <a:pt x="538" y="789"/>
                  </a:lnTo>
                  <a:lnTo>
                    <a:pt x="538" y="786"/>
                  </a:lnTo>
                  <a:lnTo>
                    <a:pt x="538" y="783"/>
                  </a:lnTo>
                  <a:lnTo>
                    <a:pt x="538" y="783"/>
                  </a:lnTo>
                  <a:lnTo>
                    <a:pt x="545" y="786"/>
                  </a:lnTo>
                  <a:lnTo>
                    <a:pt x="552" y="796"/>
                  </a:lnTo>
                  <a:lnTo>
                    <a:pt x="562" y="813"/>
                  </a:lnTo>
                  <a:lnTo>
                    <a:pt x="562" y="813"/>
                  </a:lnTo>
                  <a:lnTo>
                    <a:pt x="555" y="816"/>
                  </a:lnTo>
                  <a:lnTo>
                    <a:pt x="552" y="820"/>
                  </a:lnTo>
                  <a:lnTo>
                    <a:pt x="552" y="820"/>
                  </a:lnTo>
                  <a:lnTo>
                    <a:pt x="552" y="826"/>
                  </a:lnTo>
                  <a:lnTo>
                    <a:pt x="552" y="826"/>
                  </a:lnTo>
                  <a:lnTo>
                    <a:pt x="528" y="823"/>
                  </a:lnTo>
                  <a:lnTo>
                    <a:pt x="528" y="823"/>
                  </a:lnTo>
                  <a:lnTo>
                    <a:pt x="518" y="823"/>
                  </a:lnTo>
                  <a:lnTo>
                    <a:pt x="511" y="823"/>
                  </a:lnTo>
                  <a:lnTo>
                    <a:pt x="511" y="823"/>
                  </a:lnTo>
                  <a:lnTo>
                    <a:pt x="505" y="823"/>
                  </a:lnTo>
                  <a:lnTo>
                    <a:pt x="501" y="816"/>
                  </a:lnTo>
                  <a:lnTo>
                    <a:pt x="491" y="806"/>
                  </a:lnTo>
                  <a:lnTo>
                    <a:pt x="491" y="806"/>
                  </a:lnTo>
                  <a:lnTo>
                    <a:pt x="474" y="803"/>
                  </a:lnTo>
                  <a:lnTo>
                    <a:pt x="474" y="803"/>
                  </a:lnTo>
                  <a:lnTo>
                    <a:pt x="474" y="810"/>
                  </a:lnTo>
                  <a:lnTo>
                    <a:pt x="474" y="810"/>
                  </a:lnTo>
                  <a:lnTo>
                    <a:pt x="468" y="813"/>
                  </a:lnTo>
                  <a:lnTo>
                    <a:pt x="468" y="813"/>
                  </a:lnTo>
                  <a:lnTo>
                    <a:pt x="461" y="810"/>
                  </a:lnTo>
                  <a:lnTo>
                    <a:pt x="454" y="803"/>
                  </a:lnTo>
                  <a:lnTo>
                    <a:pt x="451" y="789"/>
                  </a:lnTo>
                  <a:lnTo>
                    <a:pt x="451" y="789"/>
                  </a:lnTo>
                  <a:lnTo>
                    <a:pt x="444" y="793"/>
                  </a:lnTo>
                  <a:lnTo>
                    <a:pt x="444" y="793"/>
                  </a:lnTo>
                  <a:lnTo>
                    <a:pt x="447" y="773"/>
                  </a:lnTo>
                  <a:lnTo>
                    <a:pt x="447" y="773"/>
                  </a:lnTo>
                  <a:lnTo>
                    <a:pt x="441" y="769"/>
                  </a:lnTo>
                  <a:lnTo>
                    <a:pt x="441" y="769"/>
                  </a:lnTo>
                  <a:lnTo>
                    <a:pt x="437" y="763"/>
                  </a:lnTo>
                  <a:lnTo>
                    <a:pt x="437" y="763"/>
                  </a:lnTo>
                  <a:lnTo>
                    <a:pt x="431" y="753"/>
                  </a:lnTo>
                  <a:lnTo>
                    <a:pt x="424" y="746"/>
                  </a:lnTo>
                  <a:lnTo>
                    <a:pt x="424" y="746"/>
                  </a:lnTo>
                  <a:lnTo>
                    <a:pt x="424" y="742"/>
                  </a:lnTo>
                  <a:lnTo>
                    <a:pt x="424" y="742"/>
                  </a:lnTo>
                  <a:lnTo>
                    <a:pt x="427" y="736"/>
                  </a:lnTo>
                  <a:lnTo>
                    <a:pt x="427" y="736"/>
                  </a:lnTo>
                  <a:lnTo>
                    <a:pt x="431" y="729"/>
                  </a:lnTo>
                  <a:lnTo>
                    <a:pt x="427" y="722"/>
                  </a:lnTo>
                  <a:lnTo>
                    <a:pt x="424" y="719"/>
                  </a:lnTo>
                  <a:lnTo>
                    <a:pt x="417" y="716"/>
                  </a:lnTo>
                  <a:lnTo>
                    <a:pt x="417" y="716"/>
                  </a:lnTo>
                  <a:lnTo>
                    <a:pt x="431" y="716"/>
                  </a:lnTo>
                  <a:lnTo>
                    <a:pt x="431" y="716"/>
                  </a:lnTo>
                  <a:lnTo>
                    <a:pt x="424" y="705"/>
                  </a:lnTo>
                  <a:lnTo>
                    <a:pt x="424" y="705"/>
                  </a:lnTo>
                  <a:lnTo>
                    <a:pt x="424" y="702"/>
                  </a:lnTo>
                  <a:lnTo>
                    <a:pt x="424" y="702"/>
                  </a:lnTo>
                  <a:lnTo>
                    <a:pt x="411" y="692"/>
                  </a:lnTo>
                  <a:lnTo>
                    <a:pt x="411" y="692"/>
                  </a:lnTo>
                  <a:lnTo>
                    <a:pt x="407" y="692"/>
                  </a:lnTo>
                  <a:lnTo>
                    <a:pt x="407" y="692"/>
                  </a:lnTo>
                  <a:lnTo>
                    <a:pt x="397" y="685"/>
                  </a:lnTo>
                  <a:lnTo>
                    <a:pt x="384" y="682"/>
                  </a:lnTo>
                  <a:lnTo>
                    <a:pt x="387" y="675"/>
                  </a:lnTo>
                  <a:lnTo>
                    <a:pt x="387" y="675"/>
                  </a:lnTo>
                  <a:lnTo>
                    <a:pt x="377" y="672"/>
                  </a:lnTo>
                  <a:lnTo>
                    <a:pt x="370" y="672"/>
                  </a:lnTo>
                  <a:lnTo>
                    <a:pt x="367" y="668"/>
                  </a:lnTo>
                  <a:lnTo>
                    <a:pt x="377" y="665"/>
                  </a:lnTo>
                  <a:lnTo>
                    <a:pt x="377" y="665"/>
                  </a:lnTo>
                  <a:lnTo>
                    <a:pt x="367" y="662"/>
                  </a:lnTo>
                  <a:lnTo>
                    <a:pt x="367" y="662"/>
                  </a:lnTo>
                  <a:lnTo>
                    <a:pt x="367" y="662"/>
                  </a:lnTo>
                  <a:lnTo>
                    <a:pt x="367" y="658"/>
                  </a:lnTo>
                  <a:lnTo>
                    <a:pt x="367" y="658"/>
                  </a:lnTo>
                  <a:lnTo>
                    <a:pt x="360" y="655"/>
                  </a:lnTo>
                  <a:lnTo>
                    <a:pt x="350" y="655"/>
                  </a:lnTo>
                  <a:lnTo>
                    <a:pt x="350" y="655"/>
                  </a:lnTo>
                  <a:lnTo>
                    <a:pt x="340" y="645"/>
                  </a:lnTo>
                  <a:lnTo>
                    <a:pt x="340" y="645"/>
                  </a:lnTo>
                  <a:lnTo>
                    <a:pt x="340" y="638"/>
                  </a:lnTo>
                  <a:lnTo>
                    <a:pt x="340" y="638"/>
                  </a:lnTo>
                  <a:lnTo>
                    <a:pt x="330" y="632"/>
                  </a:lnTo>
                  <a:lnTo>
                    <a:pt x="330" y="632"/>
                  </a:lnTo>
                  <a:lnTo>
                    <a:pt x="350" y="632"/>
                  </a:lnTo>
                  <a:lnTo>
                    <a:pt x="350" y="632"/>
                  </a:lnTo>
                  <a:lnTo>
                    <a:pt x="350" y="638"/>
                  </a:lnTo>
                  <a:lnTo>
                    <a:pt x="350" y="638"/>
                  </a:lnTo>
                  <a:lnTo>
                    <a:pt x="370" y="652"/>
                  </a:lnTo>
                  <a:lnTo>
                    <a:pt x="370" y="652"/>
                  </a:lnTo>
                  <a:lnTo>
                    <a:pt x="380" y="652"/>
                  </a:lnTo>
                  <a:lnTo>
                    <a:pt x="380" y="652"/>
                  </a:lnTo>
                  <a:lnTo>
                    <a:pt x="377" y="648"/>
                  </a:lnTo>
                  <a:lnTo>
                    <a:pt x="377" y="645"/>
                  </a:lnTo>
                  <a:lnTo>
                    <a:pt x="377" y="645"/>
                  </a:lnTo>
                  <a:lnTo>
                    <a:pt x="377" y="645"/>
                  </a:lnTo>
                  <a:lnTo>
                    <a:pt x="384" y="648"/>
                  </a:lnTo>
                  <a:lnTo>
                    <a:pt x="384" y="648"/>
                  </a:lnTo>
                  <a:lnTo>
                    <a:pt x="390" y="648"/>
                  </a:lnTo>
                  <a:lnTo>
                    <a:pt x="390" y="648"/>
                  </a:lnTo>
                  <a:lnTo>
                    <a:pt x="394" y="645"/>
                  </a:lnTo>
                  <a:lnTo>
                    <a:pt x="394" y="645"/>
                  </a:lnTo>
                  <a:lnTo>
                    <a:pt x="404" y="658"/>
                  </a:lnTo>
                  <a:lnTo>
                    <a:pt x="404" y="658"/>
                  </a:lnTo>
                  <a:lnTo>
                    <a:pt x="421" y="655"/>
                  </a:lnTo>
                  <a:lnTo>
                    <a:pt x="424" y="658"/>
                  </a:lnTo>
                  <a:lnTo>
                    <a:pt x="424" y="658"/>
                  </a:lnTo>
                  <a:lnTo>
                    <a:pt x="431" y="658"/>
                  </a:lnTo>
                  <a:lnTo>
                    <a:pt x="437" y="658"/>
                  </a:lnTo>
                  <a:lnTo>
                    <a:pt x="437" y="658"/>
                  </a:lnTo>
                  <a:lnTo>
                    <a:pt x="451" y="658"/>
                  </a:lnTo>
                  <a:lnTo>
                    <a:pt x="468" y="658"/>
                  </a:lnTo>
                  <a:lnTo>
                    <a:pt x="468" y="658"/>
                  </a:lnTo>
                  <a:lnTo>
                    <a:pt x="484" y="655"/>
                  </a:lnTo>
                  <a:lnTo>
                    <a:pt x="498" y="655"/>
                  </a:lnTo>
                  <a:lnTo>
                    <a:pt x="498" y="655"/>
                  </a:lnTo>
                  <a:lnTo>
                    <a:pt x="511" y="658"/>
                  </a:lnTo>
                  <a:lnTo>
                    <a:pt x="518" y="658"/>
                  </a:lnTo>
                  <a:lnTo>
                    <a:pt x="528" y="655"/>
                  </a:lnTo>
                  <a:lnTo>
                    <a:pt x="528" y="655"/>
                  </a:lnTo>
                  <a:lnTo>
                    <a:pt x="552" y="642"/>
                  </a:lnTo>
                  <a:lnTo>
                    <a:pt x="562" y="628"/>
                  </a:lnTo>
                  <a:lnTo>
                    <a:pt x="568" y="621"/>
                  </a:lnTo>
                  <a:lnTo>
                    <a:pt x="568" y="621"/>
                  </a:lnTo>
                  <a:lnTo>
                    <a:pt x="572" y="611"/>
                  </a:lnTo>
                  <a:lnTo>
                    <a:pt x="572" y="611"/>
                  </a:lnTo>
                  <a:lnTo>
                    <a:pt x="579" y="605"/>
                  </a:lnTo>
                  <a:lnTo>
                    <a:pt x="579" y="605"/>
                  </a:lnTo>
                  <a:lnTo>
                    <a:pt x="582" y="588"/>
                  </a:lnTo>
                  <a:lnTo>
                    <a:pt x="582" y="568"/>
                  </a:lnTo>
                  <a:lnTo>
                    <a:pt x="579" y="568"/>
                  </a:lnTo>
                  <a:lnTo>
                    <a:pt x="579" y="568"/>
                  </a:lnTo>
                  <a:lnTo>
                    <a:pt x="582" y="561"/>
                  </a:lnTo>
                  <a:lnTo>
                    <a:pt x="582" y="558"/>
                  </a:lnTo>
                  <a:lnTo>
                    <a:pt x="582" y="558"/>
                  </a:lnTo>
                  <a:lnTo>
                    <a:pt x="579" y="551"/>
                  </a:lnTo>
                  <a:lnTo>
                    <a:pt x="575" y="551"/>
                  </a:lnTo>
                  <a:lnTo>
                    <a:pt x="568" y="544"/>
                  </a:lnTo>
                  <a:lnTo>
                    <a:pt x="568" y="544"/>
                  </a:lnTo>
                  <a:lnTo>
                    <a:pt x="565" y="534"/>
                  </a:lnTo>
                  <a:lnTo>
                    <a:pt x="565" y="534"/>
                  </a:lnTo>
                  <a:lnTo>
                    <a:pt x="562" y="534"/>
                  </a:lnTo>
                  <a:lnTo>
                    <a:pt x="562" y="534"/>
                  </a:lnTo>
                  <a:lnTo>
                    <a:pt x="562" y="527"/>
                  </a:lnTo>
                  <a:lnTo>
                    <a:pt x="562" y="527"/>
                  </a:lnTo>
                  <a:lnTo>
                    <a:pt x="552" y="517"/>
                  </a:lnTo>
                  <a:lnTo>
                    <a:pt x="552" y="517"/>
                  </a:lnTo>
                  <a:lnTo>
                    <a:pt x="542" y="517"/>
                  </a:lnTo>
                  <a:lnTo>
                    <a:pt x="545" y="521"/>
                  </a:lnTo>
                  <a:lnTo>
                    <a:pt x="545" y="521"/>
                  </a:lnTo>
                  <a:lnTo>
                    <a:pt x="538" y="521"/>
                  </a:lnTo>
                  <a:lnTo>
                    <a:pt x="538" y="517"/>
                  </a:lnTo>
                  <a:lnTo>
                    <a:pt x="535" y="511"/>
                  </a:lnTo>
                  <a:lnTo>
                    <a:pt x="535" y="511"/>
                  </a:lnTo>
                  <a:lnTo>
                    <a:pt x="528" y="511"/>
                  </a:lnTo>
                  <a:lnTo>
                    <a:pt x="528" y="511"/>
                  </a:lnTo>
                  <a:lnTo>
                    <a:pt x="521" y="504"/>
                  </a:lnTo>
                  <a:lnTo>
                    <a:pt x="515" y="497"/>
                  </a:lnTo>
                  <a:lnTo>
                    <a:pt x="515" y="497"/>
                  </a:lnTo>
                  <a:lnTo>
                    <a:pt x="515" y="500"/>
                  </a:lnTo>
                  <a:lnTo>
                    <a:pt x="515" y="504"/>
                  </a:lnTo>
                  <a:lnTo>
                    <a:pt x="511" y="507"/>
                  </a:lnTo>
                  <a:lnTo>
                    <a:pt x="501" y="507"/>
                  </a:lnTo>
                  <a:lnTo>
                    <a:pt x="501" y="507"/>
                  </a:lnTo>
                  <a:lnTo>
                    <a:pt x="484" y="494"/>
                  </a:lnTo>
                  <a:lnTo>
                    <a:pt x="484" y="494"/>
                  </a:lnTo>
                  <a:lnTo>
                    <a:pt x="474" y="494"/>
                  </a:lnTo>
                  <a:lnTo>
                    <a:pt x="468" y="494"/>
                  </a:lnTo>
                  <a:lnTo>
                    <a:pt x="468" y="494"/>
                  </a:lnTo>
                  <a:lnTo>
                    <a:pt x="458" y="484"/>
                  </a:lnTo>
                  <a:lnTo>
                    <a:pt x="458" y="484"/>
                  </a:lnTo>
                  <a:lnTo>
                    <a:pt x="444" y="480"/>
                  </a:lnTo>
                  <a:lnTo>
                    <a:pt x="431" y="474"/>
                  </a:lnTo>
                  <a:lnTo>
                    <a:pt x="431" y="474"/>
                  </a:lnTo>
                  <a:lnTo>
                    <a:pt x="421" y="467"/>
                  </a:lnTo>
                  <a:lnTo>
                    <a:pt x="414" y="460"/>
                  </a:lnTo>
                  <a:lnTo>
                    <a:pt x="414" y="460"/>
                  </a:lnTo>
                  <a:lnTo>
                    <a:pt x="400" y="463"/>
                  </a:lnTo>
                  <a:lnTo>
                    <a:pt x="394" y="463"/>
                  </a:lnTo>
                  <a:lnTo>
                    <a:pt x="394" y="463"/>
                  </a:lnTo>
                  <a:lnTo>
                    <a:pt x="390" y="457"/>
                  </a:lnTo>
                  <a:lnTo>
                    <a:pt x="384" y="453"/>
                  </a:lnTo>
                  <a:lnTo>
                    <a:pt x="384" y="453"/>
                  </a:lnTo>
                  <a:lnTo>
                    <a:pt x="374" y="453"/>
                  </a:lnTo>
                  <a:lnTo>
                    <a:pt x="367" y="453"/>
                  </a:lnTo>
                  <a:lnTo>
                    <a:pt x="357" y="460"/>
                  </a:lnTo>
                  <a:lnTo>
                    <a:pt x="357" y="460"/>
                  </a:lnTo>
                  <a:lnTo>
                    <a:pt x="350" y="460"/>
                  </a:lnTo>
                  <a:lnTo>
                    <a:pt x="347" y="457"/>
                  </a:lnTo>
                  <a:lnTo>
                    <a:pt x="343" y="453"/>
                  </a:lnTo>
                  <a:lnTo>
                    <a:pt x="343" y="453"/>
                  </a:lnTo>
                  <a:lnTo>
                    <a:pt x="340" y="453"/>
                  </a:lnTo>
                  <a:lnTo>
                    <a:pt x="340" y="453"/>
                  </a:lnTo>
                  <a:lnTo>
                    <a:pt x="330" y="463"/>
                  </a:lnTo>
                  <a:lnTo>
                    <a:pt x="330" y="463"/>
                  </a:lnTo>
                  <a:lnTo>
                    <a:pt x="326" y="460"/>
                  </a:lnTo>
                  <a:lnTo>
                    <a:pt x="326" y="460"/>
                  </a:lnTo>
                  <a:lnTo>
                    <a:pt x="326" y="453"/>
                  </a:lnTo>
                  <a:lnTo>
                    <a:pt x="326" y="453"/>
                  </a:lnTo>
                  <a:lnTo>
                    <a:pt x="320" y="457"/>
                  </a:lnTo>
                  <a:lnTo>
                    <a:pt x="313" y="457"/>
                  </a:lnTo>
                  <a:lnTo>
                    <a:pt x="313" y="457"/>
                  </a:lnTo>
                  <a:lnTo>
                    <a:pt x="313" y="453"/>
                  </a:lnTo>
                  <a:lnTo>
                    <a:pt x="310" y="453"/>
                  </a:lnTo>
                  <a:lnTo>
                    <a:pt x="310" y="453"/>
                  </a:lnTo>
                  <a:lnTo>
                    <a:pt x="300" y="457"/>
                  </a:lnTo>
                  <a:lnTo>
                    <a:pt x="300" y="457"/>
                  </a:lnTo>
                  <a:lnTo>
                    <a:pt x="286" y="457"/>
                  </a:lnTo>
                  <a:lnTo>
                    <a:pt x="276" y="453"/>
                  </a:lnTo>
                  <a:lnTo>
                    <a:pt x="276" y="453"/>
                  </a:lnTo>
                  <a:lnTo>
                    <a:pt x="276" y="447"/>
                  </a:lnTo>
                  <a:lnTo>
                    <a:pt x="276" y="447"/>
                  </a:lnTo>
                  <a:lnTo>
                    <a:pt x="286" y="447"/>
                  </a:lnTo>
                  <a:lnTo>
                    <a:pt x="296" y="447"/>
                  </a:lnTo>
                  <a:lnTo>
                    <a:pt x="296" y="443"/>
                  </a:lnTo>
                  <a:lnTo>
                    <a:pt x="296" y="443"/>
                  </a:lnTo>
                  <a:lnTo>
                    <a:pt x="300" y="437"/>
                  </a:lnTo>
                  <a:lnTo>
                    <a:pt x="300" y="437"/>
                  </a:lnTo>
                  <a:lnTo>
                    <a:pt x="293" y="433"/>
                  </a:lnTo>
                  <a:lnTo>
                    <a:pt x="293" y="433"/>
                  </a:lnTo>
                  <a:lnTo>
                    <a:pt x="290" y="433"/>
                  </a:lnTo>
                  <a:lnTo>
                    <a:pt x="290" y="433"/>
                  </a:lnTo>
                  <a:lnTo>
                    <a:pt x="286" y="433"/>
                  </a:lnTo>
                  <a:lnTo>
                    <a:pt x="286" y="437"/>
                  </a:lnTo>
                  <a:lnTo>
                    <a:pt x="283" y="437"/>
                  </a:lnTo>
                  <a:lnTo>
                    <a:pt x="283" y="437"/>
                  </a:lnTo>
                  <a:lnTo>
                    <a:pt x="279" y="430"/>
                  </a:lnTo>
                  <a:lnTo>
                    <a:pt x="269" y="427"/>
                  </a:lnTo>
                  <a:lnTo>
                    <a:pt x="269" y="427"/>
                  </a:lnTo>
                  <a:lnTo>
                    <a:pt x="266" y="427"/>
                  </a:lnTo>
                  <a:lnTo>
                    <a:pt x="266" y="427"/>
                  </a:lnTo>
                  <a:lnTo>
                    <a:pt x="269" y="433"/>
                  </a:lnTo>
                  <a:lnTo>
                    <a:pt x="269" y="433"/>
                  </a:lnTo>
                  <a:lnTo>
                    <a:pt x="269" y="437"/>
                  </a:lnTo>
                  <a:lnTo>
                    <a:pt x="266" y="437"/>
                  </a:lnTo>
                  <a:lnTo>
                    <a:pt x="266" y="437"/>
                  </a:lnTo>
                  <a:lnTo>
                    <a:pt x="263" y="437"/>
                  </a:lnTo>
                  <a:lnTo>
                    <a:pt x="263" y="437"/>
                  </a:lnTo>
                  <a:lnTo>
                    <a:pt x="263" y="437"/>
                  </a:lnTo>
                  <a:lnTo>
                    <a:pt x="256" y="447"/>
                  </a:lnTo>
                  <a:lnTo>
                    <a:pt x="256" y="447"/>
                  </a:lnTo>
                  <a:lnTo>
                    <a:pt x="253" y="443"/>
                  </a:lnTo>
                  <a:lnTo>
                    <a:pt x="253" y="443"/>
                  </a:lnTo>
                  <a:lnTo>
                    <a:pt x="246" y="443"/>
                  </a:lnTo>
                  <a:lnTo>
                    <a:pt x="246" y="443"/>
                  </a:lnTo>
                  <a:lnTo>
                    <a:pt x="249" y="457"/>
                  </a:lnTo>
                  <a:lnTo>
                    <a:pt x="249" y="460"/>
                  </a:lnTo>
                  <a:lnTo>
                    <a:pt x="246" y="467"/>
                  </a:lnTo>
                  <a:lnTo>
                    <a:pt x="246" y="467"/>
                  </a:lnTo>
                  <a:lnTo>
                    <a:pt x="242" y="470"/>
                  </a:lnTo>
                  <a:lnTo>
                    <a:pt x="242" y="470"/>
                  </a:lnTo>
                  <a:lnTo>
                    <a:pt x="239" y="470"/>
                  </a:lnTo>
                  <a:lnTo>
                    <a:pt x="239" y="470"/>
                  </a:lnTo>
                  <a:lnTo>
                    <a:pt x="236" y="467"/>
                  </a:lnTo>
                  <a:lnTo>
                    <a:pt x="232" y="463"/>
                  </a:lnTo>
                  <a:lnTo>
                    <a:pt x="232" y="463"/>
                  </a:lnTo>
                  <a:lnTo>
                    <a:pt x="229" y="460"/>
                  </a:lnTo>
                  <a:lnTo>
                    <a:pt x="226" y="460"/>
                  </a:lnTo>
                  <a:lnTo>
                    <a:pt x="226" y="460"/>
                  </a:lnTo>
                  <a:lnTo>
                    <a:pt x="222" y="463"/>
                  </a:lnTo>
                  <a:lnTo>
                    <a:pt x="222" y="467"/>
                  </a:lnTo>
                  <a:lnTo>
                    <a:pt x="226" y="474"/>
                  </a:lnTo>
                  <a:lnTo>
                    <a:pt x="226" y="477"/>
                  </a:lnTo>
                  <a:lnTo>
                    <a:pt x="226" y="477"/>
                  </a:lnTo>
                  <a:lnTo>
                    <a:pt x="222" y="480"/>
                  </a:lnTo>
                  <a:lnTo>
                    <a:pt x="219" y="484"/>
                  </a:lnTo>
                  <a:lnTo>
                    <a:pt x="216" y="487"/>
                  </a:lnTo>
                  <a:lnTo>
                    <a:pt x="212" y="490"/>
                  </a:lnTo>
                  <a:lnTo>
                    <a:pt x="212" y="490"/>
                  </a:lnTo>
                  <a:lnTo>
                    <a:pt x="212" y="497"/>
                  </a:lnTo>
                  <a:lnTo>
                    <a:pt x="212" y="497"/>
                  </a:lnTo>
                  <a:lnTo>
                    <a:pt x="209" y="500"/>
                  </a:lnTo>
                  <a:lnTo>
                    <a:pt x="209" y="500"/>
                  </a:lnTo>
                  <a:lnTo>
                    <a:pt x="205" y="504"/>
                  </a:lnTo>
                  <a:lnTo>
                    <a:pt x="205" y="504"/>
                  </a:lnTo>
                  <a:lnTo>
                    <a:pt x="205" y="507"/>
                  </a:lnTo>
                  <a:lnTo>
                    <a:pt x="209" y="514"/>
                  </a:lnTo>
                  <a:lnTo>
                    <a:pt x="209" y="514"/>
                  </a:lnTo>
                  <a:lnTo>
                    <a:pt x="205" y="517"/>
                  </a:lnTo>
                  <a:lnTo>
                    <a:pt x="205" y="517"/>
                  </a:lnTo>
                  <a:lnTo>
                    <a:pt x="205" y="517"/>
                  </a:lnTo>
                  <a:lnTo>
                    <a:pt x="202" y="514"/>
                  </a:lnTo>
                  <a:lnTo>
                    <a:pt x="202" y="514"/>
                  </a:lnTo>
                  <a:lnTo>
                    <a:pt x="195" y="521"/>
                  </a:lnTo>
                  <a:lnTo>
                    <a:pt x="195" y="521"/>
                  </a:lnTo>
                  <a:lnTo>
                    <a:pt x="192" y="524"/>
                  </a:lnTo>
                  <a:lnTo>
                    <a:pt x="189" y="527"/>
                  </a:lnTo>
                  <a:lnTo>
                    <a:pt x="189" y="527"/>
                  </a:lnTo>
                  <a:lnTo>
                    <a:pt x="192" y="527"/>
                  </a:lnTo>
                  <a:lnTo>
                    <a:pt x="192" y="527"/>
                  </a:lnTo>
                  <a:lnTo>
                    <a:pt x="199" y="527"/>
                  </a:lnTo>
                  <a:lnTo>
                    <a:pt x="199" y="527"/>
                  </a:lnTo>
                  <a:lnTo>
                    <a:pt x="199" y="531"/>
                  </a:lnTo>
                  <a:lnTo>
                    <a:pt x="195" y="534"/>
                  </a:lnTo>
                  <a:lnTo>
                    <a:pt x="192" y="541"/>
                  </a:lnTo>
                  <a:lnTo>
                    <a:pt x="192" y="544"/>
                  </a:lnTo>
                  <a:lnTo>
                    <a:pt x="192" y="544"/>
                  </a:lnTo>
                  <a:lnTo>
                    <a:pt x="195" y="558"/>
                  </a:lnTo>
                  <a:lnTo>
                    <a:pt x="199" y="568"/>
                  </a:lnTo>
                  <a:lnTo>
                    <a:pt x="199" y="568"/>
                  </a:lnTo>
                  <a:lnTo>
                    <a:pt x="209" y="578"/>
                  </a:lnTo>
                  <a:lnTo>
                    <a:pt x="222" y="584"/>
                  </a:lnTo>
                  <a:lnTo>
                    <a:pt x="222" y="584"/>
                  </a:lnTo>
                  <a:lnTo>
                    <a:pt x="226" y="588"/>
                  </a:lnTo>
                  <a:lnTo>
                    <a:pt x="229" y="595"/>
                  </a:lnTo>
                  <a:lnTo>
                    <a:pt x="229" y="595"/>
                  </a:lnTo>
                  <a:lnTo>
                    <a:pt x="236" y="605"/>
                  </a:lnTo>
                  <a:lnTo>
                    <a:pt x="236" y="605"/>
                  </a:lnTo>
                  <a:lnTo>
                    <a:pt x="239" y="611"/>
                  </a:lnTo>
                  <a:lnTo>
                    <a:pt x="239" y="621"/>
                  </a:lnTo>
                  <a:lnTo>
                    <a:pt x="239" y="621"/>
                  </a:lnTo>
                  <a:lnTo>
                    <a:pt x="239" y="628"/>
                  </a:lnTo>
                  <a:lnTo>
                    <a:pt x="239" y="628"/>
                  </a:lnTo>
                  <a:lnTo>
                    <a:pt x="229" y="645"/>
                  </a:lnTo>
                  <a:lnTo>
                    <a:pt x="229" y="645"/>
                  </a:lnTo>
                  <a:lnTo>
                    <a:pt x="226" y="652"/>
                  </a:lnTo>
                  <a:lnTo>
                    <a:pt x="226" y="652"/>
                  </a:lnTo>
                  <a:lnTo>
                    <a:pt x="226" y="658"/>
                  </a:lnTo>
                  <a:lnTo>
                    <a:pt x="229" y="665"/>
                  </a:lnTo>
                  <a:lnTo>
                    <a:pt x="239" y="675"/>
                  </a:lnTo>
                  <a:lnTo>
                    <a:pt x="239" y="675"/>
                  </a:lnTo>
                  <a:lnTo>
                    <a:pt x="249" y="692"/>
                  </a:lnTo>
                  <a:lnTo>
                    <a:pt x="249" y="692"/>
                  </a:lnTo>
                  <a:lnTo>
                    <a:pt x="259" y="716"/>
                  </a:lnTo>
                  <a:lnTo>
                    <a:pt x="259" y="716"/>
                  </a:lnTo>
                  <a:lnTo>
                    <a:pt x="273" y="732"/>
                  </a:lnTo>
                  <a:lnTo>
                    <a:pt x="283" y="742"/>
                  </a:lnTo>
                  <a:lnTo>
                    <a:pt x="283" y="742"/>
                  </a:lnTo>
                  <a:lnTo>
                    <a:pt x="279" y="746"/>
                  </a:lnTo>
                  <a:lnTo>
                    <a:pt x="276" y="749"/>
                  </a:lnTo>
                  <a:lnTo>
                    <a:pt x="269" y="753"/>
                  </a:lnTo>
                  <a:lnTo>
                    <a:pt x="269" y="753"/>
                  </a:lnTo>
                  <a:lnTo>
                    <a:pt x="269" y="753"/>
                  </a:lnTo>
                  <a:lnTo>
                    <a:pt x="269" y="753"/>
                  </a:lnTo>
                  <a:lnTo>
                    <a:pt x="273" y="756"/>
                  </a:lnTo>
                  <a:lnTo>
                    <a:pt x="273" y="756"/>
                  </a:lnTo>
                  <a:lnTo>
                    <a:pt x="276" y="759"/>
                  </a:lnTo>
                  <a:lnTo>
                    <a:pt x="276" y="766"/>
                  </a:lnTo>
                  <a:lnTo>
                    <a:pt x="279" y="773"/>
                  </a:lnTo>
                  <a:lnTo>
                    <a:pt x="279" y="773"/>
                  </a:lnTo>
                  <a:lnTo>
                    <a:pt x="283" y="779"/>
                  </a:lnTo>
                  <a:lnTo>
                    <a:pt x="283" y="786"/>
                  </a:lnTo>
                  <a:lnTo>
                    <a:pt x="283" y="786"/>
                  </a:lnTo>
                  <a:lnTo>
                    <a:pt x="279" y="789"/>
                  </a:lnTo>
                  <a:lnTo>
                    <a:pt x="279" y="789"/>
                  </a:lnTo>
                  <a:lnTo>
                    <a:pt x="279" y="793"/>
                  </a:lnTo>
                  <a:lnTo>
                    <a:pt x="283" y="793"/>
                  </a:lnTo>
                  <a:lnTo>
                    <a:pt x="290" y="789"/>
                  </a:lnTo>
                  <a:lnTo>
                    <a:pt x="290" y="793"/>
                  </a:lnTo>
                  <a:lnTo>
                    <a:pt x="290" y="793"/>
                  </a:lnTo>
                  <a:lnTo>
                    <a:pt x="290" y="796"/>
                  </a:lnTo>
                  <a:lnTo>
                    <a:pt x="290" y="796"/>
                  </a:lnTo>
                  <a:lnTo>
                    <a:pt x="293" y="800"/>
                  </a:lnTo>
                  <a:lnTo>
                    <a:pt x="293" y="800"/>
                  </a:lnTo>
                  <a:lnTo>
                    <a:pt x="290" y="803"/>
                  </a:lnTo>
                  <a:lnTo>
                    <a:pt x="286" y="803"/>
                  </a:lnTo>
                  <a:lnTo>
                    <a:pt x="286" y="803"/>
                  </a:lnTo>
                  <a:lnTo>
                    <a:pt x="286" y="810"/>
                  </a:lnTo>
                  <a:lnTo>
                    <a:pt x="290" y="813"/>
                  </a:lnTo>
                  <a:lnTo>
                    <a:pt x="290" y="813"/>
                  </a:lnTo>
                  <a:lnTo>
                    <a:pt x="290" y="816"/>
                  </a:lnTo>
                  <a:lnTo>
                    <a:pt x="296" y="813"/>
                  </a:lnTo>
                  <a:lnTo>
                    <a:pt x="300" y="813"/>
                  </a:lnTo>
                  <a:lnTo>
                    <a:pt x="306" y="813"/>
                  </a:lnTo>
                  <a:lnTo>
                    <a:pt x="306" y="813"/>
                  </a:lnTo>
                  <a:lnTo>
                    <a:pt x="306" y="820"/>
                  </a:lnTo>
                  <a:lnTo>
                    <a:pt x="306" y="823"/>
                  </a:lnTo>
                  <a:lnTo>
                    <a:pt x="306" y="823"/>
                  </a:lnTo>
                  <a:lnTo>
                    <a:pt x="306" y="826"/>
                  </a:lnTo>
                  <a:lnTo>
                    <a:pt x="306" y="826"/>
                  </a:lnTo>
                  <a:lnTo>
                    <a:pt x="310" y="833"/>
                  </a:lnTo>
                  <a:lnTo>
                    <a:pt x="310" y="833"/>
                  </a:lnTo>
                  <a:lnTo>
                    <a:pt x="313" y="840"/>
                  </a:lnTo>
                  <a:lnTo>
                    <a:pt x="313" y="840"/>
                  </a:lnTo>
                  <a:lnTo>
                    <a:pt x="320" y="843"/>
                  </a:lnTo>
                  <a:lnTo>
                    <a:pt x="320" y="843"/>
                  </a:lnTo>
                  <a:lnTo>
                    <a:pt x="323" y="847"/>
                  </a:lnTo>
                  <a:lnTo>
                    <a:pt x="323" y="847"/>
                  </a:lnTo>
                  <a:lnTo>
                    <a:pt x="323" y="850"/>
                  </a:lnTo>
                  <a:lnTo>
                    <a:pt x="323" y="850"/>
                  </a:lnTo>
                  <a:lnTo>
                    <a:pt x="323" y="850"/>
                  </a:lnTo>
                  <a:lnTo>
                    <a:pt x="326" y="860"/>
                  </a:lnTo>
                  <a:lnTo>
                    <a:pt x="326" y="860"/>
                  </a:lnTo>
                  <a:lnTo>
                    <a:pt x="326" y="860"/>
                  </a:lnTo>
                  <a:lnTo>
                    <a:pt x="326" y="863"/>
                  </a:lnTo>
                  <a:lnTo>
                    <a:pt x="326" y="863"/>
                  </a:lnTo>
                  <a:lnTo>
                    <a:pt x="323" y="867"/>
                  </a:lnTo>
                  <a:lnTo>
                    <a:pt x="320" y="873"/>
                  </a:lnTo>
                  <a:lnTo>
                    <a:pt x="320" y="873"/>
                  </a:lnTo>
                  <a:lnTo>
                    <a:pt x="313" y="873"/>
                  </a:lnTo>
                  <a:lnTo>
                    <a:pt x="313" y="873"/>
                  </a:lnTo>
                  <a:lnTo>
                    <a:pt x="313" y="873"/>
                  </a:lnTo>
                  <a:lnTo>
                    <a:pt x="316" y="880"/>
                  </a:lnTo>
                  <a:lnTo>
                    <a:pt x="323" y="887"/>
                  </a:lnTo>
                  <a:lnTo>
                    <a:pt x="323" y="887"/>
                  </a:lnTo>
                  <a:lnTo>
                    <a:pt x="330" y="890"/>
                  </a:lnTo>
                  <a:lnTo>
                    <a:pt x="330" y="890"/>
                  </a:lnTo>
                  <a:lnTo>
                    <a:pt x="337" y="900"/>
                  </a:lnTo>
                  <a:lnTo>
                    <a:pt x="337" y="900"/>
                  </a:lnTo>
                  <a:lnTo>
                    <a:pt x="343" y="904"/>
                  </a:lnTo>
                  <a:lnTo>
                    <a:pt x="350" y="904"/>
                  </a:lnTo>
                  <a:lnTo>
                    <a:pt x="350" y="904"/>
                  </a:lnTo>
                  <a:lnTo>
                    <a:pt x="357" y="910"/>
                  </a:lnTo>
                  <a:lnTo>
                    <a:pt x="357" y="910"/>
                  </a:lnTo>
                  <a:lnTo>
                    <a:pt x="367" y="917"/>
                  </a:lnTo>
                  <a:lnTo>
                    <a:pt x="367" y="917"/>
                  </a:lnTo>
                  <a:lnTo>
                    <a:pt x="374" y="921"/>
                  </a:lnTo>
                  <a:lnTo>
                    <a:pt x="374" y="921"/>
                  </a:lnTo>
                  <a:lnTo>
                    <a:pt x="377" y="921"/>
                  </a:lnTo>
                  <a:lnTo>
                    <a:pt x="380" y="924"/>
                  </a:lnTo>
                  <a:lnTo>
                    <a:pt x="380" y="924"/>
                  </a:lnTo>
                  <a:lnTo>
                    <a:pt x="380" y="931"/>
                  </a:lnTo>
                  <a:lnTo>
                    <a:pt x="380" y="937"/>
                  </a:lnTo>
                  <a:lnTo>
                    <a:pt x="380" y="937"/>
                  </a:lnTo>
                  <a:lnTo>
                    <a:pt x="377" y="954"/>
                  </a:lnTo>
                  <a:lnTo>
                    <a:pt x="370" y="968"/>
                  </a:lnTo>
                  <a:lnTo>
                    <a:pt x="370" y="968"/>
                  </a:lnTo>
                  <a:lnTo>
                    <a:pt x="363" y="984"/>
                  </a:lnTo>
                  <a:lnTo>
                    <a:pt x="363" y="984"/>
                  </a:lnTo>
                  <a:lnTo>
                    <a:pt x="360" y="1005"/>
                  </a:lnTo>
                  <a:lnTo>
                    <a:pt x="360" y="1005"/>
                  </a:lnTo>
                  <a:lnTo>
                    <a:pt x="353" y="1021"/>
                  </a:lnTo>
                  <a:lnTo>
                    <a:pt x="353" y="1021"/>
                  </a:lnTo>
                  <a:lnTo>
                    <a:pt x="347" y="1031"/>
                  </a:lnTo>
                  <a:lnTo>
                    <a:pt x="340" y="1038"/>
                  </a:lnTo>
                  <a:lnTo>
                    <a:pt x="340" y="1038"/>
                  </a:lnTo>
                  <a:lnTo>
                    <a:pt x="330" y="1052"/>
                  </a:lnTo>
                  <a:lnTo>
                    <a:pt x="330" y="1052"/>
                  </a:lnTo>
                  <a:lnTo>
                    <a:pt x="320" y="1065"/>
                  </a:lnTo>
                  <a:lnTo>
                    <a:pt x="320" y="1065"/>
                  </a:lnTo>
                  <a:lnTo>
                    <a:pt x="320" y="1068"/>
                  </a:lnTo>
                  <a:lnTo>
                    <a:pt x="313" y="1075"/>
                  </a:lnTo>
                  <a:lnTo>
                    <a:pt x="313" y="1075"/>
                  </a:lnTo>
                  <a:lnTo>
                    <a:pt x="306" y="1085"/>
                  </a:lnTo>
                  <a:lnTo>
                    <a:pt x="306" y="1085"/>
                  </a:lnTo>
                  <a:lnTo>
                    <a:pt x="303" y="1089"/>
                  </a:lnTo>
                  <a:lnTo>
                    <a:pt x="303" y="1095"/>
                  </a:lnTo>
                  <a:lnTo>
                    <a:pt x="303" y="1095"/>
                  </a:lnTo>
                  <a:lnTo>
                    <a:pt x="300" y="1105"/>
                  </a:lnTo>
                  <a:lnTo>
                    <a:pt x="296" y="1112"/>
                  </a:lnTo>
                  <a:lnTo>
                    <a:pt x="296" y="1112"/>
                  </a:lnTo>
                  <a:lnTo>
                    <a:pt x="293" y="1126"/>
                  </a:lnTo>
                  <a:lnTo>
                    <a:pt x="290" y="1136"/>
                  </a:lnTo>
                  <a:lnTo>
                    <a:pt x="290" y="1136"/>
                  </a:lnTo>
                  <a:lnTo>
                    <a:pt x="296" y="1136"/>
                  </a:lnTo>
                  <a:lnTo>
                    <a:pt x="306" y="1129"/>
                  </a:lnTo>
                  <a:lnTo>
                    <a:pt x="306" y="1129"/>
                  </a:lnTo>
                  <a:lnTo>
                    <a:pt x="306" y="1142"/>
                  </a:lnTo>
                  <a:lnTo>
                    <a:pt x="306" y="1142"/>
                  </a:lnTo>
                  <a:lnTo>
                    <a:pt x="303" y="1146"/>
                  </a:lnTo>
                  <a:lnTo>
                    <a:pt x="303" y="1146"/>
                  </a:lnTo>
                  <a:lnTo>
                    <a:pt x="320" y="1152"/>
                  </a:lnTo>
                  <a:lnTo>
                    <a:pt x="326" y="1156"/>
                  </a:lnTo>
                  <a:lnTo>
                    <a:pt x="337" y="1156"/>
                  </a:lnTo>
                  <a:lnTo>
                    <a:pt x="337" y="1156"/>
                  </a:lnTo>
                  <a:lnTo>
                    <a:pt x="343" y="1156"/>
                  </a:lnTo>
                  <a:lnTo>
                    <a:pt x="350" y="1152"/>
                  </a:lnTo>
                  <a:lnTo>
                    <a:pt x="353" y="1152"/>
                  </a:lnTo>
                  <a:lnTo>
                    <a:pt x="353" y="1152"/>
                  </a:lnTo>
                  <a:lnTo>
                    <a:pt x="360" y="1156"/>
                  </a:lnTo>
                  <a:lnTo>
                    <a:pt x="363" y="1163"/>
                  </a:lnTo>
                  <a:lnTo>
                    <a:pt x="367" y="1169"/>
                  </a:lnTo>
                  <a:lnTo>
                    <a:pt x="370" y="1169"/>
                  </a:lnTo>
                  <a:lnTo>
                    <a:pt x="370" y="1169"/>
                  </a:lnTo>
                  <a:lnTo>
                    <a:pt x="363" y="1173"/>
                  </a:lnTo>
                  <a:lnTo>
                    <a:pt x="363" y="1173"/>
                  </a:lnTo>
                  <a:lnTo>
                    <a:pt x="347" y="1166"/>
                  </a:lnTo>
                  <a:lnTo>
                    <a:pt x="337" y="1166"/>
                  </a:lnTo>
                  <a:lnTo>
                    <a:pt x="333" y="1166"/>
                  </a:lnTo>
                  <a:lnTo>
                    <a:pt x="330" y="1169"/>
                  </a:lnTo>
                  <a:lnTo>
                    <a:pt x="330" y="1169"/>
                  </a:lnTo>
                  <a:lnTo>
                    <a:pt x="330" y="1179"/>
                  </a:lnTo>
                  <a:lnTo>
                    <a:pt x="330" y="1183"/>
                  </a:lnTo>
                  <a:lnTo>
                    <a:pt x="323" y="1183"/>
                  </a:lnTo>
                  <a:lnTo>
                    <a:pt x="313" y="1183"/>
                  </a:lnTo>
                  <a:lnTo>
                    <a:pt x="313" y="1183"/>
                  </a:lnTo>
                  <a:lnTo>
                    <a:pt x="310" y="1196"/>
                  </a:lnTo>
                  <a:lnTo>
                    <a:pt x="310" y="1196"/>
                  </a:lnTo>
                  <a:lnTo>
                    <a:pt x="303" y="1196"/>
                  </a:lnTo>
                  <a:lnTo>
                    <a:pt x="303" y="1196"/>
                  </a:lnTo>
                  <a:lnTo>
                    <a:pt x="303" y="1193"/>
                  </a:lnTo>
                  <a:lnTo>
                    <a:pt x="300" y="1193"/>
                  </a:lnTo>
                  <a:lnTo>
                    <a:pt x="300" y="1193"/>
                  </a:lnTo>
                  <a:lnTo>
                    <a:pt x="293" y="1193"/>
                  </a:lnTo>
                  <a:lnTo>
                    <a:pt x="293" y="1193"/>
                  </a:lnTo>
                  <a:lnTo>
                    <a:pt x="296" y="1206"/>
                  </a:lnTo>
                  <a:lnTo>
                    <a:pt x="296" y="1216"/>
                  </a:lnTo>
                  <a:lnTo>
                    <a:pt x="296" y="1216"/>
                  </a:lnTo>
                  <a:lnTo>
                    <a:pt x="293" y="1216"/>
                  </a:lnTo>
                  <a:lnTo>
                    <a:pt x="293" y="1216"/>
                  </a:lnTo>
                  <a:lnTo>
                    <a:pt x="296" y="1223"/>
                  </a:lnTo>
                  <a:lnTo>
                    <a:pt x="296" y="1223"/>
                  </a:lnTo>
                  <a:lnTo>
                    <a:pt x="300" y="1230"/>
                  </a:lnTo>
                  <a:lnTo>
                    <a:pt x="300" y="1230"/>
                  </a:lnTo>
                  <a:lnTo>
                    <a:pt x="296" y="1236"/>
                  </a:lnTo>
                  <a:lnTo>
                    <a:pt x="296" y="1236"/>
                  </a:lnTo>
                  <a:lnTo>
                    <a:pt x="293" y="1243"/>
                  </a:lnTo>
                  <a:lnTo>
                    <a:pt x="293" y="1243"/>
                  </a:lnTo>
                  <a:lnTo>
                    <a:pt x="290" y="1250"/>
                  </a:lnTo>
                  <a:lnTo>
                    <a:pt x="293" y="1253"/>
                  </a:lnTo>
                  <a:lnTo>
                    <a:pt x="293" y="1253"/>
                  </a:lnTo>
                  <a:lnTo>
                    <a:pt x="296" y="1263"/>
                  </a:lnTo>
                  <a:lnTo>
                    <a:pt x="296" y="1270"/>
                  </a:lnTo>
                  <a:lnTo>
                    <a:pt x="293" y="1270"/>
                  </a:lnTo>
                  <a:lnTo>
                    <a:pt x="293" y="1270"/>
                  </a:lnTo>
                  <a:lnTo>
                    <a:pt x="300" y="1280"/>
                  </a:lnTo>
                  <a:lnTo>
                    <a:pt x="303" y="1290"/>
                  </a:lnTo>
                  <a:lnTo>
                    <a:pt x="303" y="1290"/>
                  </a:lnTo>
                  <a:lnTo>
                    <a:pt x="296" y="1294"/>
                  </a:lnTo>
                  <a:lnTo>
                    <a:pt x="296" y="1294"/>
                  </a:lnTo>
                  <a:lnTo>
                    <a:pt x="293" y="1300"/>
                  </a:lnTo>
                  <a:lnTo>
                    <a:pt x="293" y="1300"/>
                  </a:lnTo>
                  <a:lnTo>
                    <a:pt x="293" y="1304"/>
                  </a:lnTo>
                  <a:lnTo>
                    <a:pt x="293" y="1304"/>
                  </a:lnTo>
                  <a:lnTo>
                    <a:pt x="293" y="1307"/>
                  </a:lnTo>
                  <a:lnTo>
                    <a:pt x="293" y="1307"/>
                  </a:lnTo>
                  <a:lnTo>
                    <a:pt x="293" y="1310"/>
                  </a:lnTo>
                  <a:lnTo>
                    <a:pt x="310" y="1314"/>
                  </a:lnTo>
                  <a:lnTo>
                    <a:pt x="310" y="1314"/>
                  </a:lnTo>
                  <a:lnTo>
                    <a:pt x="310" y="1317"/>
                  </a:lnTo>
                  <a:lnTo>
                    <a:pt x="313" y="1317"/>
                  </a:lnTo>
                  <a:lnTo>
                    <a:pt x="313" y="1317"/>
                  </a:lnTo>
                  <a:lnTo>
                    <a:pt x="313" y="1324"/>
                  </a:lnTo>
                  <a:lnTo>
                    <a:pt x="313" y="1324"/>
                  </a:lnTo>
                  <a:lnTo>
                    <a:pt x="313" y="1327"/>
                  </a:lnTo>
                  <a:lnTo>
                    <a:pt x="313" y="1331"/>
                  </a:lnTo>
                  <a:lnTo>
                    <a:pt x="310" y="1331"/>
                  </a:lnTo>
                  <a:lnTo>
                    <a:pt x="310" y="1331"/>
                  </a:lnTo>
                  <a:lnTo>
                    <a:pt x="306" y="1327"/>
                  </a:lnTo>
                  <a:lnTo>
                    <a:pt x="306" y="1327"/>
                  </a:lnTo>
                  <a:lnTo>
                    <a:pt x="300" y="1324"/>
                  </a:lnTo>
                  <a:lnTo>
                    <a:pt x="300" y="1324"/>
                  </a:lnTo>
                  <a:lnTo>
                    <a:pt x="303" y="1331"/>
                  </a:lnTo>
                  <a:lnTo>
                    <a:pt x="303" y="1331"/>
                  </a:lnTo>
                  <a:lnTo>
                    <a:pt x="306" y="1334"/>
                  </a:lnTo>
                  <a:lnTo>
                    <a:pt x="310" y="1334"/>
                  </a:lnTo>
                  <a:lnTo>
                    <a:pt x="310" y="1334"/>
                  </a:lnTo>
                  <a:lnTo>
                    <a:pt x="313" y="1337"/>
                  </a:lnTo>
                  <a:lnTo>
                    <a:pt x="313" y="1337"/>
                  </a:lnTo>
                  <a:lnTo>
                    <a:pt x="310" y="1341"/>
                  </a:lnTo>
                  <a:lnTo>
                    <a:pt x="306" y="1337"/>
                  </a:lnTo>
                  <a:lnTo>
                    <a:pt x="306" y="1337"/>
                  </a:lnTo>
                  <a:lnTo>
                    <a:pt x="306" y="1341"/>
                  </a:lnTo>
                  <a:lnTo>
                    <a:pt x="306" y="1344"/>
                  </a:lnTo>
                  <a:lnTo>
                    <a:pt x="306" y="1344"/>
                  </a:lnTo>
                  <a:lnTo>
                    <a:pt x="306" y="1347"/>
                  </a:lnTo>
                  <a:lnTo>
                    <a:pt x="306" y="1347"/>
                  </a:lnTo>
                  <a:lnTo>
                    <a:pt x="306" y="1354"/>
                  </a:lnTo>
                  <a:lnTo>
                    <a:pt x="306" y="1354"/>
                  </a:lnTo>
                  <a:lnTo>
                    <a:pt x="303" y="1357"/>
                  </a:lnTo>
                  <a:lnTo>
                    <a:pt x="303" y="1357"/>
                  </a:lnTo>
                  <a:lnTo>
                    <a:pt x="306" y="1357"/>
                  </a:lnTo>
                  <a:lnTo>
                    <a:pt x="310" y="1361"/>
                  </a:lnTo>
                  <a:lnTo>
                    <a:pt x="310" y="1361"/>
                  </a:lnTo>
                  <a:lnTo>
                    <a:pt x="313" y="1364"/>
                  </a:lnTo>
                  <a:lnTo>
                    <a:pt x="313" y="1368"/>
                  </a:lnTo>
                  <a:lnTo>
                    <a:pt x="313" y="1368"/>
                  </a:lnTo>
                  <a:lnTo>
                    <a:pt x="320" y="1371"/>
                  </a:lnTo>
                  <a:lnTo>
                    <a:pt x="326" y="1374"/>
                  </a:lnTo>
                  <a:lnTo>
                    <a:pt x="326" y="1374"/>
                  </a:lnTo>
                  <a:lnTo>
                    <a:pt x="330" y="1381"/>
                  </a:lnTo>
                  <a:lnTo>
                    <a:pt x="330" y="1381"/>
                  </a:lnTo>
                  <a:lnTo>
                    <a:pt x="330" y="1384"/>
                  </a:lnTo>
                  <a:lnTo>
                    <a:pt x="326" y="1388"/>
                  </a:lnTo>
                  <a:lnTo>
                    <a:pt x="326" y="1388"/>
                  </a:lnTo>
                  <a:lnTo>
                    <a:pt x="333" y="1394"/>
                  </a:lnTo>
                  <a:lnTo>
                    <a:pt x="333" y="1394"/>
                  </a:lnTo>
                  <a:lnTo>
                    <a:pt x="337" y="1401"/>
                  </a:lnTo>
                  <a:lnTo>
                    <a:pt x="337" y="1401"/>
                  </a:lnTo>
                  <a:lnTo>
                    <a:pt x="333" y="1404"/>
                  </a:lnTo>
                  <a:lnTo>
                    <a:pt x="333" y="1411"/>
                  </a:lnTo>
                  <a:lnTo>
                    <a:pt x="333" y="1411"/>
                  </a:lnTo>
                  <a:lnTo>
                    <a:pt x="333" y="1411"/>
                  </a:lnTo>
                  <a:lnTo>
                    <a:pt x="337" y="1411"/>
                  </a:lnTo>
                  <a:lnTo>
                    <a:pt x="337" y="1408"/>
                  </a:lnTo>
                  <a:lnTo>
                    <a:pt x="340" y="1408"/>
                  </a:lnTo>
                  <a:lnTo>
                    <a:pt x="340" y="1408"/>
                  </a:lnTo>
                  <a:lnTo>
                    <a:pt x="340" y="1411"/>
                  </a:lnTo>
                  <a:lnTo>
                    <a:pt x="340" y="1411"/>
                  </a:lnTo>
                  <a:lnTo>
                    <a:pt x="340" y="1415"/>
                  </a:lnTo>
                  <a:lnTo>
                    <a:pt x="343" y="1415"/>
                  </a:lnTo>
                  <a:lnTo>
                    <a:pt x="343" y="1415"/>
                  </a:lnTo>
                  <a:lnTo>
                    <a:pt x="347" y="1418"/>
                  </a:lnTo>
                  <a:lnTo>
                    <a:pt x="347" y="1425"/>
                  </a:lnTo>
                  <a:lnTo>
                    <a:pt x="347" y="1425"/>
                  </a:lnTo>
                  <a:lnTo>
                    <a:pt x="350" y="1431"/>
                  </a:lnTo>
                  <a:lnTo>
                    <a:pt x="350" y="1431"/>
                  </a:lnTo>
                  <a:lnTo>
                    <a:pt x="353" y="1435"/>
                  </a:lnTo>
                  <a:lnTo>
                    <a:pt x="353" y="1438"/>
                  </a:lnTo>
                  <a:lnTo>
                    <a:pt x="353" y="1438"/>
                  </a:lnTo>
                  <a:lnTo>
                    <a:pt x="357" y="1445"/>
                  </a:lnTo>
                  <a:lnTo>
                    <a:pt x="357" y="1445"/>
                  </a:lnTo>
                  <a:lnTo>
                    <a:pt x="357" y="1455"/>
                  </a:lnTo>
                  <a:lnTo>
                    <a:pt x="357" y="1455"/>
                  </a:lnTo>
                  <a:lnTo>
                    <a:pt x="353" y="1458"/>
                  </a:lnTo>
                  <a:lnTo>
                    <a:pt x="353" y="1458"/>
                  </a:lnTo>
                  <a:lnTo>
                    <a:pt x="353" y="1462"/>
                  </a:lnTo>
                  <a:lnTo>
                    <a:pt x="353" y="1462"/>
                  </a:lnTo>
                  <a:lnTo>
                    <a:pt x="357" y="1465"/>
                  </a:lnTo>
                  <a:lnTo>
                    <a:pt x="360" y="1468"/>
                  </a:lnTo>
                  <a:lnTo>
                    <a:pt x="360" y="1468"/>
                  </a:lnTo>
                  <a:lnTo>
                    <a:pt x="363" y="1465"/>
                  </a:lnTo>
                  <a:lnTo>
                    <a:pt x="367" y="1465"/>
                  </a:lnTo>
                  <a:lnTo>
                    <a:pt x="367" y="1465"/>
                  </a:lnTo>
                  <a:lnTo>
                    <a:pt x="374" y="1462"/>
                  </a:lnTo>
                  <a:lnTo>
                    <a:pt x="374" y="1462"/>
                  </a:lnTo>
                  <a:lnTo>
                    <a:pt x="377" y="1465"/>
                  </a:lnTo>
                  <a:lnTo>
                    <a:pt x="377" y="1468"/>
                  </a:lnTo>
                  <a:lnTo>
                    <a:pt x="377" y="1468"/>
                  </a:lnTo>
                  <a:lnTo>
                    <a:pt x="380" y="1472"/>
                  </a:lnTo>
                  <a:lnTo>
                    <a:pt x="380" y="1472"/>
                  </a:lnTo>
                  <a:lnTo>
                    <a:pt x="384" y="1472"/>
                  </a:lnTo>
                  <a:lnTo>
                    <a:pt x="384" y="1472"/>
                  </a:lnTo>
                  <a:lnTo>
                    <a:pt x="387" y="1472"/>
                  </a:lnTo>
                  <a:lnTo>
                    <a:pt x="394" y="1468"/>
                  </a:lnTo>
                  <a:lnTo>
                    <a:pt x="394" y="1468"/>
                  </a:lnTo>
                  <a:lnTo>
                    <a:pt x="397" y="1468"/>
                  </a:lnTo>
                  <a:lnTo>
                    <a:pt x="397" y="1468"/>
                  </a:lnTo>
                  <a:lnTo>
                    <a:pt x="411" y="1468"/>
                  </a:lnTo>
                  <a:lnTo>
                    <a:pt x="411" y="1468"/>
                  </a:lnTo>
                  <a:lnTo>
                    <a:pt x="414" y="1468"/>
                  </a:lnTo>
                  <a:lnTo>
                    <a:pt x="414" y="1468"/>
                  </a:lnTo>
                  <a:lnTo>
                    <a:pt x="417" y="1475"/>
                  </a:lnTo>
                  <a:lnTo>
                    <a:pt x="417" y="1482"/>
                  </a:lnTo>
                  <a:lnTo>
                    <a:pt x="417" y="1482"/>
                  </a:lnTo>
                  <a:lnTo>
                    <a:pt x="417" y="1482"/>
                  </a:lnTo>
                  <a:lnTo>
                    <a:pt x="421" y="1485"/>
                  </a:lnTo>
                  <a:lnTo>
                    <a:pt x="421" y="1485"/>
                  </a:lnTo>
                  <a:lnTo>
                    <a:pt x="424" y="1482"/>
                  </a:lnTo>
                  <a:lnTo>
                    <a:pt x="427" y="1478"/>
                  </a:lnTo>
                  <a:lnTo>
                    <a:pt x="427" y="1478"/>
                  </a:lnTo>
                  <a:lnTo>
                    <a:pt x="431" y="1478"/>
                  </a:lnTo>
                  <a:lnTo>
                    <a:pt x="431" y="1478"/>
                  </a:lnTo>
                  <a:lnTo>
                    <a:pt x="434" y="1475"/>
                  </a:lnTo>
                  <a:lnTo>
                    <a:pt x="441" y="1472"/>
                  </a:lnTo>
                  <a:lnTo>
                    <a:pt x="441" y="1472"/>
                  </a:lnTo>
                  <a:lnTo>
                    <a:pt x="447" y="1472"/>
                  </a:lnTo>
                  <a:lnTo>
                    <a:pt x="447" y="1472"/>
                  </a:lnTo>
                  <a:lnTo>
                    <a:pt x="458" y="1478"/>
                  </a:lnTo>
                  <a:lnTo>
                    <a:pt x="458" y="1478"/>
                  </a:lnTo>
                  <a:lnTo>
                    <a:pt x="464" y="1485"/>
                  </a:lnTo>
                  <a:lnTo>
                    <a:pt x="468" y="1488"/>
                  </a:lnTo>
                  <a:lnTo>
                    <a:pt x="468" y="1488"/>
                  </a:lnTo>
                  <a:lnTo>
                    <a:pt x="474" y="1492"/>
                  </a:lnTo>
                  <a:lnTo>
                    <a:pt x="481" y="1492"/>
                  </a:lnTo>
                  <a:lnTo>
                    <a:pt x="481" y="1492"/>
                  </a:lnTo>
                  <a:lnTo>
                    <a:pt x="481" y="1499"/>
                  </a:lnTo>
                  <a:lnTo>
                    <a:pt x="481" y="1502"/>
                  </a:lnTo>
                  <a:lnTo>
                    <a:pt x="481" y="1502"/>
                  </a:lnTo>
                  <a:lnTo>
                    <a:pt x="481" y="1509"/>
                  </a:lnTo>
                  <a:lnTo>
                    <a:pt x="481" y="1512"/>
                  </a:lnTo>
                  <a:lnTo>
                    <a:pt x="481" y="1512"/>
                  </a:lnTo>
                  <a:lnTo>
                    <a:pt x="478" y="1515"/>
                  </a:lnTo>
                  <a:lnTo>
                    <a:pt x="478" y="1515"/>
                  </a:lnTo>
                  <a:lnTo>
                    <a:pt x="478" y="1519"/>
                  </a:lnTo>
                  <a:lnTo>
                    <a:pt x="481" y="1522"/>
                  </a:lnTo>
                  <a:lnTo>
                    <a:pt x="481" y="1522"/>
                  </a:lnTo>
                  <a:lnTo>
                    <a:pt x="481" y="1536"/>
                  </a:lnTo>
                  <a:lnTo>
                    <a:pt x="484" y="1546"/>
                  </a:lnTo>
                  <a:lnTo>
                    <a:pt x="488" y="1552"/>
                  </a:lnTo>
                  <a:lnTo>
                    <a:pt x="488" y="1552"/>
                  </a:lnTo>
                  <a:lnTo>
                    <a:pt x="495" y="1552"/>
                  </a:lnTo>
                  <a:lnTo>
                    <a:pt x="495" y="1556"/>
                  </a:lnTo>
                  <a:lnTo>
                    <a:pt x="495" y="1556"/>
                  </a:lnTo>
                  <a:lnTo>
                    <a:pt x="495" y="1562"/>
                  </a:lnTo>
                  <a:lnTo>
                    <a:pt x="495" y="1562"/>
                  </a:lnTo>
                  <a:lnTo>
                    <a:pt x="495" y="1566"/>
                  </a:lnTo>
                  <a:lnTo>
                    <a:pt x="495" y="1566"/>
                  </a:lnTo>
                  <a:lnTo>
                    <a:pt x="498" y="1576"/>
                  </a:lnTo>
                  <a:lnTo>
                    <a:pt x="498" y="1576"/>
                  </a:lnTo>
                  <a:lnTo>
                    <a:pt x="501" y="1583"/>
                  </a:lnTo>
                  <a:lnTo>
                    <a:pt x="505" y="1586"/>
                  </a:lnTo>
                  <a:lnTo>
                    <a:pt x="505" y="1586"/>
                  </a:lnTo>
                  <a:lnTo>
                    <a:pt x="511" y="1593"/>
                  </a:lnTo>
                  <a:lnTo>
                    <a:pt x="511" y="1593"/>
                  </a:lnTo>
                  <a:lnTo>
                    <a:pt x="521" y="1596"/>
                  </a:lnTo>
                  <a:lnTo>
                    <a:pt x="521" y="1596"/>
                  </a:lnTo>
                  <a:lnTo>
                    <a:pt x="525" y="1603"/>
                  </a:lnTo>
                  <a:lnTo>
                    <a:pt x="525" y="1606"/>
                  </a:lnTo>
                  <a:lnTo>
                    <a:pt x="525" y="1606"/>
                  </a:lnTo>
                  <a:lnTo>
                    <a:pt x="525" y="1609"/>
                  </a:lnTo>
                  <a:lnTo>
                    <a:pt x="525" y="1613"/>
                  </a:lnTo>
                  <a:lnTo>
                    <a:pt x="525" y="1613"/>
                  </a:lnTo>
                  <a:lnTo>
                    <a:pt x="528" y="1616"/>
                  </a:lnTo>
                  <a:lnTo>
                    <a:pt x="535" y="1613"/>
                  </a:lnTo>
                  <a:lnTo>
                    <a:pt x="538" y="1613"/>
                  </a:lnTo>
                  <a:lnTo>
                    <a:pt x="545" y="1613"/>
                  </a:lnTo>
                  <a:lnTo>
                    <a:pt x="545" y="1613"/>
                  </a:lnTo>
                  <a:lnTo>
                    <a:pt x="548" y="1616"/>
                  </a:lnTo>
                  <a:lnTo>
                    <a:pt x="555" y="1620"/>
                  </a:lnTo>
                  <a:lnTo>
                    <a:pt x="555" y="1620"/>
                  </a:lnTo>
                  <a:lnTo>
                    <a:pt x="558" y="1623"/>
                  </a:lnTo>
                  <a:lnTo>
                    <a:pt x="562" y="1623"/>
                  </a:lnTo>
                  <a:lnTo>
                    <a:pt x="562" y="1623"/>
                  </a:lnTo>
                  <a:lnTo>
                    <a:pt x="562" y="1626"/>
                  </a:lnTo>
                  <a:lnTo>
                    <a:pt x="562" y="1630"/>
                  </a:lnTo>
                  <a:lnTo>
                    <a:pt x="562" y="1630"/>
                  </a:lnTo>
                  <a:lnTo>
                    <a:pt x="562" y="1633"/>
                  </a:lnTo>
                  <a:lnTo>
                    <a:pt x="568" y="1636"/>
                  </a:lnTo>
                  <a:lnTo>
                    <a:pt x="575" y="1636"/>
                  </a:lnTo>
                  <a:lnTo>
                    <a:pt x="575" y="1640"/>
                  </a:lnTo>
                  <a:lnTo>
                    <a:pt x="575" y="1640"/>
                  </a:lnTo>
                  <a:lnTo>
                    <a:pt x="575" y="1643"/>
                  </a:lnTo>
                  <a:lnTo>
                    <a:pt x="575" y="1646"/>
                  </a:lnTo>
                  <a:lnTo>
                    <a:pt x="575" y="1646"/>
                  </a:lnTo>
                  <a:lnTo>
                    <a:pt x="572" y="1646"/>
                  </a:lnTo>
                  <a:lnTo>
                    <a:pt x="568" y="1646"/>
                  </a:lnTo>
                  <a:lnTo>
                    <a:pt x="568" y="1646"/>
                  </a:lnTo>
                  <a:lnTo>
                    <a:pt x="565" y="1653"/>
                  </a:lnTo>
                  <a:lnTo>
                    <a:pt x="565" y="1653"/>
                  </a:lnTo>
                  <a:lnTo>
                    <a:pt x="562" y="1657"/>
                  </a:lnTo>
                  <a:lnTo>
                    <a:pt x="562" y="1657"/>
                  </a:lnTo>
                  <a:lnTo>
                    <a:pt x="558" y="1660"/>
                  </a:lnTo>
                  <a:lnTo>
                    <a:pt x="558" y="1660"/>
                  </a:lnTo>
                  <a:lnTo>
                    <a:pt x="555" y="1663"/>
                  </a:lnTo>
                  <a:lnTo>
                    <a:pt x="548" y="1663"/>
                  </a:lnTo>
                  <a:lnTo>
                    <a:pt x="548" y="1663"/>
                  </a:lnTo>
                  <a:lnTo>
                    <a:pt x="542" y="1663"/>
                  </a:lnTo>
                  <a:lnTo>
                    <a:pt x="542" y="1663"/>
                  </a:lnTo>
                  <a:lnTo>
                    <a:pt x="531" y="1660"/>
                  </a:lnTo>
                  <a:lnTo>
                    <a:pt x="531" y="1660"/>
                  </a:lnTo>
                  <a:lnTo>
                    <a:pt x="525" y="1660"/>
                  </a:lnTo>
                  <a:lnTo>
                    <a:pt x="521" y="1660"/>
                  </a:lnTo>
                  <a:lnTo>
                    <a:pt x="521" y="1660"/>
                  </a:lnTo>
                  <a:lnTo>
                    <a:pt x="518" y="1663"/>
                  </a:lnTo>
                  <a:lnTo>
                    <a:pt x="515" y="1667"/>
                  </a:lnTo>
                  <a:lnTo>
                    <a:pt x="515" y="1667"/>
                  </a:lnTo>
                  <a:lnTo>
                    <a:pt x="511" y="1670"/>
                  </a:lnTo>
                  <a:lnTo>
                    <a:pt x="511" y="1670"/>
                  </a:lnTo>
                  <a:lnTo>
                    <a:pt x="511" y="1673"/>
                  </a:lnTo>
                  <a:lnTo>
                    <a:pt x="515" y="1677"/>
                  </a:lnTo>
                  <a:lnTo>
                    <a:pt x="518" y="1683"/>
                  </a:lnTo>
                  <a:lnTo>
                    <a:pt x="518" y="1683"/>
                  </a:lnTo>
                  <a:lnTo>
                    <a:pt x="521" y="1693"/>
                  </a:lnTo>
                  <a:lnTo>
                    <a:pt x="521" y="1693"/>
                  </a:lnTo>
                  <a:lnTo>
                    <a:pt x="528" y="1704"/>
                  </a:lnTo>
                  <a:lnTo>
                    <a:pt x="528" y="1704"/>
                  </a:lnTo>
                  <a:lnTo>
                    <a:pt x="531" y="1714"/>
                  </a:lnTo>
                  <a:lnTo>
                    <a:pt x="531" y="1714"/>
                  </a:lnTo>
                  <a:lnTo>
                    <a:pt x="535" y="1717"/>
                  </a:lnTo>
                  <a:lnTo>
                    <a:pt x="538" y="1720"/>
                  </a:lnTo>
                  <a:lnTo>
                    <a:pt x="538" y="1720"/>
                  </a:lnTo>
                  <a:lnTo>
                    <a:pt x="538" y="1730"/>
                  </a:lnTo>
                  <a:lnTo>
                    <a:pt x="542" y="1734"/>
                  </a:lnTo>
                  <a:lnTo>
                    <a:pt x="542" y="1734"/>
                  </a:lnTo>
                  <a:lnTo>
                    <a:pt x="545" y="1744"/>
                  </a:lnTo>
                  <a:lnTo>
                    <a:pt x="545" y="1744"/>
                  </a:lnTo>
                  <a:lnTo>
                    <a:pt x="552" y="1744"/>
                  </a:lnTo>
                  <a:lnTo>
                    <a:pt x="552" y="1744"/>
                  </a:lnTo>
                  <a:lnTo>
                    <a:pt x="558" y="1747"/>
                  </a:lnTo>
                  <a:lnTo>
                    <a:pt x="562" y="1747"/>
                  </a:lnTo>
                  <a:lnTo>
                    <a:pt x="562" y="1747"/>
                  </a:lnTo>
                  <a:lnTo>
                    <a:pt x="568" y="1744"/>
                  </a:lnTo>
                  <a:lnTo>
                    <a:pt x="568" y="1741"/>
                  </a:lnTo>
                  <a:lnTo>
                    <a:pt x="568" y="1741"/>
                  </a:lnTo>
                  <a:lnTo>
                    <a:pt x="572" y="1737"/>
                  </a:lnTo>
                  <a:lnTo>
                    <a:pt x="572" y="1737"/>
                  </a:lnTo>
                  <a:lnTo>
                    <a:pt x="579" y="1734"/>
                  </a:lnTo>
                  <a:lnTo>
                    <a:pt x="579" y="1734"/>
                  </a:lnTo>
                  <a:lnTo>
                    <a:pt x="582" y="1730"/>
                  </a:lnTo>
                  <a:lnTo>
                    <a:pt x="589" y="1727"/>
                  </a:lnTo>
                  <a:lnTo>
                    <a:pt x="589" y="1727"/>
                  </a:lnTo>
                  <a:lnTo>
                    <a:pt x="599" y="1730"/>
                  </a:lnTo>
                  <a:lnTo>
                    <a:pt x="602" y="1727"/>
                  </a:lnTo>
                  <a:lnTo>
                    <a:pt x="609" y="1720"/>
                  </a:lnTo>
                  <a:lnTo>
                    <a:pt x="609" y="1720"/>
                  </a:lnTo>
                  <a:lnTo>
                    <a:pt x="616" y="1714"/>
                  </a:lnTo>
                  <a:lnTo>
                    <a:pt x="622" y="1717"/>
                  </a:lnTo>
                  <a:lnTo>
                    <a:pt x="632" y="1724"/>
                  </a:lnTo>
                  <a:lnTo>
                    <a:pt x="632" y="1724"/>
                  </a:lnTo>
                  <a:lnTo>
                    <a:pt x="632" y="1724"/>
                  </a:lnTo>
                  <a:lnTo>
                    <a:pt x="632" y="1720"/>
                  </a:lnTo>
                  <a:lnTo>
                    <a:pt x="636" y="1717"/>
                  </a:lnTo>
                  <a:lnTo>
                    <a:pt x="639" y="1714"/>
                  </a:lnTo>
                  <a:lnTo>
                    <a:pt x="639" y="1714"/>
                  </a:lnTo>
                  <a:lnTo>
                    <a:pt x="646" y="1710"/>
                  </a:lnTo>
                  <a:lnTo>
                    <a:pt x="649" y="1710"/>
                  </a:lnTo>
                  <a:lnTo>
                    <a:pt x="652" y="1714"/>
                  </a:lnTo>
                  <a:lnTo>
                    <a:pt x="652" y="1714"/>
                  </a:lnTo>
                  <a:lnTo>
                    <a:pt x="656" y="1727"/>
                  </a:lnTo>
                  <a:lnTo>
                    <a:pt x="656" y="1727"/>
                  </a:lnTo>
                  <a:lnTo>
                    <a:pt x="656" y="1724"/>
                  </a:lnTo>
                  <a:lnTo>
                    <a:pt x="663" y="1720"/>
                  </a:lnTo>
                  <a:lnTo>
                    <a:pt x="663" y="1720"/>
                  </a:lnTo>
                  <a:lnTo>
                    <a:pt x="666" y="1724"/>
                  </a:lnTo>
                  <a:lnTo>
                    <a:pt x="669" y="1727"/>
                  </a:lnTo>
                  <a:lnTo>
                    <a:pt x="669" y="1730"/>
                  </a:lnTo>
                  <a:lnTo>
                    <a:pt x="669" y="1734"/>
                  </a:lnTo>
                  <a:lnTo>
                    <a:pt x="669" y="1734"/>
                  </a:lnTo>
                  <a:lnTo>
                    <a:pt x="663" y="1741"/>
                  </a:lnTo>
                  <a:lnTo>
                    <a:pt x="663" y="1741"/>
                  </a:lnTo>
                  <a:lnTo>
                    <a:pt x="666" y="1744"/>
                  </a:lnTo>
                  <a:lnTo>
                    <a:pt x="669" y="1747"/>
                  </a:lnTo>
                  <a:lnTo>
                    <a:pt x="673" y="1751"/>
                  </a:lnTo>
                  <a:lnTo>
                    <a:pt x="673" y="1751"/>
                  </a:lnTo>
                  <a:lnTo>
                    <a:pt x="669" y="1761"/>
                  </a:lnTo>
                  <a:lnTo>
                    <a:pt x="673" y="1764"/>
                  </a:lnTo>
                  <a:lnTo>
                    <a:pt x="676" y="1767"/>
                  </a:lnTo>
                  <a:lnTo>
                    <a:pt x="676" y="1767"/>
                  </a:lnTo>
                  <a:lnTo>
                    <a:pt x="683" y="1771"/>
                  </a:lnTo>
                  <a:lnTo>
                    <a:pt x="689" y="1774"/>
                  </a:lnTo>
                  <a:lnTo>
                    <a:pt x="693" y="1771"/>
                  </a:lnTo>
                  <a:lnTo>
                    <a:pt x="693" y="1771"/>
                  </a:lnTo>
                  <a:lnTo>
                    <a:pt x="700" y="1767"/>
                  </a:lnTo>
                  <a:lnTo>
                    <a:pt x="700" y="1767"/>
                  </a:lnTo>
                  <a:lnTo>
                    <a:pt x="703" y="1767"/>
                  </a:lnTo>
                  <a:lnTo>
                    <a:pt x="703" y="1767"/>
                  </a:lnTo>
                  <a:lnTo>
                    <a:pt x="713" y="1774"/>
                  </a:lnTo>
                  <a:lnTo>
                    <a:pt x="723" y="1778"/>
                  </a:lnTo>
                  <a:lnTo>
                    <a:pt x="723" y="1778"/>
                  </a:lnTo>
                  <a:lnTo>
                    <a:pt x="726" y="1781"/>
                  </a:lnTo>
                  <a:lnTo>
                    <a:pt x="726" y="1781"/>
                  </a:lnTo>
                  <a:lnTo>
                    <a:pt x="726" y="1784"/>
                  </a:lnTo>
                  <a:lnTo>
                    <a:pt x="730" y="1788"/>
                  </a:lnTo>
                  <a:lnTo>
                    <a:pt x="730" y="1788"/>
                  </a:lnTo>
                  <a:lnTo>
                    <a:pt x="736" y="1788"/>
                  </a:lnTo>
                  <a:lnTo>
                    <a:pt x="736" y="1791"/>
                  </a:lnTo>
                  <a:lnTo>
                    <a:pt x="740" y="1794"/>
                  </a:lnTo>
                  <a:lnTo>
                    <a:pt x="740" y="1794"/>
                  </a:lnTo>
                  <a:lnTo>
                    <a:pt x="740" y="1804"/>
                  </a:lnTo>
                  <a:lnTo>
                    <a:pt x="743" y="1811"/>
                  </a:lnTo>
                  <a:lnTo>
                    <a:pt x="743" y="1811"/>
                  </a:lnTo>
                  <a:lnTo>
                    <a:pt x="753" y="1821"/>
                  </a:lnTo>
                  <a:lnTo>
                    <a:pt x="757" y="1825"/>
                  </a:lnTo>
                  <a:lnTo>
                    <a:pt x="757" y="1825"/>
                  </a:lnTo>
                  <a:lnTo>
                    <a:pt x="757" y="1825"/>
                  </a:lnTo>
                  <a:lnTo>
                    <a:pt x="763" y="1818"/>
                  </a:lnTo>
                  <a:lnTo>
                    <a:pt x="763" y="1814"/>
                  </a:lnTo>
                  <a:lnTo>
                    <a:pt x="767" y="1814"/>
                  </a:lnTo>
                  <a:lnTo>
                    <a:pt x="767" y="1814"/>
                  </a:lnTo>
                  <a:lnTo>
                    <a:pt x="787" y="1818"/>
                  </a:lnTo>
                  <a:lnTo>
                    <a:pt x="787" y="1818"/>
                  </a:lnTo>
                  <a:lnTo>
                    <a:pt x="794" y="1818"/>
                  </a:lnTo>
                  <a:lnTo>
                    <a:pt x="794" y="1818"/>
                  </a:lnTo>
                  <a:lnTo>
                    <a:pt x="797" y="1821"/>
                  </a:lnTo>
                  <a:lnTo>
                    <a:pt x="800" y="1821"/>
                  </a:lnTo>
                  <a:lnTo>
                    <a:pt x="800" y="1821"/>
                  </a:lnTo>
                  <a:lnTo>
                    <a:pt x="804" y="1821"/>
                  </a:lnTo>
                  <a:lnTo>
                    <a:pt x="807" y="1814"/>
                  </a:lnTo>
                  <a:lnTo>
                    <a:pt x="810" y="1811"/>
                  </a:lnTo>
                  <a:lnTo>
                    <a:pt x="821" y="1804"/>
                  </a:lnTo>
                  <a:lnTo>
                    <a:pt x="821" y="1804"/>
                  </a:lnTo>
                  <a:lnTo>
                    <a:pt x="831" y="1801"/>
                  </a:lnTo>
                  <a:lnTo>
                    <a:pt x="837" y="1794"/>
                  </a:lnTo>
                  <a:lnTo>
                    <a:pt x="837" y="1794"/>
                  </a:lnTo>
                  <a:lnTo>
                    <a:pt x="841" y="1791"/>
                  </a:lnTo>
                  <a:lnTo>
                    <a:pt x="844" y="1794"/>
                  </a:lnTo>
                  <a:lnTo>
                    <a:pt x="844" y="1794"/>
                  </a:lnTo>
                  <a:lnTo>
                    <a:pt x="847" y="1804"/>
                  </a:lnTo>
                  <a:lnTo>
                    <a:pt x="847" y="1808"/>
                  </a:lnTo>
                  <a:lnTo>
                    <a:pt x="854" y="1811"/>
                  </a:lnTo>
                  <a:lnTo>
                    <a:pt x="854" y="1811"/>
                  </a:lnTo>
                  <a:lnTo>
                    <a:pt x="864" y="1814"/>
                  </a:lnTo>
                  <a:lnTo>
                    <a:pt x="868" y="1814"/>
                  </a:lnTo>
                  <a:lnTo>
                    <a:pt x="874" y="1818"/>
                  </a:lnTo>
                  <a:lnTo>
                    <a:pt x="874" y="1818"/>
                  </a:lnTo>
                  <a:lnTo>
                    <a:pt x="878" y="1821"/>
                  </a:lnTo>
                  <a:lnTo>
                    <a:pt x="881" y="1821"/>
                  </a:lnTo>
                  <a:lnTo>
                    <a:pt x="878" y="1818"/>
                  </a:lnTo>
                  <a:lnTo>
                    <a:pt x="878" y="1818"/>
                  </a:lnTo>
                  <a:lnTo>
                    <a:pt x="878" y="1811"/>
                  </a:lnTo>
                  <a:lnTo>
                    <a:pt x="878" y="1811"/>
                  </a:lnTo>
                  <a:lnTo>
                    <a:pt x="881" y="1811"/>
                  </a:lnTo>
                  <a:lnTo>
                    <a:pt x="881" y="1811"/>
                  </a:lnTo>
                  <a:lnTo>
                    <a:pt x="888" y="1811"/>
                  </a:lnTo>
                  <a:lnTo>
                    <a:pt x="891" y="1814"/>
                  </a:lnTo>
                  <a:lnTo>
                    <a:pt x="894" y="1814"/>
                  </a:lnTo>
                  <a:lnTo>
                    <a:pt x="894" y="1814"/>
                  </a:lnTo>
                  <a:lnTo>
                    <a:pt x="898" y="1821"/>
                  </a:lnTo>
                  <a:lnTo>
                    <a:pt x="905" y="1825"/>
                  </a:lnTo>
                  <a:lnTo>
                    <a:pt x="905" y="1825"/>
                  </a:lnTo>
                  <a:lnTo>
                    <a:pt x="918" y="1821"/>
                  </a:lnTo>
                  <a:lnTo>
                    <a:pt x="918" y="1821"/>
                  </a:lnTo>
                  <a:lnTo>
                    <a:pt x="928" y="1825"/>
                  </a:lnTo>
                  <a:lnTo>
                    <a:pt x="942" y="1831"/>
                  </a:lnTo>
                  <a:lnTo>
                    <a:pt x="942" y="1831"/>
                  </a:lnTo>
                  <a:lnTo>
                    <a:pt x="948" y="1828"/>
                  </a:lnTo>
                  <a:lnTo>
                    <a:pt x="958" y="1828"/>
                  </a:lnTo>
                  <a:lnTo>
                    <a:pt x="958" y="1828"/>
                  </a:lnTo>
                  <a:lnTo>
                    <a:pt x="968" y="1821"/>
                  </a:lnTo>
                  <a:lnTo>
                    <a:pt x="972" y="1821"/>
                  </a:lnTo>
                  <a:lnTo>
                    <a:pt x="975" y="1825"/>
                  </a:lnTo>
                  <a:lnTo>
                    <a:pt x="975" y="1825"/>
                  </a:lnTo>
                  <a:lnTo>
                    <a:pt x="972" y="1835"/>
                  </a:lnTo>
                  <a:lnTo>
                    <a:pt x="975" y="1838"/>
                  </a:lnTo>
                  <a:lnTo>
                    <a:pt x="975" y="1838"/>
                  </a:lnTo>
                  <a:lnTo>
                    <a:pt x="978" y="1845"/>
                  </a:lnTo>
                  <a:lnTo>
                    <a:pt x="975" y="1851"/>
                  </a:lnTo>
                  <a:lnTo>
                    <a:pt x="975" y="1851"/>
                  </a:lnTo>
                  <a:lnTo>
                    <a:pt x="968" y="1855"/>
                  </a:lnTo>
                  <a:lnTo>
                    <a:pt x="965" y="1862"/>
                  </a:lnTo>
                  <a:lnTo>
                    <a:pt x="965" y="1862"/>
                  </a:lnTo>
                  <a:lnTo>
                    <a:pt x="962" y="1868"/>
                  </a:lnTo>
                  <a:lnTo>
                    <a:pt x="965" y="1872"/>
                  </a:lnTo>
                  <a:lnTo>
                    <a:pt x="968" y="1875"/>
                  </a:lnTo>
                  <a:lnTo>
                    <a:pt x="968" y="1875"/>
                  </a:lnTo>
                  <a:lnTo>
                    <a:pt x="975" y="1872"/>
                  </a:lnTo>
                  <a:lnTo>
                    <a:pt x="978" y="1872"/>
                  </a:lnTo>
                  <a:lnTo>
                    <a:pt x="978" y="1875"/>
                  </a:lnTo>
                  <a:lnTo>
                    <a:pt x="978" y="1875"/>
                  </a:lnTo>
                  <a:lnTo>
                    <a:pt x="978" y="1882"/>
                  </a:lnTo>
                  <a:lnTo>
                    <a:pt x="975" y="1885"/>
                  </a:lnTo>
                  <a:lnTo>
                    <a:pt x="975" y="1885"/>
                  </a:lnTo>
                  <a:lnTo>
                    <a:pt x="972" y="1885"/>
                  </a:lnTo>
                  <a:lnTo>
                    <a:pt x="972" y="1888"/>
                  </a:lnTo>
                  <a:lnTo>
                    <a:pt x="972" y="1895"/>
                  </a:lnTo>
                  <a:lnTo>
                    <a:pt x="972" y="1895"/>
                  </a:lnTo>
                  <a:lnTo>
                    <a:pt x="965" y="1898"/>
                  </a:lnTo>
                  <a:lnTo>
                    <a:pt x="962" y="1902"/>
                  </a:lnTo>
                  <a:lnTo>
                    <a:pt x="962" y="1902"/>
                  </a:lnTo>
                  <a:lnTo>
                    <a:pt x="962" y="1902"/>
                  </a:lnTo>
                  <a:lnTo>
                    <a:pt x="965" y="1909"/>
                  </a:lnTo>
                  <a:lnTo>
                    <a:pt x="972" y="1905"/>
                  </a:lnTo>
                  <a:lnTo>
                    <a:pt x="972" y="1905"/>
                  </a:lnTo>
                  <a:lnTo>
                    <a:pt x="972" y="1905"/>
                  </a:lnTo>
                  <a:lnTo>
                    <a:pt x="975" y="1909"/>
                  </a:lnTo>
                  <a:lnTo>
                    <a:pt x="978" y="1919"/>
                  </a:lnTo>
                  <a:lnTo>
                    <a:pt x="978" y="1919"/>
                  </a:lnTo>
                  <a:lnTo>
                    <a:pt x="985" y="1929"/>
                  </a:lnTo>
                  <a:lnTo>
                    <a:pt x="989" y="1932"/>
                  </a:lnTo>
                  <a:lnTo>
                    <a:pt x="985" y="1939"/>
                  </a:lnTo>
                  <a:lnTo>
                    <a:pt x="985" y="1939"/>
                  </a:lnTo>
                  <a:lnTo>
                    <a:pt x="982" y="1946"/>
                  </a:lnTo>
                  <a:lnTo>
                    <a:pt x="978" y="1952"/>
                  </a:lnTo>
                  <a:lnTo>
                    <a:pt x="975" y="1966"/>
                  </a:lnTo>
                  <a:lnTo>
                    <a:pt x="975" y="1966"/>
                  </a:lnTo>
                  <a:lnTo>
                    <a:pt x="975" y="1969"/>
                  </a:lnTo>
                  <a:lnTo>
                    <a:pt x="968" y="1969"/>
                  </a:lnTo>
                  <a:lnTo>
                    <a:pt x="958" y="1972"/>
                  </a:lnTo>
                  <a:lnTo>
                    <a:pt x="958" y="1972"/>
                  </a:lnTo>
                  <a:lnTo>
                    <a:pt x="942" y="1972"/>
                  </a:lnTo>
                  <a:lnTo>
                    <a:pt x="942" y="1972"/>
                  </a:lnTo>
                  <a:lnTo>
                    <a:pt x="935" y="1976"/>
                  </a:lnTo>
                  <a:lnTo>
                    <a:pt x="931" y="1986"/>
                  </a:lnTo>
                  <a:lnTo>
                    <a:pt x="931" y="1986"/>
                  </a:lnTo>
                  <a:lnTo>
                    <a:pt x="928" y="1993"/>
                  </a:lnTo>
                  <a:lnTo>
                    <a:pt x="925" y="1996"/>
                  </a:lnTo>
                  <a:lnTo>
                    <a:pt x="925" y="1996"/>
                  </a:lnTo>
                  <a:lnTo>
                    <a:pt x="921" y="1999"/>
                  </a:lnTo>
                  <a:lnTo>
                    <a:pt x="921" y="2009"/>
                  </a:lnTo>
                  <a:lnTo>
                    <a:pt x="921" y="2009"/>
                  </a:lnTo>
                  <a:lnTo>
                    <a:pt x="921" y="2013"/>
                  </a:lnTo>
                  <a:lnTo>
                    <a:pt x="918" y="2016"/>
                  </a:lnTo>
                  <a:lnTo>
                    <a:pt x="911" y="2023"/>
                  </a:lnTo>
                  <a:lnTo>
                    <a:pt x="911" y="2023"/>
                  </a:lnTo>
                  <a:lnTo>
                    <a:pt x="911" y="2030"/>
                  </a:lnTo>
                  <a:lnTo>
                    <a:pt x="915" y="2033"/>
                  </a:lnTo>
                  <a:lnTo>
                    <a:pt x="915" y="2033"/>
                  </a:lnTo>
                  <a:lnTo>
                    <a:pt x="918" y="2026"/>
                  </a:lnTo>
                  <a:lnTo>
                    <a:pt x="918" y="2026"/>
                  </a:lnTo>
                  <a:lnTo>
                    <a:pt x="921" y="2026"/>
                  </a:lnTo>
                  <a:lnTo>
                    <a:pt x="925" y="2023"/>
                  </a:lnTo>
                  <a:lnTo>
                    <a:pt x="928" y="2019"/>
                  </a:lnTo>
                  <a:lnTo>
                    <a:pt x="928" y="2019"/>
                  </a:lnTo>
                  <a:lnTo>
                    <a:pt x="931" y="2023"/>
                  </a:lnTo>
                  <a:lnTo>
                    <a:pt x="931" y="2023"/>
                  </a:lnTo>
                  <a:lnTo>
                    <a:pt x="938" y="2023"/>
                  </a:lnTo>
                  <a:lnTo>
                    <a:pt x="938" y="2019"/>
                  </a:lnTo>
                  <a:lnTo>
                    <a:pt x="938" y="2019"/>
                  </a:lnTo>
                  <a:lnTo>
                    <a:pt x="942" y="2016"/>
                  </a:lnTo>
                  <a:lnTo>
                    <a:pt x="948" y="2013"/>
                  </a:lnTo>
                  <a:lnTo>
                    <a:pt x="948" y="2013"/>
                  </a:lnTo>
                  <a:lnTo>
                    <a:pt x="948" y="2009"/>
                  </a:lnTo>
                  <a:lnTo>
                    <a:pt x="948" y="2009"/>
                  </a:lnTo>
                  <a:lnTo>
                    <a:pt x="962" y="2003"/>
                  </a:lnTo>
                  <a:lnTo>
                    <a:pt x="962" y="2003"/>
                  </a:lnTo>
                  <a:lnTo>
                    <a:pt x="962" y="2016"/>
                  </a:lnTo>
                  <a:lnTo>
                    <a:pt x="965" y="2016"/>
                  </a:lnTo>
                  <a:lnTo>
                    <a:pt x="965" y="2016"/>
                  </a:lnTo>
                  <a:lnTo>
                    <a:pt x="965" y="2026"/>
                  </a:lnTo>
                  <a:lnTo>
                    <a:pt x="965" y="2026"/>
                  </a:lnTo>
                  <a:lnTo>
                    <a:pt x="955" y="2033"/>
                  </a:lnTo>
                  <a:lnTo>
                    <a:pt x="948" y="2036"/>
                  </a:lnTo>
                  <a:lnTo>
                    <a:pt x="931" y="2050"/>
                  </a:lnTo>
                  <a:lnTo>
                    <a:pt x="931" y="2050"/>
                  </a:lnTo>
                  <a:lnTo>
                    <a:pt x="942" y="2053"/>
                  </a:lnTo>
                  <a:lnTo>
                    <a:pt x="942" y="2053"/>
                  </a:lnTo>
                  <a:lnTo>
                    <a:pt x="938" y="2060"/>
                  </a:lnTo>
                  <a:lnTo>
                    <a:pt x="938" y="2063"/>
                  </a:lnTo>
                  <a:lnTo>
                    <a:pt x="938" y="2063"/>
                  </a:lnTo>
                  <a:lnTo>
                    <a:pt x="931" y="2063"/>
                  </a:lnTo>
                  <a:lnTo>
                    <a:pt x="925" y="2060"/>
                  </a:lnTo>
                  <a:lnTo>
                    <a:pt x="925" y="2060"/>
                  </a:lnTo>
                  <a:lnTo>
                    <a:pt x="925" y="2053"/>
                  </a:lnTo>
                  <a:lnTo>
                    <a:pt x="925" y="2053"/>
                  </a:lnTo>
                  <a:lnTo>
                    <a:pt x="915" y="2063"/>
                  </a:lnTo>
                  <a:lnTo>
                    <a:pt x="905" y="2073"/>
                  </a:lnTo>
                  <a:lnTo>
                    <a:pt x="905" y="2073"/>
                  </a:lnTo>
                  <a:lnTo>
                    <a:pt x="908" y="2080"/>
                  </a:lnTo>
                  <a:lnTo>
                    <a:pt x="911" y="2083"/>
                  </a:lnTo>
                  <a:lnTo>
                    <a:pt x="915" y="2087"/>
                  </a:lnTo>
                  <a:lnTo>
                    <a:pt x="915" y="2087"/>
                  </a:lnTo>
                  <a:lnTo>
                    <a:pt x="918" y="2083"/>
                  </a:lnTo>
                  <a:lnTo>
                    <a:pt x="925" y="2083"/>
                  </a:lnTo>
                  <a:lnTo>
                    <a:pt x="925" y="2083"/>
                  </a:lnTo>
                  <a:lnTo>
                    <a:pt x="931" y="2090"/>
                  </a:lnTo>
                  <a:lnTo>
                    <a:pt x="931" y="2090"/>
                  </a:lnTo>
                  <a:lnTo>
                    <a:pt x="942" y="2090"/>
                  </a:lnTo>
                  <a:lnTo>
                    <a:pt x="942" y="2090"/>
                  </a:lnTo>
                  <a:lnTo>
                    <a:pt x="952" y="2097"/>
                  </a:lnTo>
                  <a:lnTo>
                    <a:pt x="952" y="2097"/>
                  </a:lnTo>
                  <a:lnTo>
                    <a:pt x="948" y="2107"/>
                  </a:lnTo>
                  <a:lnTo>
                    <a:pt x="948" y="2107"/>
                  </a:lnTo>
                  <a:lnTo>
                    <a:pt x="945" y="2107"/>
                  </a:lnTo>
                  <a:lnTo>
                    <a:pt x="942" y="2107"/>
                  </a:lnTo>
                  <a:lnTo>
                    <a:pt x="942" y="2103"/>
                  </a:lnTo>
                  <a:lnTo>
                    <a:pt x="942" y="2103"/>
                  </a:lnTo>
                  <a:lnTo>
                    <a:pt x="935" y="2100"/>
                  </a:lnTo>
                  <a:lnTo>
                    <a:pt x="935" y="2100"/>
                  </a:lnTo>
                  <a:lnTo>
                    <a:pt x="928" y="2100"/>
                  </a:lnTo>
                  <a:lnTo>
                    <a:pt x="928" y="2100"/>
                  </a:lnTo>
                  <a:lnTo>
                    <a:pt x="928" y="2110"/>
                  </a:lnTo>
                  <a:lnTo>
                    <a:pt x="928" y="2120"/>
                  </a:lnTo>
                  <a:lnTo>
                    <a:pt x="928" y="2120"/>
                  </a:lnTo>
                  <a:lnTo>
                    <a:pt x="935" y="2120"/>
                  </a:lnTo>
                  <a:lnTo>
                    <a:pt x="935" y="2124"/>
                  </a:lnTo>
                  <a:lnTo>
                    <a:pt x="938" y="2124"/>
                  </a:lnTo>
                  <a:lnTo>
                    <a:pt x="938" y="2124"/>
                  </a:lnTo>
                  <a:lnTo>
                    <a:pt x="938" y="2134"/>
                  </a:lnTo>
                  <a:lnTo>
                    <a:pt x="938" y="2134"/>
                  </a:lnTo>
                  <a:lnTo>
                    <a:pt x="935" y="2137"/>
                  </a:lnTo>
                  <a:lnTo>
                    <a:pt x="935" y="2137"/>
                  </a:lnTo>
                  <a:lnTo>
                    <a:pt x="931" y="2134"/>
                  </a:lnTo>
                  <a:lnTo>
                    <a:pt x="931" y="2134"/>
                  </a:lnTo>
                  <a:lnTo>
                    <a:pt x="928" y="2134"/>
                  </a:lnTo>
                  <a:lnTo>
                    <a:pt x="928" y="2137"/>
                  </a:lnTo>
                  <a:lnTo>
                    <a:pt x="928" y="2137"/>
                  </a:lnTo>
                  <a:lnTo>
                    <a:pt x="925" y="2120"/>
                  </a:lnTo>
                  <a:lnTo>
                    <a:pt x="925" y="2120"/>
                  </a:lnTo>
                  <a:lnTo>
                    <a:pt x="925" y="2117"/>
                  </a:lnTo>
                  <a:lnTo>
                    <a:pt x="925" y="2114"/>
                  </a:lnTo>
                  <a:lnTo>
                    <a:pt x="925" y="2114"/>
                  </a:lnTo>
                  <a:lnTo>
                    <a:pt x="925" y="2120"/>
                  </a:lnTo>
                  <a:lnTo>
                    <a:pt x="921" y="2134"/>
                  </a:lnTo>
                  <a:lnTo>
                    <a:pt x="918" y="2134"/>
                  </a:lnTo>
                  <a:lnTo>
                    <a:pt x="918" y="2134"/>
                  </a:lnTo>
                  <a:lnTo>
                    <a:pt x="915" y="2144"/>
                  </a:lnTo>
                  <a:lnTo>
                    <a:pt x="911" y="2144"/>
                  </a:lnTo>
                  <a:lnTo>
                    <a:pt x="911" y="2144"/>
                  </a:lnTo>
                  <a:lnTo>
                    <a:pt x="911" y="2151"/>
                  </a:lnTo>
                  <a:lnTo>
                    <a:pt x="915" y="2161"/>
                  </a:lnTo>
                  <a:lnTo>
                    <a:pt x="915" y="2161"/>
                  </a:lnTo>
                  <a:lnTo>
                    <a:pt x="908" y="2174"/>
                  </a:lnTo>
                  <a:lnTo>
                    <a:pt x="908" y="2174"/>
                  </a:lnTo>
                  <a:lnTo>
                    <a:pt x="891" y="2171"/>
                  </a:lnTo>
                  <a:lnTo>
                    <a:pt x="881" y="2167"/>
                  </a:lnTo>
                  <a:lnTo>
                    <a:pt x="874" y="2171"/>
                  </a:lnTo>
                  <a:lnTo>
                    <a:pt x="874" y="2171"/>
                  </a:lnTo>
                  <a:lnTo>
                    <a:pt x="871" y="2174"/>
                  </a:lnTo>
                  <a:lnTo>
                    <a:pt x="871" y="2174"/>
                  </a:lnTo>
                  <a:lnTo>
                    <a:pt x="878" y="2177"/>
                  </a:lnTo>
                  <a:lnTo>
                    <a:pt x="878" y="2177"/>
                  </a:lnTo>
                  <a:lnTo>
                    <a:pt x="884" y="2177"/>
                  </a:lnTo>
                  <a:lnTo>
                    <a:pt x="884" y="2181"/>
                  </a:lnTo>
                  <a:lnTo>
                    <a:pt x="881" y="2184"/>
                  </a:lnTo>
                  <a:lnTo>
                    <a:pt x="881" y="2184"/>
                  </a:lnTo>
                  <a:lnTo>
                    <a:pt x="864" y="2188"/>
                  </a:lnTo>
                  <a:lnTo>
                    <a:pt x="864" y="2188"/>
                  </a:lnTo>
                  <a:lnTo>
                    <a:pt x="868" y="2188"/>
                  </a:lnTo>
                  <a:lnTo>
                    <a:pt x="868" y="2191"/>
                  </a:lnTo>
                  <a:lnTo>
                    <a:pt x="868" y="2191"/>
                  </a:lnTo>
                  <a:lnTo>
                    <a:pt x="871" y="2194"/>
                  </a:lnTo>
                  <a:lnTo>
                    <a:pt x="871" y="2194"/>
                  </a:lnTo>
                  <a:lnTo>
                    <a:pt x="878" y="2194"/>
                  </a:lnTo>
                  <a:lnTo>
                    <a:pt x="878" y="2194"/>
                  </a:lnTo>
                  <a:lnTo>
                    <a:pt x="884" y="2194"/>
                  </a:lnTo>
                  <a:lnTo>
                    <a:pt x="888" y="2188"/>
                  </a:lnTo>
                  <a:lnTo>
                    <a:pt x="888" y="2188"/>
                  </a:lnTo>
                  <a:lnTo>
                    <a:pt x="898" y="2188"/>
                  </a:lnTo>
                  <a:lnTo>
                    <a:pt x="898" y="2188"/>
                  </a:lnTo>
                  <a:lnTo>
                    <a:pt x="891" y="2194"/>
                  </a:lnTo>
                  <a:lnTo>
                    <a:pt x="891" y="2194"/>
                  </a:lnTo>
                  <a:lnTo>
                    <a:pt x="901" y="2198"/>
                  </a:lnTo>
                  <a:lnTo>
                    <a:pt x="901" y="2198"/>
                  </a:lnTo>
                  <a:lnTo>
                    <a:pt x="911" y="2208"/>
                  </a:lnTo>
                  <a:lnTo>
                    <a:pt x="915" y="2214"/>
                  </a:lnTo>
                  <a:lnTo>
                    <a:pt x="921" y="2218"/>
                  </a:lnTo>
                  <a:lnTo>
                    <a:pt x="921" y="2218"/>
                  </a:lnTo>
                  <a:lnTo>
                    <a:pt x="931" y="2214"/>
                  </a:lnTo>
                  <a:lnTo>
                    <a:pt x="942" y="2214"/>
                  </a:lnTo>
                  <a:lnTo>
                    <a:pt x="942" y="2214"/>
                  </a:lnTo>
                  <a:lnTo>
                    <a:pt x="952" y="2221"/>
                  </a:lnTo>
                  <a:lnTo>
                    <a:pt x="962" y="2228"/>
                  </a:lnTo>
                  <a:lnTo>
                    <a:pt x="962" y="2228"/>
                  </a:lnTo>
                  <a:lnTo>
                    <a:pt x="982" y="2228"/>
                  </a:lnTo>
                  <a:lnTo>
                    <a:pt x="992" y="2228"/>
                  </a:lnTo>
                  <a:lnTo>
                    <a:pt x="1002" y="2231"/>
                  </a:lnTo>
                  <a:lnTo>
                    <a:pt x="1002" y="2231"/>
                  </a:lnTo>
                  <a:lnTo>
                    <a:pt x="1005" y="2238"/>
                  </a:lnTo>
                  <a:lnTo>
                    <a:pt x="1005" y="2238"/>
                  </a:lnTo>
                  <a:lnTo>
                    <a:pt x="1015" y="2241"/>
                  </a:lnTo>
                  <a:lnTo>
                    <a:pt x="1015" y="2241"/>
                  </a:lnTo>
                  <a:lnTo>
                    <a:pt x="1026" y="2251"/>
                  </a:lnTo>
                  <a:lnTo>
                    <a:pt x="1036" y="2261"/>
                  </a:lnTo>
                  <a:lnTo>
                    <a:pt x="1039" y="2261"/>
                  </a:lnTo>
                  <a:lnTo>
                    <a:pt x="1039" y="2261"/>
                  </a:lnTo>
                  <a:lnTo>
                    <a:pt x="1042" y="2255"/>
                  </a:lnTo>
                  <a:lnTo>
                    <a:pt x="1046" y="2251"/>
                  </a:lnTo>
                  <a:lnTo>
                    <a:pt x="1046" y="2251"/>
                  </a:lnTo>
                  <a:lnTo>
                    <a:pt x="1052" y="2251"/>
                  </a:lnTo>
                  <a:lnTo>
                    <a:pt x="1056" y="2251"/>
                  </a:lnTo>
                  <a:lnTo>
                    <a:pt x="1062" y="2251"/>
                  </a:lnTo>
                  <a:lnTo>
                    <a:pt x="1073" y="2251"/>
                  </a:lnTo>
                  <a:lnTo>
                    <a:pt x="1073" y="2251"/>
                  </a:lnTo>
                  <a:lnTo>
                    <a:pt x="1083" y="2248"/>
                  </a:lnTo>
                  <a:lnTo>
                    <a:pt x="1096" y="2245"/>
                  </a:lnTo>
                  <a:lnTo>
                    <a:pt x="1096" y="2245"/>
                  </a:lnTo>
                  <a:lnTo>
                    <a:pt x="1110" y="2245"/>
                  </a:lnTo>
                  <a:lnTo>
                    <a:pt x="1110" y="2245"/>
                  </a:lnTo>
                  <a:lnTo>
                    <a:pt x="1116" y="2245"/>
                  </a:lnTo>
                  <a:lnTo>
                    <a:pt x="1123" y="2245"/>
                  </a:lnTo>
                  <a:lnTo>
                    <a:pt x="1123" y="2245"/>
                  </a:lnTo>
                  <a:lnTo>
                    <a:pt x="1143" y="2248"/>
                  </a:lnTo>
                  <a:lnTo>
                    <a:pt x="1143" y="2248"/>
                  </a:lnTo>
                  <a:lnTo>
                    <a:pt x="1150" y="2248"/>
                  </a:lnTo>
                  <a:lnTo>
                    <a:pt x="1160" y="2245"/>
                  </a:lnTo>
                  <a:lnTo>
                    <a:pt x="1160" y="2245"/>
                  </a:lnTo>
                  <a:lnTo>
                    <a:pt x="1170" y="2248"/>
                  </a:lnTo>
                  <a:lnTo>
                    <a:pt x="1170" y="2248"/>
                  </a:lnTo>
                  <a:lnTo>
                    <a:pt x="1177" y="2248"/>
                  </a:lnTo>
                  <a:lnTo>
                    <a:pt x="1183" y="2248"/>
                  </a:lnTo>
                  <a:lnTo>
                    <a:pt x="1183" y="2248"/>
                  </a:lnTo>
                  <a:lnTo>
                    <a:pt x="1200" y="2251"/>
                  </a:lnTo>
                  <a:lnTo>
                    <a:pt x="1200" y="10"/>
                  </a:lnTo>
                  <a:lnTo>
                    <a:pt x="1190" y="0"/>
                  </a:lnTo>
                  <a:close/>
                </a:path>
              </a:pathLst>
            </a:custGeom>
            <a:solidFill>
              <a:srgbClr val="C0C0C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EYInterstate" pitchFamily="2" charset="0"/>
                <a:cs typeface="Arial" charset="0"/>
              </a:endParaRPr>
            </a:p>
          </p:txBody>
        </p:sp>
        <p:sp>
          <p:nvSpPr>
            <p:cNvPr id="38" name="Freeform 52"/>
            <p:cNvSpPr>
              <a:spLocks/>
            </p:cNvSpPr>
            <p:nvPr/>
          </p:nvSpPr>
          <p:spPr bwMode="auto">
            <a:xfrm>
              <a:off x="4367" y="2925"/>
              <a:ext cx="165" cy="129"/>
            </a:xfrm>
            <a:custGeom>
              <a:avLst/>
              <a:gdLst/>
              <a:ahLst/>
              <a:cxnLst>
                <a:cxn ang="0">
                  <a:pos x="147" y="3"/>
                </a:cxn>
                <a:cxn ang="0">
                  <a:pos x="147" y="3"/>
                </a:cxn>
                <a:cxn ang="0">
                  <a:pos x="141" y="3"/>
                </a:cxn>
                <a:cxn ang="0">
                  <a:pos x="131" y="3"/>
                </a:cxn>
                <a:cxn ang="0">
                  <a:pos x="131" y="3"/>
                </a:cxn>
                <a:cxn ang="0">
                  <a:pos x="121" y="3"/>
                </a:cxn>
                <a:cxn ang="0">
                  <a:pos x="121" y="3"/>
                </a:cxn>
                <a:cxn ang="0">
                  <a:pos x="114" y="3"/>
                </a:cxn>
                <a:cxn ang="0">
                  <a:pos x="104" y="3"/>
                </a:cxn>
                <a:cxn ang="0">
                  <a:pos x="104" y="3"/>
                </a:cxn>
                <a:cxn ang="0">
                  <a:pos x="84" y="0"/>
                </a:cxn>
                <a:cxn ang="0">
                  <a:pos x="84" y="0"/>
                </a:cxn>
                <a:cxn ang="0">
                  <a:pos x="80" y="0"/>
                </a:cxn>
                <a:cxn ang="0">
                  <a:pos x="74" y="3"/>
                </a:cxn>
                <a:cxn ang="0">
                  <a:pos x="74" y="3"/>
                </a:cxn>
                <a:cxn ang="0">
                  <a:pos x="60" y="0"/>
                </a:cxn>
                <a:cxn ang="0">
                  <a:pos x="60" y="0"/>
                </a:cxn>
                <a:cxn ang="0">
                  <a:pos x="47" y="3"/>
                </a:cxn>
                <a:cxn ang="0">
                  <a:pos x="37" y="6"/>
                </a:cxn>
                <a:cxn ang="0">
                  <a:pos x="37" y="6"/>
                </a:cxn>
                <a:cxn ang="0">
                  <a:pos x="26" y="6"/>
                </a:cxn>
                <a:cxn ang="0">
                  <a:pos x="20" y="6"/>
                </a:cxn>
                <a:cxn ang="0">
                  <a:pos x="13" y="6"/>
                </a:cxn>
                <a:cxn ang="0">
                  <a:pos x="6" y="6"/>
                </a:cxn>
                <a:cxn ang="0">
                  <a:pos x="6" y="6"/>
                </a:cxn>
                <a:cxn ang="0">
                  <a:pos x="3" y="13"/>
                </a:cxn>
                <a:cxn ang="0">
                  <a:pos x="0" y="16"/>
                </a:cxn>
                <a:cxn ang="0">
                  <a:pos x="0" y="16"/>
                </a:cxn>
                <a:cxn ang="0">
                  <a:pos x="16" y="23"/>
                </a:cxn>
                <a:cxn ang="0">
                  <a:pos x="33" y="30"/>
                </a:cxn>
                <a:cxn ang="0">
                  <a:pos x="33" y="30"/>
                </a:cxn>
                <a:cxn ang="0">
                  <a:pos x="43" y="37"/>
                </a:cxn>
                <a:cxn ang="0">
                  <a:pos x="53" y="43"/>
                </a:cxn>
                <a:cxn ang="0">
                  <a:pos x="53" y="43"/>
                </a:cxn>
                <a:cxn ang="0">
                  <a:pos x="63" y="47"/>
                </a:cxn>
                <a:cxn ang="0">
                  <a:pos x="77" y="47"/>
                </a:cxn>
                <a:cxn ang="0">
                  <a:pos x="77" y="47"/>
                </a:cxn>
                <a:cxn ang="0">
                  <a:pos x="77" y="43"/>
                </a:cxn>
                <a:cxn ang="0">
                  <a:pos x="84" y="43"/>
                </a:cxn>
                <a:cxn ang="0">
                  <a:pos x="84" y="43"/>
                </a:cxn>
                <a:cxn ang="0">
                  <a:pos x="87" y="43"/>
                </a:cxn>
                <a:cxn ang="0">
                  <a:pos x="87" y="43"/>
                </a:cxn>
                <a:cxn ang="0">
                  <a:pos x="97" y="50"/>
                </a:cxn>
                <a:cxn ang="0">
                  <a:pos x="100" y="57"/>
                </a:cxn>
                <a:cxn ang="0">
                  <a:pos x="100" y="57"/>
                </a:cxn>
                <a:cxn ang="0">
                  <a:pos x="114" y="60"/>
                </a:cxn>
                <a:cxn ang="0">
                  <a:pos x="127" y="60"/>
                </a:cxn>
                <a:cxn ang="0">
                  <a:pos x="127" y="60"/>
                </a:cxn>
                <a:cxn ang="0">
                  <a:pos x="134" y="70"/>
                </a:cxn>
                <a:cxn ang="0">
                  <a:pos x="144" y="90"/>
                </a:cxn>
                <a:cxn ang="0">
                  <a:pos x="147" y="111"/>
                </a:cxn>
                <a:cxn ang="0">
                  <a:pos x="151" y="131"/>
                </a:cxn>
                <a:cxn ang="0">
                  <a:pos x="151" y="131"/>
                </a:cxn>
                <a:cxn ang="0">
                  <a:pos x="151" y="131"/>
                </a:cxn>
                <a:cxn ang="0">
                  <a:pos x="164" y="137"/>
                </a:cxn>
                <a:cxn ang="0">
                  <a:pos x="164" y="6"/>
                </a:cxn>
                <a:cxn ang="0">
                  <a:pos x="164" y="6"/>
                </a:cxn>
                <a:cxn ang="0">
                  <a:pos x="158" y="3"/>
                </a:cxn>
                <a:cxn ang="0">
                  <a:pos x="147" y="3"/>
                </a:cxn>
                <a:cxn ang="0">
                  <a:pos x="147" y="3"/>
                </a:cxn>
              </a:cxnLst>
              <a:rect l="0" t="0" r="r" b="b"/>
              <a:pathLst>
                <a:path w="164" h="137">
                  <a:moveTo>
                    <a:pt x="147" y="3"/>
                  </a:moveTo>
                  <a:lnTo>
                    <a:pt x="147" y="3"/>
                  </a:lnTo>
                  <a:lnTo>
                    <a:pt x="141" y="3"/>
                  </a:lnTo>
                  <a:lnTo>
                    <a:pt x="131" y="3"/>
                  </a:lnTo>
                  <a:lnTo>
                    <a:pt x="131" y="3"/>
                  </a:lnTo>
                  <a:lnTo>
                    <a:pt x="121" y="3"/>
                  </a:lnTo>
                  <a:lnTo>
                    <a:pt x="121" y="3"/>
                  </a:lnTo>
                  <a:lnTo>
                    <a:pt x="114" y="3"/>
                  </a:lnTo>
                  <a:lnTo>
                    <a:pt x="104" y="3"/>
                  </a:lnTo>
                  <a:lnTo>
                    <a:pt x="104" y="3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0" y="0"/>
                  </a:lnTo>
                  <a:lnTo>
                    <a:pt x="74" y="3"/>
                  </a:lnTo>
                  <a:lnTo>
                    <a:pt x="74" y="3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47" y="3"/>
                  </a:lnTo>
                  <a:lnTo>
                    <a:pt x="37" y="6"/>
                  </a:lnTo>
                  <a:lnTo>
                    <a:pt x="37" y="6"/>
                  </a:lnTo>
                  <a:lnTo>
                    <a:pt x="26" y="6"/>
                  </a:lnTo>
                  <a:lnTo>
                    <a:pt x="20" y="6"/>
                  </a:lnTo>
                  <a:lnTo>
                    <a:pt x="13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3" y="13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16" y="23"/>
                  </a:lnTo>
                  <a:lnTo>
                    <a:pt x="33" y="30"/>
                  </a:lnTo>
                  <a:lnTo>
                    <a:pt x="33" y="30"/>
                  </a:lnTo>
                  <a:lnTo>
                    <a:pt x="43" y="37"/>
                  </a:lnTo>
                  <a:lnTo>
                    <a:pt x="53" y="43"/>
                  </a:lnTo>
                  <a:lnTo>
                    <a:pt x="53" y="43"/>
                  </a:lnTo>
                  <a:lnTo>
                    <a:pt x="63" y="47"/>
                  </a:lnTo>
                  <a:lnTo>
                    <a:pt x="77" y="47"/>
                  </a:lnTo>
                  <a:lnTo>
                    <a:pt x="77" y="47"/>
                  </a:lnTo>
                  <a:lnTo>
                    <a:pt x="77" y="43"/>
                  </a:lnTo>
                  <a:lnTo>
                    <a:pt x="84" y="43"/>
                  </a:lnTo>
                  <a:lnTo>
                    <a:pt x="84" y="43"/>
                  </a:lnTo>
                  <a:lnTo>
                    <a:pt x="87" y="43"/>
                  </a:lnTo>
                  <a:lnTo>
                    <a:pt x="87" y="43"/>
                  </a:lnTo>
                  <a:lnTo>
                    <a:pt x="97" y="50"/>
                  </a:lnTo>
                  <a:lnTo>
                    <a:pt x="100" y="57"/>
                  </a:lnTo>
                  <a:lnTo>
                    <a:pt x="100" y="57"/>
                  </a:lnTo>
                  <a:lnTo>
                    <a:pt x="114" y="60"/>
                  </a:lnTo>
                  <a:lnTo>
                    <a:pt x="127" y="60"/>
                  </a:lnTo>
                  <a:lnTo>
                    <a:pt x="127" y="60"/>
                  </a:lnTo>
                  <a:lnTo>
                    <a:pt x="134" y="70"/>
                  </a:lnTo>
                  <a:lnTo>
                    <a:pt x="144" y="90"/>
                  </a:lnTo>
                  <a:lnTo>
                    <a:pt x="147" y="111"/>
                  </a:lnTo>
                  <a:lnTo>
                    <a:pt x="151" y="131"/>
                  </a:lnTo>
                  <a:lnTo>
                    <a:pt x="151" y="131"/>
                  </a:lnTo>
                  <a:lnTo>
                    <a:pt x="151" y="131"/>
                  </a:lnTo>
                  <a:lnTo>
                    <a:pt x="164" y="137"/>
                  </a:lnTo>
                  <a:lnTo>
                    <a:pt x="164" y="6"/>
                  </a:lnTo>
                  <a:lnTo>
                    <a:pt x="164" y="6"/>
                  </a:lnTo>
                  <a:lnTo>
                    <a:pt x="158" y="3"/>
                  </a:lnTo>
                  <a:lnTo>
                    <a:pt x="147" y="3"/>
                  </a:lnTo>
                  <a:lnTo>
                    <a:pt x="147" y="3"/>
                  </a:lnTo>
                  <a:close/>
                </a:path>
              </a:pathLst>
            </a:custGeom>
            <a:solidFill>
              <a:srgbClr val="C0C0C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EYInterstate" pitchFamily="2" charset="0"/>
                <a:cs typeface="Arial" charset="0"/>
              </a:endParaRPr>
            </a:p>
          </p:txBody>
        </p:sp>
        <p:sp>
          <p:nvSpPr>
            <p:cNvPr id="39" name="Freeform 53"/>
            <p:cNvSpPr>
              <a:spLocks/>
            </p:cNvSpPr>
            <p:nvPr/>
          </p:nvSpPr>
          <p:spPr bwMode="auto">
            <a:xfrm>
              <a:off x="2011" y="2094"/>
              <a:ext cx="233" cy="231"/>
            </a:xfrm>
            <a:custGeom>
              <a:avLst/>
              <a:gdLst/>
              <a:ahLst/>
              <a:cxnLst>
                <a:cxn ang="0">
                  <a:pos x="225" y="101"/>
                </a:cxn>
                <a:cxn ang="0">
                  <a:pos x="215" y="101"/>
                </a:cxn>
                <a:cxn ang="0">
                  <a:pos x="212" y="95"/>
                </a:cxn>
                <a:cxn ang="0">
                  <a:pos x="208" y="88"/>
                </a:cxn>
                <a:cxn ang="0">
                  <a:pos x="205" y="78"/>
                </a:cxn>
                <a:cxn ang="0">
                  <a:pos x="205" y="68"/>
                </a:cxn>
                <a:cxn ang="0">
                  <a:pos x="195" y="71"/>
                </a:cxn>
                <a:cxn ang="0">
                  <a:pos x="192" y="81"/>
                </a:cxn>
                <a:cxn ang="0">
                  <a:pos x="185" y="81"/>
                </a:cxn>
                <a:cxn ang="0">
                  <a:pos x="175" y="74"/>
                </a:cxn>
                <a:cxn ang="0">
                  <a:pos x="171" y="64"/>
                </a:cxn>
                <a:cxn ang="0">
                  <a:pos x="165" y="54"/>
                </a:cxn>
                <a:cxn ang="0">
                  <a:pos x="161" y="44"/>
                </a:cxn>
                <a:cxn ang="0">
                  <a:pos x="175" y="44"/>
                </a:cxn>
                <a:cxn ang="0">
                  <a:pos x="182" y="41"/>
                </a:cxn>
                <a:cxn ang="0">
                  <a:pos x="182" y="34"/>
                </a:cxn>
                <a:cxn ang="0">
                  <a:pos x="192" y="34"/>
                </a:cxn>
                <a:cxn ang="0">
                  <a:pos x="202" y="31"/>
                </a:cxn>
                <a:cxn ang="0">
                  <a:pos x="219" y="21"/>
                </a:cxn>
                <a:cxn ang="0">
                  <a:pos x="225" y="11"/>
                </a:cxn>
                <a:cxn ang="0">
                  <a:pos x="202" y="11"/>
                </a:cxn>
                <a:cxn ang="0">
                  <a:pos x="188" y="0"/>
                </a:cxn>
                <a:cxn ang="0">
                  <a:pos x="168" y="4"/>
                </a:cxn>
                <a:cxn ang="0">
                  <a:pos x="161" y="17"/>
                </a:cxn>
                <a:cxn ang="0">
                  <a:pos x="141" y="21"/>
                </a:cxn>
                <a:cxn ang="0">
                  <a:pos x="151" y="34"/>
                </a:cxn>
                <a:cxn ang="0">
                  <a:pos x="138" y="51"/>
                </a:cxn>
                <a:cxn ang="0">
                  <a:pos x="121" y="51"/>
                </a:cxn>
                <a:cxn ang="0">
                  <a:pos x="114" y="44"/>
                </a:cxn>
                <a:cxn ang="0">
                  <a:pos x="84" y="34"/>
                </a:cxn>
                <a:cxn ang="0">
                  <a:pos x="74" y="44"/>
                </a:cxn>
                <a:cxn ang="0">
                  <a:pos x="87" y="71"/>
                </a:cxn>
                <a:cxn ang="0">
                  <a:pos x="71" y="81"/>
                </a:cxn>
                <a:cxn ang="0">
                  <a:pos x="54" y="84"/>
                </a:cxn>
                <a:cxn ang="0">
                  <a:pos x="64" y="98"/>
                </a:cxn>
                <a:cxn ang="0">
                  <a:pos x="71" y="108"/>
                </a:cxn>
                <a:cxn ang="0">
                  <a:pos x="94" y="121"/>
                </a:cxn>
                <a:cxn ang="0">
                  <a:pos x="74" y="131"/>
                </a:cxn>
                <a:cxn ang="0">
                  <a:pos x="64" y="145"/>
                </a:cxn>
                <a:cxn ang="0">
                  <a:pos x="44" y="152"/>
                </a:cxn>
                <a:cxn ang="0">
                  <a:pos x="47" y="158"/>
                </a:cxn>
                <a:cxn ang="0">
                  <a:pos x="37" y="162"/>
                </a:cxn>
                <a:cxn ang="0">
                  <a:pos x="14" y="168"/>
                </a:cxn>
                <a:cxn ang="0">
                  <a:pos x="20" y="185"/>
                </a:cxn>
                <a:cxn ang="0">
                  <a:pos x="7" y="192"/>
                </a:cxn>
                <a:cxn ang="0">
                  <a:pos x="0" y="202"/>
                </a:cxn>
                <a:cxn ang="0">
                  <a:pos x="20" y="209"/>
                </a:cxn>
                <a:cxn ang="0">
                  <a:pos x="7" y="216"/>
                </a:cxn>
                <a:cxn ang="0">
                  <a:pos x="3" y="222"/>
                </a:cxn>
                <a:cxn ang="0">
                  <a:pos x="20" y="226"/>
                </a:cxn>
                <a:cxn ang="0">
                  <a:pos x="14" y="236"/>
                </a:cxn>
                <a:cxn ang="0">
                  <a:pos x="37" y="242"/>
                </a:cxn>
                <a:cxn ang="0">
                  <a:pos x="57" y="242"/>
                </a:cxn>
                <a:cxn ang="0">
                  <a:pos x="74" y="242"/>
                </a:cxn>
                <a:cxn ang="0">
                  <a:pos x="87" y="232"/>
                </a:cxn>
                <a:cxn ang="0">
                  <a:pos x="98" y="222"/>
                </a:cxn>
                <a:cxn ang="0">
                  <a:pos x="131" y="232"/>
                </a:cxn>
                <a:cxn ang="0">
                  <a:pos x="161" y="236"/>
                </a:cxn>
                <a:cxn ang="0">
                  <a:pos x="182" y="229"/>
                </a:cxn>
                <a:cxn ang="0">
                  <a:pos x="205" y="199"/>
                </a:cxn>
                <a:cxn ang="0">
                  <a:pos x="212" y="172"/>
                </a:cxn>
                <a:cxn ang="0">
                  <a:pos x="222" y="128"/>
                </a:cxn>
                <a:cxn ang="0">
                  <a:pos x="232" y="111"/>
                </a:cxn>
              </a:cxnLst>
              <a:rect l="0" t="0" r="r" b="b"/>
              <a:pathLst>
                <a:path w="232" h="246">
                  <a:moveTo>
                    <a:pt x="232" y="108"/>
                  </a:moveTo>
                  <a:lnTo>
                    <a:pt x="232" y="108"/>
                  </a:lnTo>
                  <a:lnTo>
                    <a:pt x="225" y="105"/>
                  </a:lnTo>
                  <a:lnTo>
                    <a:pt x="225" y="105"/>
                  </a:lnTo>
                  <a:lnTo>
                    <a:pt x="225" y="101"/>
                  </a:lnTo>
                  <a:lnTo>
                    <a:pt x="222" y="98"/>
                  </a:lnTo>
                  <a:lnTo>
                    <a:pt x="222" y="98"/>
                  </a:lnTo>
                  <a:lnTo>
                    <a:pt x="219" y="101"/>
                  </a:lnTo>
                  <a:lnTo>
                    <a:pt x="219" y="101"/>
                  </a:lnTo>
                  <a:lnTo>
                    <a:pt x="215" y="101"/>
                  </a:lnTo>
                  <a:lnTo>
                    <a:pt x="215" y="101"/>
                  </a:lnTo>
                  <a:lnTo>
                    <a:pt x="208" y="98"/>
                  </a:lnTo>
                  <a:lnTo>
                    <a:pt x="208" y="98"/>
                  </a:lnTo>
                  <a:lnTo>
                    <a:pt x="212" y="98"/>
                  </a:lnTo>
                  <a:lnTo>
                    <a:pt x="212" y="95"/>
                  </a:lnTo>
                  <a:lnTo>
                    <a:pt x="212" y="95"/>
                  </a:lnTo>
                  <a:lnTo>
                    <a:pt x="212" y="88"/>
                  </a:lnTo>
                  <a:lnTo>
                    <a:pt x="212" y="88"/>
                  </a:lnTo>
                  <a:lnTo>
                    <a:pt x="208" y="88"/>
                  </a:lnTo>
                  <a:lnTo>
                    <a:pt x="208" y="88"/>
                  </a:lnTo>
                  <a:lnTo>
                    <a:pt x="208" y="88"/>
                  </a:lnTo>
                  <a:lnTo>
                    <a:pt x="205" y="84"/>
                  </a:lnTo>
                  <a:lnTo>
                    <a:pt x="205" y="84"/>
                  </a:lnTo>
                  <a:lnTo>
                    <a:pt x="205" y="78"/>
                  </a:lnTo>
                  <a:lnTo>
                    <a:pt x="205" y="78"/>
                  </a:lnTo>
                  <a:lnTo>
                    <a:pt x="205" y="71"/>
                  </a:lnTo>
                  <a:lnTo>
                    <a:pt x="205" y="71"/>
                  </a:lnTo>
                  <a:lnTo>
                    <a:pt x="205" y="68"/>
                  </a:lnTo>
                  <a:lnTo>
                    <a:pt x="205" y="68"/>
                  </a:lnTo>
                  <a:lnTo>
                    <a:pt x="205" y="68"/>
                  </a:lnTo>
                  <a:lnTo>
                    <a:pt x="202" y="68"/>
                  </a:lnTo>
                  <a:lnTo>
                    <a:pt x="198" y="71"/>
                  </a:lnTo>
                  <a:lnTo>
                    <a:pt x="198" y="71"/>
                  </a:lnTo>
                  <a:lnTo>
                    <a:pt x="195" y="71"/>
                  </a:lnTo>
                  <a:lnTo>
                    <a:pt x="195" y="71"/>
                  </a:lnTo>
                  <a:lnTo>
                    <a:pt x="195" y="74"/>
                  </a:lnTo>
                  <a:lnTo>
                    <a:pt x="195" y="78"/>
                  </a:lnTo>
                  <a:lnTo>
                    <a:pt x="195" y="78"/>
                  </a:lnTo>
                  <a:lnTo>
                    <a:pt x="192" y="81"/>
                  </a:lnTo>
                  <a:lnTo>
                    <a:pt x="192" y="81"/>
                  </a:lnTo>
                  <a:lnTo>
                    <a:pt x="188" y="81"/>
                  </a:lnTo>
                  <a:lnTo>
                    <a:pt x="188" y="84"/>
                  </a:lnTo>
                  <a:lnTo>
                    <a:pt x="188" y="84"/>
                  </a:lnTo>
                  <a:lnTo>
                    <a:pt x="185" y="81"/>
                  </a:lnTo>
                  <a:lnTo>
                    <a:pt x="185" y="81"/>
                  </a:lnTo>
                  <a:lnTo>
                    <a:pt x="182" y="81"/>
                  </a:lnTo>
                  <a:lnTo>
                    <a:pt x="182" y="81"/>
                  </a:lnTo>
                  <a:lnTo>
                    <a:pt x="178" y="78"/>
                  </a:lnTo>
                  <a:lnTo>
                    <a:pt x="178" y="78"/>
                  </a:lnTo>
                  <a:lnTo>
                    <a:pt x="175" y="74"/>
                  </a:lnTo>
                  <a:lnTo>
                    <a:pt x="175" y="71"/>
                  </a:lnTo>
                  <a:lnTo>
                    <a:pt x="175" y="71"/>
                  </a:lnTo>
                  <a:lnTo>
                    <a:pt x="171" y="71"/>
                  </a:lnTo>
                  <a:lnTo>
                    <a:pt x="171" y="71"/>
                  </a:lnTo>
                  <a:lnTo>
                    <a:pt x="171" y="64"/>
                  </a:lnTo>
                  <a:lnTo>
                    <a:pt x="171" y="64"/>
                  </a:lnTo>
                  <a:lnTo>
                    <a:pt x="168" y="58"/>
                  </a:lnTo>
                  <a:lnTo>
                    <a:pt x="168" y="58"/>
                  </a:lnTo>
                  <a:lnTo>
                    <a:pt x="165" y="54"/>
                  </a:lnTo>
                  <a:lnTo>
                    <a:pt x="165" y="54"/>
                  </a:lnTo>
                  <a:lnTo>
                    <a:pt x="165" y="51"/>
                  </a:lnTo>
                  <a:lnTo>
                    <a:pt x="165" y="51"/>
                  </a:lnTo>
                  <a:lnTo>
                    <a:pt x="165" y="47"/>
                  </a:lnTo>
                  <a:lnTo>
                    <a:pt x="161" y="44"/>
                  </a:lnTo>
                  <a:lnTo>
                    <a:pt x="161" y="44"/>
                  </a:lnTo>
                  <a:lnTo>
                    <a:pt x="165" y="44"/>
                  </a:lnTo>
                  <a:lnTo>
                    <a:pt x="171" y="44"/>
                  </a:lnTo>
                  <a:lnTo>
                    <a:pt x="171" y="44"/>
                  </a:lnTo>
                  <a:lnTo>
                    <a:pt x="175" y="44"/>
                  </a:lnTo>
                  <a:lnTo>
                    <a:pt x="175" y="44"/>
                  </a:lnTo>
                  <a:lnTo>
                    <a:pt x="178" y="44"/>
                  </a:lnTo>
                  <a:lnTo>
                    <a:pt x="178" y="44"/>
                  </a:lnTo>
                  <a:lnTo>
                    <a:pt x="185" y="44"/>
                  </a:lnTo>
                  <a:lnTo>
                    <a:pt x="185" y="44"/>
                  </a:lnTo>
                  <a:lnTo>
                    <a:pt x="182" y="41"/>
                  </a:lnTo>
                  <a:lnTo>
                    <a:pt x="178" y="37"/>
                  </a:lnTo>
                  <a:lnTo>
                    <a:pt x="178" y="37"/>
                  </a:lnTo>
                  <a:lnTo>
                    <a:pt x="178" y="34"/>
                  </a:lnTo>
                  <a:lnTo>
                    <a:pt x="178" y="34"/>
                  </a:lnTo>
                  <a:lnTo>
                    <a:pt x="182" y="34"/>
                  </a:lnTo>
                  <a:lnTo>
                    <a:pt x="182" y="34"/>
                  </a:lnTo>
                  <a:lnTo>
                    <a:pt x="185" y="37"/>
                  </a:lnTo>
                  <a:lnTo>
                    <a:pt x="185" y="37"/>
                  </a:lnTo>
                  <a:lnTo>
                    <a:pt x="188" y="37"/>
                  </a:lnTo>
                  <a:lnTo>
                    <a:pt x="192" y="34"/>
                  </a:lnTo>
                  <a:lnTo>
                    <a:pt x="192" y="34"/>
                  </a:lnTo>
                  <a:lnTo>
                    <a:pt x="198" y="31"/>
                  </a:lnTo>
                  <a:lnTo>
                    <a:pt x="198" y="31"/>
                  </a:lnTo>
                  <a:lnTo>
                    <a:pt x="202" y="31"/>
                  </a:lnTo>
                  <a:lnTo>
                    <a:pt x="202" y="31"/>
                  </a:lnTo>
                  <a:lnTo>
                    <a:pt x="205" y="27"/>
                  </a:lnTo>
                  <a:lnTo>
                    <a:pt x="205" y="27"/>
                  </a:lnTo>
                  <a:lnTo>
                    <a:pt x="212" y="21"/>
                  </a:lnTo>
                  <a:lnTo>
                    <a:pt x="212" y="21"/>
                  </a:lnTo>
                  <a:lnTo>
                    <a:pt x="219" y="21"/>
                  </a:lnTo>
                  <a:lnTo>
                    <a:pt x="219" y="21"/>
                  </a:lnTo>
                  <a:lnTo>
                    <a:pt x="222" y="21"/>
                  </a:lnTo>
                  <a:lnTo>
                    <a:pt x="222" y="21"/>
                  </a:lnTo>
                  <a:lnTo>
                    <a:pt x="225" y="17"/>
                  </a:lnTo>
                  <a:lnTo>
                    <a:pt x="225" y="11"/>
                  </a:lnTo>
                  <a:lnTo>
                    <a:pt x="219" y="0"/>
                  </a:lnTo>
                  <a:lnTo>
                    <a:pt x="215" y="0"/>
                  </a:lnTo>
                  <a:lnTo>
                    <a:pt x="215" y="0"/>
                  </a:lnTo>
                  <a:lnTo>
                    <a:pt x="202" y="11"/>
                  </a:lnTo>
                  <a:lnTo>
                    <a:pt x="202" y="11"/>
                  </a:lnTo>
                  <a:lnTo>
                    <a:pt x="198" y="7"/>
                  </a:lnTo>
                  <a:lnTo>
                    <a:pt x="198" y="4"/>
                  </a:lnTo>
                  <a:lnTo>
                    <a:pt x="202" y="0"/>
                  </a:lnTo>
                  <a:lnTo>
                    <a:pt x="202" y="0"/>
                  </a:lnTo>
                  <a:lnTo>
                    <a:pt x="188" y="0"/>
                  </a:lnTo>
                  <a:lnTo>
                    <a:pt x="182" y="0"/>
                  </a:lnTo>
                  <a:lnTo>
                    <a:pt x="171" y="0"/>
                  </a:lnTo>
                  <a:lnTo>
                    <a:pt x="171" y="0"/>
                  </a:lnTo>
                  <a:lnTo>
                    <a:pt x="168" y="4"/>
                  </a:lnTo>
                  <a:lnTo>
                    <a:pt x="168" y="4"/>
                  </a:lnTo>
                  <a:lnTo>
                    <a:pt x="165" y="7"/>
                  </a:lnTo>
                  <a:lnTo>
                    <a:pt x="165" y="11"/>
                  </a:lnTo>
                  <a:lnTo>
                    <a:pt x="165" y="21"/>
                  </a:lnTo>
                  <a:lnTo>
                    <a:pt x="165" y="21"/>
                  </a:lnTo>
                  <a:lnTo>
                    <a:pt x="161" y="17"/>
                  </a:lnTo>
                  <a:lnTo>
                    <a:pt x="155" y="17"/>
                  </a:lnTo>
                  <a:lnTo>
                    <a:pt x="155" y="17"/>
                  </a:lnTo>
                  <a:lnTo>
                    <a:pt x="155" y="21"/>
                  </a:lnTo>
                  <a:lnTo>
                    <a:pt x="155" y="21"/>
                  </a:lnTo>
                  <a:lnTo>
                    <a:pt x="141" y="21"/>
                  </a:lnTo>
                  <a:lnTo>
                    <a:pt x="141" y="21"/>
                  </a:lnTo>
                  <a:lnTo>
                    <a:pt x="141" y="27"/>
                  </a:lnTo>
                  <a:lnTo>
                    <a:pt x="141" y="27"/>
                  </a:lnTo>
                  <a:lnTo>
                    <a:pt x="145" y="31"/>
                  </a:lnTo>
                  <a:lnTo>
                    <a:pt x="151" y="34"/>
                  </a:lnTo>
                  <a:lnTo>
                    <a:pt x="161" y="37"/>
                  </a:lnTo>
                  <a:lnTo>
                    <a:pt x="161" y="37"/>
                  </a:lnTo>
                  <a:lnTo>
                    <a:pt x="158" y="44"/>
                  </a:lnTo>
                  <a:lnTo>
                    <a:pt x="158" y="44"/>
                  </a:lnTo>
                  <a:lnTo>
                    <a:pt x="138" y="51"/>
                  </a:lnTo>
                  <a:lnTo>
                    <a:pt x="138" y="51"/>
                  </a:lnTo>
                  <a:lnTo>
                    <a:pt x="141" y="54"/>
                  </a:lnTo>
                  <a:lnTo>
                    <a:pt x="138" y="58"/>
                  </a:lnTo>
                  <a:lnTo>
                    <a:pt x="138" y="58"/>
                  </a:lnTo>
                  <a:lnTo>
                    <a:pt x="121" y="51"/>
                  </a:lnTo>
                  <a:lnTo>
                    <a:pt x="121" y="51"/>
                  </a:lnTo>
                  <a:lnTo>
                    <a:pt x="121" y="51"/>
                  </a:lnTo>
                  <a:lnTo>
                    <a:pt x="118" y="47"/>
                  </a:lnTo>
                  <a:lnTo>
                    <a:pt x="114" y="44"/>
                  </a:lnTo>
                  <a:lnTo>
                    <a:pt x="114" y="44"/>
                  </a:lnTo>
                  <a:lnTo>
                    <a:pt x="108" y="41"/>
                  </a:lnTo>
                  <a:lnTo>
                    <a:pt x="101" y="37"/>
                  </a:lnTo>
                  <a:lnTo>
                    <a:pt x="87" y="37"/>
                  </a:lnTo>
                  <a:lnTo>
                    <a:pt x="87" y="37"/>
                  </a:lnTo>
                  <a:lnTo>
                    <a:pt x="84" y="34"/>
                  </a:lnTo>
                  <a:lnTo>
                    <a:pt x="77" y="34"/>
                  </a:lnTo>
                  <a:lnTo>
                    <a:pt x="77" y="34"/>
                  </a:lnTo>
                  <a:lnTo>
                    <a:pt x="77" y="37"/>
                  </a:lnTo>
                  <a:lnTo>
                    <a:pt x="74" y="44"/>
                  </a:lnTo>
                  <a:lnTo>
                    <a:pt x="74" y="44"/>
                  </a:lnTo>
                  <a:lnTo>
                    <a:pt x="84" y="44"/>
                  </a:lnTo>
                  <a:lnTo>
                    <a:pt x="84" y="44"/>
                  </a:lnTo>
                  <a:lnTo>
                    <a:pt x="74" y="68"/>
                  </a:lnTo>
                  <a:lnTo>
                    <a:pt x="74" y="68"/>
                  </a:lnTo>
                  <a:lnTo>
                    <a:pt x="87" y="71"/>
                  </a:lnTo>
                  <a:lnTo>
                    <a:pt x="87" y="74"/>
                  </a:lnTo>
                  <a:lnTo>
                    <a:pt x="87" y="74"/>
                  </a:lnTo>
                  <a:lnTo>
                    <a:pt x="74" y="74"/>
                  </a:lnTo>
                  <a:lnTo>
                    <a:pt x="74" y="74"/>
                  </a:lnTo>
                  <a:lnTo>
                    <a:pt x="71" y="81"/>
                  </a:lnTo>
                  <a:lnTo>
                    <a:pt x="71" y="81"/>
                  </a:lnTo>
                  <a:lnTo>
                    <a:pt x="64" y="84"/>
                  </a:lnTo>
                  <a:lnTo>
                    <a:pt x="54" y="84"/>
                  </a:lnTo>
                  <a:lnTo>
                    <a:pt x="54" y="84"/>
                  </a:lnTo>
                  <a:lnTo>
                    <a:pt x="54" y="84"/>
                  </a:lnTo>
                  <a:lnTo>
                    <a:pt x="54" y="91"/>
                  </a:lnTo>
                  <a:lnTo>
                    <a:pt x="54" y="95"/>
                  </a:lnTo>
                  <a:lnTo>
                    <a:pt x="57" y="98"/>
                  </a:lnTo>
                  <a:lnTo>
                    <a:pt x="57" y="98"/>
                  </a:lnTo>
                  <a:lnTo>
                    <a:pt x="64" y="98"/>
                  </a:lnTo>
                  <a:lnTo>
                    <a:pt x="64" y="98"/>
                  </a:lnTo>
                  <a:lnTo>
                    <a:pt x="61" y="108"/>
                  </a:lnTo>
                  <a:lnTo>
                    <a:pt x="61" y="108"/>
                  </a:lnTo>
                  <a:lnTo>
                    <a:pt x="71" y="108"/>
                  </a:lnTo>
                  <a:lnTo>
                    <a:pt x="71" y="108"/>
                  </a:lnTo>
                  <a:lnTo>
                    <a:pt x="74" y="115"/>
                  </a:lnTo>
                  <a:lnTo>
                    <a:pt x="74" y="115"/>
                  </a:lnTo>
                  <a:lnTo>
                    <a:pt x="77" y="118"/>
                  </a:lnTo>
                  <a:lnTo>
                    <a:pt x="81" y="118"/>
                  </a:lnTo>
                  <a:lnTo>
                    <a:pt x="94" y="121"/>
                  </a:lnTo>
                  <a:lnTo>
                    <a:pt x="94" y="121"/>
                  </a:lnTo>
                  <a:lnTo>
                    <a:pt x="94" y="128"/>
                  </a:lnTo>
                  <a:lnTo>
                    <a:pt x="94" y="128"/>
                  </a:lnTo>
                  <a:lnTo>
                    <a:pt x="81" y="128"/>
                  </a:lnTo>
                  <a:lnTo>
                    <a:pt x="74" y="131"/>
                  </a:lnTo>
                  <a:lnTo>
                    <a:pt x="71" y="135"/>
                  </a:lnTo>
                  <a:lnTo>
                    <a:pt x="71" y="135"/>
                  </a:lnTo>
                  <a:lnTo>
                    <a:pt x="67" y="142"/>
                  </a:lnTo>
                  <a:lnTo>
                    <a:pt x="64" y="145"/>
                  </a:lnTo>
                  <a:lnTo>
                    <a:pt x="64" y="145"/>
                  </a:lnTo>
                  <a:lnTo>
                    <a:pt x="61" y="145"/>
                  </a:lnTo>
                  <a:lnTo>
                    <a:pt x="54" y="145"/>
                  </a:lnTo>
                  <a:lnTo>
                    <a:pt x="54" y="148"/>
                  </a:lnTo>
                  <a:lnTo>
                    <a:pt x="54" y="148"/>
                  </a:lnTo>
                  <a:lnTo>
                    <a:pt x="44" y="152"/>
                  </a:lnTo>
                  <a:lnTo>
                    <a:pt x="44" y="152"/>
                  </a:lnTo>
                  <a:lnTo>
                    <a:pt x="44" y="158"/>
                  </a:lnTo>
                  <a:lnTo>
                    <a:pt x="44" y="158"/>
                  </a:lnTo>
                  <a:lnTo>
                    <a:pt x="47" y="155"/>
                  </a:lnTo>
                  <a:lnTo>
                    <a:pt x="47" y="158"/>
                  </a:lnTo>
                  <a:lnTo>
                    <a:pt x="44" y="165"/>
                  </a:lnTo>
                  <a:lnTo>
                    <a:pt x="44" y="165"/>
                  </a:lnTo>
                  <a:lnTo>
                    <a:pt x="40" y="165"/>
                  </a:lnTo>
                  <a:lnTo>
                    <a:pt x="37" y="162"/>
                  </a:lnTo>
                  <a:lnTo>
                    <a:pt x="37" y="162"/>
                  </a:lnTo>
                  <a:lnTo>
                    <a:pt x="34" y="175"/>
                  </a:lnTo>
                  <a:lnTo>
                    <a:pt x="34" y="175"/>
                  </a:lnTo>
                  <a:lnTo>
                    <a:pt x="24" y="168"/>
                  </a:lnTo>
                  <a:lnTo>
                    <a:pt x="24" y="168"/>
                  </a:lnTo>
                  <a:lnTo>
                    <a:pt x="14" y="168"/>
                  </a:lnTo>
                  <a:lnTo>
                    <a:pt x="10" y="172"/>
                  </a:lnTo>
                  <a:lnTo>
                    <a:pt x="3" y="179"/>
                  </a:lnTo>
                  <a:lnTo>
                    <a:pt x="3" y="179"/>
                  </a:lnTo>
                  <a:lnTo>
                    <a:pt x="20" y="185"/>
                  </a:lnTo>
                  <a:lnTo>
                    <a:pt x="20" y="185"/>
                  </a:lnTo>
                  <a:lnTo>
                    <a:pt x="30" y="185"/>
                  </a:lnTo>
                  <a:lnTo>
                    <a:pt x="34" y="189"/>
                  </a:lnTo>
                  <a:lnTo>
                    <a:pt x="34" y="189"/>
                  </a:lnTo>
                  <a:lnTo>
                    <a:pt x="17" y="189"/>
                  </a:lnTo>
                  <a:lnTo>
                    <a:pt x="7" y="192"/>
                  </a:lnTo>
                  <a:lnTo>
                    <a:pt x="7" y="192"/>
                  </a:lnTo>
                  <a:lnTo>
                    <a:pt x="0" y="195"/>
                  </a:lnTo>
                  <a:lnTo>
                    <a:pt x="0" y="195"/>
                  </a:lnTo>
                  <a:lnTo>
                    <a:pt x="0" y="202"/>
                  </a:lnTo>
                  <a:lnTo>
                    <a:pt x="0" y="202"/>
                  </a:lnTo>
                  <a:lnTo>
                    <a:pt x="10" y="202"/>
                  </a:lnTo>
                  <a:lnTo>
                    <a:pt x="10" y="202"/>
                  </a:lnTo>
                  <a:lnTo>
                    <a:pt x="10" y="209"/>
                  </a:lnTo>
                  <a:lnTo>
                    <a:pt x="10" y="209"/>
                  </a:lnTo>
                  <a:lnTo>
                    <a:pt x="20" y="209"/>
                  </a:lnTo>
                  <a:lnTo>
                    <a:pt x="27" y="209"/>
                  </a:lnTo>
                  <a:lnTo>
                    <a:pt x="24" y="212"/>
                  </a:lnTo>
                  <a:lnTo>
                    <a:pt x="24" y="212"/>
                  </a:lnTo>
                  <a:lnTo>
                    <a:pt x="7" y="216"/>
                  </a:lnTo>
                  <a:lnTo>
                    <a:pt x="7" y="216"/>
                  </a:lnTo>
                  <a:lnTo>
                    <a:pt x="7" y="216"/>
                  </a:lnTo>
                  <a:lnTo>
                    <a:pt x="7" y="216"/>
                  </a:lnTo>
                  <a:lnTo>
                    <a:pt x="3" y="219"/>
                  </a:lnTo>
                  <a:lnTo>
                    <a:pt x="3" y="219"/>
                  </a:lnTo>
                  <a:lnTo>
                    <a:pt x="3" y="222"/>
                  </a:lnTo>
                  <a:lnTo>
                    <a:pt x="27" y="222"/>
                  </a:lnTo>
                  <a:lnTo>
                    <a:pt x="27" y="226"/>
                  </a:lnTo>
                  <a:lnTo>
                    <a:pt x="27" y="226"/>
                  </a:lnTo>
                  <a:lnTo>
                    <a:pt x="20" y="226"/>
                  </a:lnTo>
                  <a:lnTo>
                    <a:pt x="20" y="226"/>
                  </a:lnTo>
                  <a:lnTo>
                    <a:pt x="20" y="232"/>
                  </a:lnTo>
                  <a:lnTo>
                    <a:pt x="20" y="232"/>
                  </a:lnTo>
                  <a:lnTo>
                    <a:pt x="14" y="232"/>
                  </a:lnTo>
                  <a:lnTo>
                    <a:pt x="14" y="232"/>
                  </a:lnTo>
                  <a:lnTo>
                    <a:pt x="14" y="236"/>
                  </a:lnTo>
                  <a:lnTo>
                    <a:pt x="14" y="236"/>
                  </a:lnTo>
                  <a:lnTo>
                    <a:pt x="24" y="236"/>
                  </a:lnTo>
                  <a:lnTo>
                    <a:pt x="34" y="236"/>
                  </a:lnTo>
                  <a:lnTo>
                    <a:pt x="34" y="236"/>
                  </a:lnTo>
                  <a:lnTo>
                    <a:pt x="37" y="242"/>
                  </a:lnTo>
                  <a:lnTo>
                    <a:pt x="37" y="242"/>
                  </a:lnTo>
                  <a:lnTo>
                    <a:pt x="47" y="242"/>
                  </a:lnTo>
                  <a:lnTo>
                    <a:pt x="50" y="239"/>
                  </a:lnTo>
                  <a:lnTo>
                    <a:pt x="57" y="242"/>
                  </a:lnTo>
                  <a:lnTo>
                    <a:pt x="57" y="242"/>
                  </a:lnTo>
                  <a:lnTo>
                    <a:pt x="61" y="242"/>
                  </a:lnTo>
                  <a:lnTo>
                    <a:pt x="64" y="246"/>
                  </a:lnTo>
                  <a:lnTo>
                    <a:pt x="64" y="242"/>
                  </a:lnTo>
                  <a:lnTo>
                    <a:pt x="64" y="242"/>
                  </a:lnTo>
                  <a:lnTo>
                    <a:pt x="74" y="242"/>
                  </a:lnTo>
                  <a:lnTo>
                    <a:pt x="81" y="242"/>
                  </a:lnTo>
                  <a:lnTo>
                    <a:pt x="84" y="242"/>
                  </a:lnTo>
                  <a:lnTo>
                    <a:pt x="84" y="242"/>
                  </a:lnTo>
                  <a:lnTo>
                    <a:pt x="87" y="236"/>
                  </a:lnTo>
                  <a:lnTo>
                    <a:pt x="87" y="232"/>
                  </a:lnTo>
                  <a:lnTo>
                    <a:pt x="84" y="232"/>
                  </a:lnTo>
                  <a:lnTo>
                    <a:pt x="84" y="232"/>
                  </a:lnTo>
                  <a:lnTo>
                    <a:pt x="91" y="232"/>
                  </a:lnTo>
                  <a:lnTo>
                    <a:pt x="91" y="232"/>
                  </a:lnTo>
                  <a:lnTo>
                    <a:pt x="98" y="222"/>
                  </a:lnTo>
                  <a:lnTo>
                    <a:pt x="104" y="212"/>
                  </a:lnTo>
                  <a:lnTo>
                    <a:pt x="104" y="212"/>
                  </a:lnTo>
                  <a:lnTo>
                    <a:pt x="121" y="232"/>
                  </a:lnTo>
                  <a:lnTo>
                    <a:pt x="121" y="232"/>
                  </a:lnTo>
                  <a:lnTo>
                    <a:pt x="131" y="232"/>
                  </a:lnTo>
                  <a:lnTo>
                    <a:pt x="138" y="229"/>
                  </a:lnTo>
                  <a:lnTo>
                    <a:pt x="145" y="232"/>
                  </a:lnTo>
                  <a:lnTo>
                    <a:pt x="145" y="232"/>
                  </a:lnTo>
                  <a:lnTo>
                    <a:pt x="155" y="232"/>
                  </a:lnTo>
                  <a:lnTo>
                    <a:pt x="161" y="236"/>
                  </a:lnTo>
                  <a:lnTo>
                    <a:pt x="161" y="236"/>
                  </a:lnTo>
                  <a:lnTo>
                    <a:pt x="175" y="242"/>
                  </a:lnTo>
                  <a:lnTo>
                    <a:pt x="175" y="242"/>
                  </a:lnTo>
                  <a:lnTo>
                    <a:pt x="182" y="229"/>
                  </a:lnTo>
                  <a:lnTo>
                    <a:pt x="182" y="229"/>
                  </a:lnTo>
                  <a:lnTo>
                    <a:pt x="188" y="219"/>
                  </a:lnTo>
                  <a:lnTo>
                    <a:pt x="188" y="219"/>
                  </a:lnTo>
                  <a:lnTo>
                    <a:pt x="192" y="209"/>
                  </a:lnTo>
                  <a:lnTo>
                    <a:pt x="192" y="209"/>
                  </a:lnTo>
                  <a:lnTo>
                    <a:pt x="205" y="199"/>
                  </a:lnTo>
                  <a:lnTo>
                    <a:pt x="212" y="192"/>
                  </a:lnTo>
                  <a:lnTo>
                    <a:pt x="215" y="189"/>
                  </a:lnTo>
                  <a:lnTo>
                    <a:pt x="215" y="189"/>
                  </a:lnTo>
                  <a:lnTo>
                    <a:pt x="212" y="172"/>
                  </a:lnTo>
                  <a:lnTo>
                    <a:pt x="212" y="172"/>
                  </a:lnTo>
                  <a:lnTo>
                    <a:pt x="215" y="162"/>
                  </a:lnTo>
                  <a:lnTo>
                    <a:pt x="219" y="158"/>
                  </a:lnTo>
                  <a:lnTo>
                    <a:pt x="219" y="158"/>
                  </a:lnTo>
                  <a:lnTo>
                    <a:pt x="222" y="128"/>
                  </a:lnTo>
                  <a:lnTo>
                    <a:pt x="222" y="128"/>
                  </a:lnTo>
                  <a:lnTo>
                    <a:pt x="222" y="118"/>
                  </a:lnTo>
                  <a:lnTo>
                    <a:pt x="222" y="118"/>
                  </a:lnTo>
                  <a:lnTo>
                    <a:pt x="232" y="118"/>
                  </a:lnTo>
                  <a:lnTo>
                    <a:pt x="232" y="111"/>
                  </a:lnTo>
                  <a:lnTo>
                    <a:pt x="232" y="111"/>
                  </a:lnTo>
                  <a:lnTo>
                    <a:pt x="232" y="111"/>
                  </a:lnTo>
                  <a:lnTo>
                    <a:pt x="232" y="108"/>
                  </a:lnTo>
                  <a:lnTo>
                    <a:pt x="232" y="108"/>
                  </a:lnTo>
                  <a:close/>
                </a:path>
              </a:pathLst>
            </a:custGeom>
            <a:solidFill>
              <a:srgbClr val="C0C0C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EYInterstate" pitchFamily="2" charset="0"/>
                <a:cs typeface="Arial" charset="0"/>
              </a:endParaRPr>
            </a:p>
          </p:txBody>
        </p:sp>
        <p:sp>
          <p:nvSpPr>
            <p:cNvPr id="40" name="Freeform 55"/>
            <p:cNvSpPr>
              <a:spLocks/>
            </p:cNvSpPr>
            <p:nvPr/>
          </p:nvSpPr>
          <p:spPr bwMode="auto">
            <a:xfrm>
              <a:off x="3166" y="2727"/>
              <a:ext cx="338" cy="211"/>
            </a:xfrm>
            <a:custGeom>
              <a:avLst/>
              <a:gdLst/>
              <a:ahLst/>
              <a:cxnLst>
                <a:cxn ang="0">
                  <a:pos x="326" y="40"/>
                </a:cxn>
                <a:cxn ang="0">
                  <a:pos x="312" y="40"/>
                </a:cxn>
                <a:cxn ang="0">
                  <a:pos x="306" y="27"/>
                </a:cxn>
                <a:cxn ang="0">
                  <a:pos x="296" y="17"/>
                </a:cxn>
                <a:cxn ang="0">
                  <a:pos x="285" y="13"/>
                </a:cxn>
                <a:cxn ang="0">
                  <a:pos x="279" y="20"/>
                </a:cxn>
                <a:cxn ang="0">
                  <a:pos x="265" y="13"/>
                </a:cxn>
                <a:cxn ang="0">
                  <a:pos x="252" y="3"/>
                </a:cxn>
                <a:cxn ang="0">
                  <a:pos x="235" y="7"/>
                </a:cxn>
                <a:cxn ang="0">
                  <a:pos x="218" y="3"/>
                </a:cxn>
                <a:cxn ang="0">
                  <a:pos x="205" y="17"/>
                </a:cxn>
                <a:cxn ang="0">
                  <a:pos x="191" y="27"/>
                </a:cxn>
                <a:cxn ang="0">
                  <a:pos x="181" y="37"/>
                </a:cxn>
                <a:cxn ang="0">
                  <a:pos x="168" y="34"/>
                </a:cxn>
                <a:cxn ang="0">
                  <a:pos x="151" y="40"/>
                </a:cxn>
                <a:cxn ang="0">
                  <a:pos x="144" y="47"/>
                </a:cxn>
                <a:cxn ang="0">
                  <a:pos x="131" y="50"/>
                </a:cxn>
                <a:cxn ang="0">
                  <a:pos x="124" y="60"/>
                </a:cxn>
                <a:cxn ang="0">
                  <a:pos x="128" y="70"/>
                </a:cxn>
                <a:cxn ang="0">
                  <a:pos x="114" y="74"/>
                </a:cxn>
                <a:cxn ang="0">
                  <a:pos x="94" y="74"/>
                </a:cxn>
                <a:cxn ang="0">
                  <a:pos x="77" y="74"/>
                </a:cxn>
                <a:cxn ang="0">
                  <a:pos x="64" y="60"/>
                </a:cxn>
                <a:cxn ang="0">
                  <a:pos x="50" y="64"/>
                </a:cxn>
                <a:cxn ang="0">
                  <a:pos x="47" y="77"/>
                </a:cxn>
                <a:cxn ang="0">
                  <a:pos x="50" y="87"/>
                </a:cxn>
                <a:cxn ang="0">
                  <a:pos x="37" y="87"/>
                </a:cxn>
                <a:cxn ang="0">
                  <a:pos x="30" y="84"/>
                </a:cxn>
                <a:cxn ang="0">
                  <a:pos x="13" y="87"/>
                </a:cxn>
                <a:cxn ang="0">
                  <a:pos x="20" y="94"/>
                </a:cxn>
                <a:cxn ang="0">
                  <a:pos x="13" y="104"/>
                </a:cxn>
                <a:cxn ang="0">
                  <a:pos x="13" y="111"/>
                </a:cxn>
                <a:cxn ang="0">
                  <a:pos x="13" y="124"/>
                </a:cxn>
                <a:cxn ang="0">
                  <a:pos x="10" y="134"/>
                </a:cxn>
                <a:cxn ang="0">
                  <a:pos x="0" y="144"/>
                </a:cxn>
                <a:cxn ang="0">
                  <a:pos x="10" y="148"/>
                </a:cxn>
                <a:cxn ang="0">
                  <a:pos x="10" y="161"/>
                </a:cxn>
                <a:cxn ang="0">
                  <a:pos x="17" y="171"/>
                </a:cxn>
                <a:cxn ang="0">
                  <a:pos x="33" y="185"/>
                </a:cxn>
                <a:cxn ang="0">
                  <a:pos x="47" y="198"/>
                </a:cxn>
                <a:cxn ang="0">
                  <a:pos x="57" y="208"/>
                </a:cxn>
                <a:cxn ang="0">
                  <a:pos x="80" y="218"/>
                </a:cxn>
                <a:cxn ang="0">
                  <a:pos x="94" y="225"/>
                </a:cxn>
                <a:cxn ang="0">
                  <a:pos x="107" y="225"/>
                </a:cxn>
                <a:cxn ang="0">
                  <a:pos x="128" y="215"/>
                </a:cxn>
                <a:cxn ang="0">
                  <a:pos x="138" y="208"/>
                </a:cxn>
                <a:cxn ang="0">
                  <a:pos x="148" y="205"/>
                </a:cxn>
                <a:cxn ang="0">
                  <a:pos x="161" y="191"/>
                </a:cxn>
                <a:cxn ang="0">
                  <a:pos x="175" y="188"/>
                </a:cxn>
                <a:cxn ang="0">
                  <a:pos x="188" y="188"/>
                </a:cxn>
                <a:cxn ang="0">
                  <a:pos x="212" y="185"/>
                </a:cxn>
                <a:cxn ang="0">
                  <a:pos x="232" y="171"/>
                </a:cxn>
                <a:cxn ang="0">
                  <a:pos x="242" y="165"/>
                </a:cxn>
                <a:cxn ang="0">
                  <a:pos x="252" y="155"/>
                </a:cxn>
                <a:cxn ang="0">
                  <a:pos x="249" y="141"/>
                </a:cxn>
                <a:cxn ang="0">
                  <a:pos x="259" y="131"/>
                </a:cxn>
                <a:cxn ang="0">
                  <a:pos x="269" y="118"/>
                </a:cxn>
                <a:cxn ang="0">
                  <a:pos x="279" y="97"/>
                </a:cxn>
                <a:cxn ang="0">
                  <a:pos x="282" y="94"/>
                </a:cxn>
                <a:cxn ang="0">
                  <a:pos x="299" y="77"/>
                </a:cxn>
                <a:cxn ang="0">
                  <a:pos x="322" y="64"/>
                </a:cxn>
                <a:cxn ang="0">
                  <a:pos x="329" y="54"/>
                </a:cxn>
                <a:cxn ang="0">
                  <a:pos x="333" y="40"/>
                </a:cxn>
              </a:cxnLst>
              <a:rect l="0" t="0" r="r" b="b"/>
              <a:pathLst>
                <a:path w="336" h="225">
                  <a:moveTo>
                    <a:pt x="333" y="40"/>
                  </a:moveTo>
                  <a:lnTo>
                    <a:pt x="333" y="40"/>
                  </a:lnTo>
                  <a:lnTo>
                    <a:pt x="326" y="40"/>
                  </a:lnTo>
                  <a:lnTo>
                    <a:pt x="326" y="40"/>
                  </a:lnTo>
                  <a:lnTo>
                    <a:pt x="326" y="40"/>
                  </a:lnTo>
                  <a:lnTo>
                    <a:pt x="322" y="40"/>
                  </a:lnTo>
                  <a:lnTo>
                    <a:pt x="319" y="44"/>
                  </a:lnTo>
                  <a:lnTo>
                    <a:pt x="316" y="40"/>
                  </a:lnTo>
                  <a:lnTo>
                    <a:pt x="316" y="40"/>
                  </a:lnTo>
                  <a:lnTo>
                    <a:pt x="312" y="40"/>
                  </a:lnTo>
                  <a:lnTo>
                    <a:pt x="312" y="34"/>
                  </a:lnTo>
                  <a:lnTo>
                    <a:pt x="312" y="34"/>
                  </a:lnTo>
                  <a:lnTo>
                    <a:pt x="312" y="30"/>
                  </a:lnTo>
                  <a:lnTo>
                    <a:pt x="309" y="27"/>
                  </a:lnTo>
                  <a:lnTo>
                    <a:pt x="306" y="27"/>
                  </a:lnTo>
                  <a:lnTo>
                    <a:pt x="302" y="23"/>
                  </a:lnTo>
                  <a:lnTo>
                    <a:pt x="302" y="23"/>
                  </a:lnTo>
                  <a:lnTo>
                    <a:pt x="302" y="20"/>
                  </a:lnTo>
                  <a:lnTo>
                    <a:pt x="299" y="17"/>
                  </a:lnTo>
                  <a:lnTo>
                    <a:pt x="296" y="17"/>
                  </a:lnTo>
                  <a:lnTo>
                    <a:pt x="296" y="17"/>
                  </a:lnTo>
                  <a:lnTo>
                    <a:pt x="292" y="13"/>
                  </a:lnTo>
                  <a:lnTo>
                    <a:pt x="289" y="13"/>
                  </a:lnTo>
                  <a:lnTo>
                    <a:pt x="289" y="13"/>
                  </a:lnTo>
                  <a:lnTo>
                    <a:pt x="285" y="13"/>
                  </a:lnTo>
                  <a:lnTo>
                    <a:pt x="285" y="17"/>
                  </a:lnTo>
                  <a:lnTo>
                    <a:pt x="285" y="17"/>
                  </a:lnTo>
                  <a:lnTo>
                    <a:pt x="279" y="17"/>
                  </a:lnTo>
                  <a:lnTo>
                    <a:pt x="279" y="17"/>
                  </a:lnTo>
                  <a:lnTo>
                    <a:pt x="279" y="20"/>
                  </a:lnTo>
                  <a:lnTo>
                    <a:pt x="272" y="20"/>
                  </a:lnTo>
                  <a:lnTo>
                    <a:pt x="272" y="20"/>
                  </a:lnTo>
                  <a:lnTo>
                    <a:pt x="265" y="20"/>
                  </a:lnTo>
                  <a:lnTo>
                    <a:pt x="265" y="13"/>
                  </a:lnTo>
                  <a:lnTo>
                    <a:pt x="265" y="13"/>
                  </a:lnTo>
                  <a:lnTo>
                    <a:pt x="262" y="7"/>
                  </a:lnTo>
                  <a:lnTo>
                    <a:pt x="262" y="7"/>
                  </a:lnTo>
                  <a:lnTo>
                    <a:pt x="262" y="3"/>
                  </a:lnTo>
                  <a:lnTo>
                    <a:pt x="262" y="3"/>
                  </a:lnTo>
                  <a:lnTo>
                    <a:pt x="252" y="3"/>
                  </a:lnTo>
                  <a:lnTo>
                    <a:pt x="249" y="7"/>
                  </a:lnTo>
                  <a:lnTo>
                    <a:pt x="249" y="7"/>
                  </a:lnTo>
                  <a:lnTo>
                    <a:pt x="238" y="7"/>
                  </a:lnTo>
                  <a:lnTo>
                    <a:pt x="238" y="7"/>
                  </a:lnTo>
                  <a:lnTo>
                    <a:pt x="235" y="7"/>
                  </a:lnTo>
                  <a:lnTo>
                    <a:pt x="228" y="3"/>
                  </a:lnTo>
                  <a:lnTo>
                    <a:pt x="228" y="3"/>
                  </a:lnTo>
                  <a:lnTo>
                    <a:pt x="222" y="0"/>
                  </a:lnTo>
                  <a:lnTo>
                    <a:pt x="222" y="0"/>
                  </a:lnTo>
                  <a:lnTo>
                    <a:pt x="218" y="3"/>
                  </a:lnTo>
                  <a:lnTo>
                    <a:pt x="212" y="3"/>
                  </a:lnTo>
                  <a:lnTo>
                    <a:pt x="212" y="3"/>
                  </a:lnTo>
                  <a:lnTo>
                    <a:pt x="208" y="10"/>
                  </a:lnTo>
                  <a:lnTo>
                    <a:pt x="205" y="17"/>
                  </a:lnTo>
                  <a:lnTo>
                    <a:pt x="205" y="17"/>
                  </a:lnTo>
                  <a:lnTo>
                    <a:pt x="201" y="20"/>
                  </a:lnTo>
                  <a:lnTo>
                    <a:pt x="198" y="20"/>
                  </a:lnTo>
                  <a:lnTo>
                    <a:pt x="198" y="20"/>
                  </a:lnTo>
                  <a:lnTo>
                    <a:pt x="191" y="27"/>
                  </a:lnTo>
                  <a:lnTo>
                    <a:pt x="191" y="27"/>
                  </a:lnTo>
                  <a:lnTo>
                    <a:pt x="185" y="34"/>
                  </a:lnTo>
                  <a:lnTo>
                    <a:pt x="185" y="34"/>
                  </a:lnTo>
                  <a:lnTo>
                    <a:pt x="181" y="37"/>
                  </a:lnTo>
                  <a:lnTo>
                    <a:pt x="181" y="37"/>
                  </a:lnTo>
                  <a:lnTo>
                    <a:pt x="181" y="37"/>
                  </a:lnTo>
                  <a:lnTo>
                    <a:pt x="178" y="40"/>
                  </a:lnTo>
                  <a:lnTo>
                    <a:pt x="178" y="40"/>
                  </a:lnTo>
                  <a:lnTo>
                    <a:pt x="175" y="37"/>
                  </a:lnTo>
                  <a:lnTo>
                    <a:pt x="171" y="34"/>
                  </a:lnTo>
                  <a:lnTo>
                    <a:pt x="168" y="34"/>
                  </a:lnTo>
                  <a:lnTo>
                    <a:pt x="164" y="34"/>
                  </a:lnTo>
                  <a:lnTo>
                    <a:pt x="164" y="34"/>
                  </a:lnTo>
                  <a:lnTo>
                    <a:pt x="154" y="37"/>
                  </a:lnTo>
                  <a:lnTo>
                    <a:pt x="154" y="37"/>
                  </a:lnTo>
                  <a:lnTo>
                    <a:pt x="151" y="40"/>
                  </a:lnTo>
                  <a:lnTo>
                    <a:pt x="151" y="44"/>
                  </a:lnTo>
                  <a:lnTo>
                    <a:pt x="151" y="44"/>
                  </a:lnTo>
                  <a:lnTo>
                    <a:pt x="148" y="47"/>
                  </a:lnTo>
                  <a:lnTo>
                    <a:pt x="144" y="47"/>
                  </a:lnTo>
                  <a:lnTo>
                    <a:pt x="144" y="47"/>
                  </a:lnTo>
                  <a:lnTo>
                    <a:pt x="141" y="47"/>
                  </a:lnTo>
                  <a:lnTo>
                    <a:pt x="138" y="47"/>
                  </a:lnTo>
                  <a:lnTo>
                    <a:pt x="138" y="47"/>
                  </a:lnTo>
                  <a:lnTo>
                    <a:pt x="131" y="50"/>
                  </a:lnTo>
                  <a:lnTo>
                    <a:pt x="131" y="50"/>
                  </a:lnTo>
                  <a:lnTo>
                    <a:pt x="124" y="54"/>
                  </a:lnTo>
                  <a:lnTo>
                    <a:pt x="124" y="54"/>
                  </a:lnTo>
                  <a:lnTo>
                    <a:pt x="124" y="57"/>
                  </a:lnTo>
                  <a:lnTo>
                    <a:pt x="124" y="60"/>
                  </a:lnTo>
                  <a:lnTo>
                    <a:pt x="124" y="60"/>
                  </a:lnTo>
                  <a:lnTo>
                    <a:pt x="124" y="67"/>
                  </a:lnTo>
                  <a:lnTo>
                    <a:pt x="124" y="67"/>
                  </a:lnTo>
                  <a:lnTo>
                    <a:pt x="128" y="70"/>
                  </a:lnTo>
                  <a:lnTo>
                    <a:pt x="128" y="70"/>
                  </a:lnTo>
                  <a:lnTo>
                    <a:pt x="128" y="70"/>
                  </a:lnTo>
                  <a:lnTo>
                    <a:pt x="117" y="70"/>
                  </a:lnTo>
                  <a:lnTo>
                    <a:pt x="117" y="70"/>
                  </a:lnTo>
                  <a:lnTo>
                    <a:pt x="114" y="74"/>
                  </a:lnTo>
                  <a:lnTo>
                    <a:pt x="114" y="74"/>
                  </a:lnTo>
                  <a:lnTo>
                    <a:pt x="114" y="74"/>
                  </a:lnTo>
                  <a:lnTo>
                    <a:pt x="104" y="74"/>
                  </a:lnTo>
                  <a:lnTo>
                    <a:pt x="104" y="74"/>
                  </a:lnTo>
                  <a:lnTo>
                    <a:pt x="97" y="74"/>
                  </a:lnTo>
                  <a:lnTo>
                    <a:pt x="94" y="74"/>
                  </a:lnTo>
                  <a:lnTo>
                    <a:pt x="94" y="74"/>
                  </a:lnTo>
                  <a:lnTo>
                    <a:pt x="91" y="74"/>
                  </a:lnTo>
                  <a:lnTo>
                    <a:pt x="84" y="74"/>
                  </a:lnTo>
                  <a:lnTo>
                    <a:pt x="84" y="74"/>
                  </a:lnTo>
                  <a:lnTo>
                    <a:pt x="77" y="74"/>
                  </a:lnTo>
                  <a:lnTo>
                    <a:pt x="77" y="74"/>
                  </a:lnTo>
                  <a:lnTo>
                    <a:pt x="67" y="67"/>
                  </a:lnTo>
                  <a:lnTo>
                    <a:pt x="67" y="67"/>
                  </a:lnTo>
                  <a:lnTo>
                    <a:pt x="64" y="64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0" y="60"/>
                  </a:lnTo>
                  <a:lnTo>
                    <a:pt x="54" y="60"/>
                  </a:lnTo>
                  <a:lnTo>
                    <a:pt x="54" y="60"/>
                  </a:lnTo>
                  <a:lnTo>
                    <a:pt x="50" y="64"/>
                  </a:lnTo>
                  <a:lnTo>
                    <a:pt x="50" y="64"/>
                  </a:lnTo>
                  <a:lnTo>
                    <a:pt x="47" y="70"/>
                  </a:lnTo>
                  <a:lnTo>
                    <a:pt x="47" y="70"/>
                  </a:lnTo>
                  <a:lnTo>
                    <a:pt x="47" y="74"/>
                  </a:lnTo>
                  <a:lnTo>
                    <a:pt x="47" y="77"/>
                  </a:lnTo>
                  <a:lnTo>
                    <a:pt x="47" y="77"/>
                  </a:lnTo>
                  <a:lnTo>
                    <a:pt x="47" y="77"/>
                  </a:lnTo>
                  <a:lnTo>
                    <a:pt x="47" y="77"/>
                  </a:lnTo>
                  <a:lnTo>
                    <a:pt x="50" y="84"/>
                  </a:lnTo>
                  <a:lnTo>
                    <a:pt x="50" y="87"/>
                  </a:lnTo>
                  <a:lnTo>
                    <a:pt x="50" y="87"/>
                  </a:lnTo>
                  <a:lnTo>
                    <a:pt x="44" y="84"/>
                  </a:lnTo>
                  <a:lnTo>
                    <a:pt x="40" y="84"/>
                  </a:lnTo>
                  <a:lnTo>
                    <a:pt x="40" y="84"/>
                  </a:lnTo>
                  <a:lnTo>
                    <a:pt x="40" y="87"/>
                  </a:lnTo>
                  <a:lnTo>
                    <a:pt x="37" y="87"/>
                  </a:lnTo>
                  <a:lnTo>
                    <a:pt x="37" y="87"/>
                  </a:lnTo>
                  <a:lnTo>
                    <a:pt x="33" y="84"/>
                  </a:lnTo>
                  <a:lnTo>
                    <a:pt x="33" y="84"/>
                  </a:lnTo>
                  <a:lnTo>
                    <a:pt x="30" y="84"/>
                  </a:lnTo>
                  <a:lnTo>
                    <a:pt x="30" y="84"/>
                  </a:lnTo>
                  <a:lnTo>
                    <a:pt x="20" y="84"/>
                  </a:lnTo>
                  <a:lnTo>
                    <a:pt x="20" y="84"/>
                  </a:lnTo>
                  <a:lnTo>
                    <a:pt x="17" y="84"/>
                  </a:lnTo>
                  <a:lnTo>
                    <a:pt x="17" y="84"/>
                  </a:lnTo>
                  <a:lnTo>
                    <a:pt x="13" y="87"/>
                  </a:lnTo>
                  <a:lnTo>
                    <a:pt x="13" y="87"/>
                  </a:lnTo>
                  <a:lnTo>
                    <a:pt x="13" y="91"/>
                  </a:lnTo>
                  <a:lnTo>
                    <a:pt x="13" y="91"/>
                  </a:lnTo>
                  <a:lnTo>
                    <a:pt x="20" y="94"/>
                  </a:lnTo>
                  <a:lnTo>
                    <a:pt x="20" y="94"/>
                  </a:lnTo>
                  <a:lnTo>
                    <a:pt x="20" y="97"/>
                  </a:lnTo>
                  <a:lnTo>
                    <a:pt x="20" y="97"/>
                  </a:lnTo>
                  <a:lnTo>
                    <a:pt x="17" y="101"/>
                  </a:lnTo>
                  <a:lnTo>
                    <a:pt x="17" y="101"/>
                  </a:lnTo>
                  <a:lnTo>
                    <a:pt x="13" y="104"/>
                  </a:lnTo>
                  <a:lnTo>
                    <a:pt x="13" y="104"/>
                  </a:lnTo>
                  <a:lnTo>
                    <a:pt x="13" y="107"/>
                  </a:lnTo>
                  <a:lnTo>
                    <a:pt x="13" y="111"/>
                  </a:lnTo>
                  <a:lnTo>
                    <a:pt x="13" y="111"/>
                  </a:lnTo>
                  <a:lnTo>
                    <a:pt x="13" y="111"/>
                  </a:lnTo>
                  <a:lnTo>
                    <a:pt x="13" y="111"/>
                  </a:lnTo>
                  <a:lnTo>
                    <a:pt x="13" y="118"/>
                  </a:lnTo>
                  <a:lnTo>
                    <a:pt x="13" y="118"/>
                  </a:lnTo>
                  <a:lnTo>
                    <a:pt x="13" y="124"/>
                  </a:lnTo>
                  <a:lnTo>
                    <a:pt x="13" y="124"/>
                  </a:lnTo>
                  <a:lnTo>
                    <a:pt x="13" y="128"/>
                  </a:lnTo>
                  <a:lnTo>
                    <a:pt x="13" y="131"/>
                  </a:lnTo>
                  <a:lnTo>
                    <a:pt x="13" y="131"/>
                  </a:lnTo>
                  <a:lnTo>
                    <a:pt x="10" y="134"/>
                  </a:lnTo>
                  <a:lnTo>
                    <a:pt x="10" y="134"/>
                  </a:lnTo>
                  <a:lnTo>
                    <a:pt x="3" y="138"/>
                  </a:lnTo>
                  <a:lnTo>
                    <a:pt x="3" y="138"/>
                  </a:lnTo>
                  <a:lnTo>
                    <a:pt x="0" y="144"/>
                  </a:lnTo>
                  <a:lnTo>
                    <a:pt x="0" y="144"/>
                  </a:lnTo>
                  <a:lnTo>
                    <a:pt x="0" y="144"/>
                  </a:lnTo>
                  <a:lnTo>
                    <a:pt x="3" y="144"/>
                  </a:lnTo>
                  <a:lnTo>
                    <a:pt x="3" y="144"/>
                  </a:lnTo>
                  <a:lnTo>
                    <a:pt x="10" y="144"/>
                  </a:lnTo>
                  <a:lnTo>
                    <a:pt x="10" y="144"/>
                  </a:lnTo>
                  <a:lnTo>
                    <a:pt x="10" y="148"/>
                  </a:lnTo>
                  <a:lnTo>
                    <a:pt x="7" y="151"/>
                  </a:lnTo>
                  <a:lnTo>
                    <a:pt x="7" y="151"/>
                  </a:lnTo>
                  <a:lnTo>
                    <a:pt x="10" y="155"/>
                  </a:lnTo>
                  <a:lnTo>
                    <a:pt x="10" y="155"/>
                  </a:lnTo>
                  <a:lnTo>
                    <a:pt x="10" y="161"/>
                  </a:lnTo>
                  <a:lnTo>
                    <a:pt x="10" y="161"/>
                  </a:lnTo>
                  <a:lnTo>
                    <a:pt x="13" y="165"/>
                  </a:lnTo>
                  <a:lnTo>
                    <a:pt x="13" y="165"/>
                  </a:lnTo>
                  <a:lnTo>
                    <a:pt x="17" y="168"/>
                  </a:lnTo>
                  <a:lnTo>
                    <a:pt x="17" y="171"/>
                  </a:lnTo>
                  <a:lnTo>
                    <a:pt x="17" y="171"/>
                  </a:lnTo>
                  <a:lnTo>
                    <a:pt x="20" y="175"/>
                  </a:lnTo>
                  <a:lnTo>
                    <a:pt x="23" y="178"/>
                  </a:lnTo>
                  <a:lnTo>
                    <a:pt x="23" y="178"/>
                  </a:lnTo>
                  <a:lnTo>
                    <a:pt x="33" y="185"/>
                  </a:lnTo>
                  <a:lnTo>
                    <a:pt x="33" y="185"/>
                  </a:lnTo>
                  <a:lnTo>
                    <a:pt x="40" y="191"/>
                  </a:lnTo>
                  <a:lnTo>
                    <a:pt x="40" y="191"/>
                  </a:lnTo>
                  <a:lnTo>
                    <a:pt x="44" y="198"/>
                  </a:lnTo>
                  <a:lnTo>
                    <a:pt x="47" y="198"/>
                  </a:lnTo>
                  <a:lnTo>
                    <a:pt x="50" y="202"/>
                  </a:lnTo>
                  <a:lnTo>
                    <a:pt x="50" y="202"/>
                  </a:lnTo>
                  <a:lnTo>
                    <a:pt x="54" y="205"/>
                  </a:lnTo>
                  <a:lnTo>
                    <a:pt x="57" y="208"/>
                  </a:lnTo>
                  <a:lnTo>
                    <a:pt x="57" y="208"/>
                  </a:lnTo>
                  <a:lnTo>
                    <a:pt x="64" y="208"/>
                  </a:lnTo>
                  <a:lnTo>
                    <a:pt x="64" y="208"/>
                  </a:lnTo>
                  <a:lnTo>
                    <a:pt x="74" y="215"/>
                  </a:lnTo>
                  <a:lnTo>
                    <a:pt x="74" y="215"/>
                  </a:lnTo>
                  <a:lnTo>
                    <a:pt x="80" y="218"/>
                  </a:lnTo>
                  <a:lnTo>
                    <a:pt x="80" y="218"/>
                  </a:lnTo>
                  <a:lnTo>
                    <a:pt x="84" y="222"/>
                  </a:lnTo>
                  <a:lnTo>
                    <a:pt x="87" y="222"/>
                  </a:lnTo>
                  <a:lnTo>
                    <a:pt x="91" y="225"/>
                  </a:lnTo>
                  <a:lnTo>
                    <a:pt x="94" y="225"/>
                  </a:lnTo>
                  <a:lnTo>
                    <a:pt x="94" y="225"/>
                  </a:lnTo>
                  <a:lnTo>
                    <a:pt x="101" y="225"/>
                  </a:lnTo>
                  <a:lnTo>
                    <a:pt x="104" y="225"/>
                  </a:lnTo>
                  <a:lnTo>
                    <a:pt x="107" y="225"/>
                  </a:lnTo>
                  <a:lnTo>
                    <a:pt x="107" y="225"/>
                  </a:lnTo>
                  <a:lnTo>
                    <a:pt x="114" y="222"/>
                  </a:lnTo>
                  <a:lnTo>
                    <a:pt x="114" y="222"/>
                  </a:lnTo>
                  <a:lnTo>
                    <a:pt x="121" y="222"/>
                  </a:lnTo>
                  <a:lnTo>
                    <a:pt x="121" y="222"/>
                  </a:lnTo>
                  <a:lnTo>
                    <a:pt x="128" y="215"/>
                  </a:lnTo>
                  <a:lnTo>
                    <a:pt x="128" y="215"/>
                  </a:lnTo>
                  <a:lnTo>
                    <a:pt x="131" y="212"/>
                  </a:lnTo>
                  <a:lnTo>
                    <a:pt x="134" y="212"/>
                  </a:lnTo>
                  <a:lnTo>
                    <a:pt x="134" y="212"/>
                  </a:lnTo>
                  <a:lnTo>
                    <a:pt x="138" y="208"/>
                  </a:lnTo>
                  <a:lnTo>
                    <a:pt x="141" y="205"/>
                  </a:lnTo>
                  <a:lnTo>
                    <a:pt x="141" y="205"/>
                  </a:lnTo>
                  <a:lnTo>
                    <a:pt x="141" y="205"/>
                  </a:lnTo>
                  <a:lnTo>
                    <a:pt x="144" y="205"/>
                  </a:lnTo>
                  <a:lnTo>
                    <a:pt x="148" y="205"/>
                  </a:lnTo>
                  <a:lnTo>
                    <a:pt x="148" y="205"/>
                  </a:lnTo>
                  <a:lnTo>
                    <a:pt x="154" y="198"/>
                  </a:lnTo>
                  <a:lnTo>
                    <a:pt x="154" y="198"/>
                  </a:lnTo>
                  <a:lnTo>
                    <a:pt x="158" y="195"/>
                  </a:lnTo>
                  <a:lnTo>
                    <a:pt x="161" y="191"/>
                  </a:lnTo>
                  <a:lnTo>
                    <a:pt x="161" y="191"/>
                  </a:lnTo>
                  <a:lnTo>
                    <a:pt x="164" y="188"/>
                  </a:lnTo>
                  <a:lnTo>
                    <a:pt x="168" y="188"/>
                  </a:lnTo>
                  <a:lnTo>
                    <a:pt x="168" y="188"/>
                  </a:lnTo>
                  <a:lnTo>
                    <a:pt x="175" y="188"/>
                  </a:lnTo>
                  <a:lnTo>
                    <a:pt x="178" y="188"/>
                  </a:lnTo>
                  <a:lnTo>
                    <a:pt x="178" y="188"/>
                  </a:lnTo>
                  <a:lnTo>
                    <a:pt x="181" y="188"/>
                  </a:lnTo>
                  <a:lnTo>
                    <a:pt x="188" y="188"/>
                  </a:lnTo>
                  <a:lnTo>
                    <a:pt x="188" y="188"/>
                  </a:lnTo>
                  <a:lnTo>
                    <a:pt x="195" y="185"/>
                  </a:lnTo>
                  <a:lnTo>
                    <a:pt x="195" y="185"/>
                  </a:lnTo>
                  <a:lnTo>
                    <a:pt x="205" y="185"/>
                  </a:lnTo>
                  <a:lnTo>
                    <a:pt x="205" y="185"/>
                  </a:lnTo>
                  <a:lnTo>
                    <a:pt x="212" y="185"/>
                  </a:lnTo>
                  <a:lnTo>
                    <a:pt x="215" y="181"/>
                  </a:lnTo>
                  <a:lnTo>
                    <a:pt x="215" y="181"/>
                  </a:lnTo>
                  <a:lnTo>
                    <a:pt x="222" y="181"/>
                  </a:lnTo>
                  <a:lnTo>
                    <a:pt x="228" y="178"/>
                  </a:lnTo>
                  <a:lnTo>
                    <a:pt x="232" y="171"/>
                  </a:lnTo>
                  <a:lnTo>
                    <a:pt x="232" y="171"/>
                  </a:lnTo>
                  <a:lnTo>
                    <a:pt x="232" y="168"/>
                  </a:lnTo>
                  <a:lnTo>
                    <a:pt x="235" y="168"/>
                  </a:lnTo>
                  <a:lnTo>
                    <a:pt x="238" y="168"/>
                  </a:lnTo>
                  <a:lnTo>
                    <a:pt x="242" y="165"/>
                  </a:lnTo>
                  <a:lnTo>
                    <a:pt x="242" y="165"/>
                  </a:lnTo>
                  <a:lnTo>
                    <a:pt x="245" y="158"/>
                  </a:lnTo>
                  <a:lnTo>
                    <a:pt x="245" y="158"/>
                  </a:lnTo>
                  <a:lnTo>
                    <a:pt x="249" y="158"/>
                  </a:lnTo>
                  <a:lnTo>
                    <a:pt x="252" y="155"/>
                  </a:lnTo>
                  <a:lnTo>
                    <a:pt x="252" y="155"/>
                  </a:lnTo>
                  <a:lnTo>
                    <a:pt x="249" y="151"/>
                  </a:lnTo>
                  <a:lnTo>
                    <a:pt x="245" y="148"/>
                  </a:lnTo>
                  <a:lnTo>
                    <a:pt x="245" y="148"/>
                  </a:lnTo>
                  <a:lnTo>
                    <a:pt x="249" y="141"/>
                  </a:lnTo>
                  <a:lnTo>
                    <a:pt x="249" y="141"/>
                  </a:lnTo>
                  <a:lnTo>
                    <a:pt x="249" y="138"/>
                  </a:lnTo>
                  <a:lnTo>
                    <a:pt x="255" y="134"/>
                  </a:lnTo>
                  <a:lnTo>
                    <a:pt x="255" y="134"/>
                  </a:lnTo>
                  <a:lnTo>
                    <a:pt x="259" y="131"/>
                  </a:lnTo>
                  <a:lnTo>
                    <a:pt x="259" y="131"/>
                  </a:lnTo>
                  <a:lnTo>
                    <a:pt x="259" y="128"/>
                  </a:lnTo>
                  <a:lnTo>
                    <a:pt x="259" y="128"/>
                  </a:lnTo>
                  <a:lnTo>
                    <a:pt x="262" y="121"/>
                  </a:lnTo>
                  <a:lnTo>
                    <a:pt x="269" y="118"/>
                  </a:lnTo>
                  <a:lnTo>
                    <a:pt x="269" y="118"/>
                  </a:lnTo>
                  <a:lnTo>
                    <a:pt x="272" y="107"/>
                  </a:lnTo>
                  <a:lnTo>
                    <a:pt x="275" y="101"/>
                  </a:lnTo>
                  <a:lnTo>
                    <a:pt x="275" y="101"/>
                  </a:lnTo>
                  <a:lnTo>
                    <a:pt x="279" y="97"/>
                  </a:lnTo>
                  <a:lnTo>
                    <a:pt x="279" y="97"/>
                  </a:lnTo>
                  <a:lnTo>
                    <a:pt x="282" y="97"/>
                  </a:lnTo>
                  <a:lnTo>
                    <a:pt x="282" y="97"/>
                  </a:lnTo>
                  <a:lnTo>
                    <a:pt x="285" y="97"/>
                  </a:lnTo>
                  <a:lnTo>
                    <a:pt x="282" y="94"/>
                  </a:lnTo>
                  <a:lnTo>
                    <a:pt x="282" y="94"/>
                  </a:lnTo>
                  <a:lnTo>
                    <a:pt x="282" y="91"/>
                  </a:lnTo>
                  <a:lnTo>
                    <a:pt x="282" y="91"/>
                  </a:lnTo>
                  <a:lnTo>
                    <a:pt x="299" y="77"/>
                  </a:lnTo>
                  <a:lnTo>
                    <a:pt x="299" y="77"/>
                  </a:lnTo>
                  <a:lnTo>
                    <a:pt x="306" y="70"/>
                  </a:lnTo>
                  <a:lnTo>
                    <a:pt x="312" y="67"/>
                  </a:lnTo>
                  <a:lnTo>
                    <a:pt x="319" y="67"/>
                  </a:lnTo>
                  <a:lnTo>
                    <a:pt x="319" y="67"/>
                  </a:lnTo>
                  <a:lnTo>
                    <a:pt x="322" y="64"/>
                  </a:lnTo>
                  <a:lnTo>
                    <a:pt x="322" y="64"/>
                  </a:lnTo>
                  <a:lnTo>
                    <a:pt x="322" y="60"/>
                  </a:lnTo>
                  <a:lnTo>
                    <a:pt x="326" y="57"/>
                  </a:lnTo>
                  <a:lnTo>
                    <a:pt x="326" y="57"/>
                  </a:lnTo>
                  <a:lnTo>
                    <a:pt x="329" y="54"/>
                  </a:lnTo>
                  <a:lnTo>
                    <a:pt x="333" y="50"/>
                  </a:lnTo>
                  <a:lnTo>
                    <a:pt x="336" y="50"/>
                  </a:lnTo>
                  <a:lnTo>
                    <a:pt x="336" y="50"/>
                  </a:lnTo>
                  <a:lnTo>
                    <a:pt x="336" y="44"/>
                  </a:lnTo>
                  <a:lnTo>
                    <a:pt x="333" y="40"/>
                  </a:lnTo>
                  <a:lnTo>
                    <a:pt x="333" y="40"/>
                  </a:lnTo>
                  <a:close/>
                </a:path>
              </a:pathLst>
            </a:custGeom>
            <a:solidFill>
              <a:srgbClr val="C0C0C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EYInterstate" pitchFamily="2" charset="0"/>
                <a:cs typeface="Arial" charset="0"/>
              </a:endParaRPr>
            </a:p>
          </p:txBody>
        </p:sp>
        <p:sp>
          <p:nvSpPr>
            <p:cNvPr id="41" name="Freeform 56"/>
            <p:cNvSpPr>
              <a:spLocks noEditPoints="1"/>
            </p:cNvSpPr>
            <p:nvPr/>
          </p:nvSpPr>
          <p:spPr bwMode="auto">
            <a:xfrm>
              <a:off x="3354" y="3202"/>
              <a:ext cx="473" cy="488"/>
            </a:xfrm>
            <a:custGeom>
              <a:avLst/>
              <a:gdLst/>
              <a:ahLst/>
              <a:cxnLst>
                <a:cxn ang="0">
                  <a:pos x="212" y="249"/>
                </a:cxn>
                <a:cxn ang="0">
                  <a:pos x="198" y="263"/>
                </a:cxn>
                <a:cxn ang="0">
                  <a:pos x="161" y="229"/>
                </a:cxn>
                <a:cxn ang="0">
                  <a:pos x="178" y="209"/>
                </a:cxn>
                <a:cxn ang="0">
                  <a:pos x="145" y="111"/>
                </a:cxn>
                <a:cxn ang="0">
                  <a:pos x="195" y="158"/>
                </a:cxn>
                <a:cxn ang="0">
                  <a:pos x="202" y="128"/>
                </a:cxn>
                <a:cxn ang="0">
                  <a:pos x="205" y="115"/>
                </a:cxn>
                <a:cxn ang="0">
                  <a:pos x="252" y="81"/>
                </a:cxn>
                <a:cxn ang="0">
                  <a:pos x="356" y="14"/>
                </a:cxn>
                <a:cxn ang="0">
                  <a:pos x="276" y="27"/>
                </a:cxn>
                <a:cxn ang="0">
                  <a:pos x="215" y="27"/>
                </a:cxn>
                <a:cxn ang="0">
                  <a:pos x="168" y="44"/>
                </a:cxn>
                <a:cxn ang="0">
                  <a:pos x="131" y="51"/>
                </a:cxn>
                <a:cxn ang="0">
                  <a:pos x="104" y="71"/>
                </a:cxn>
                <a:cxn ang="0">
                  <a:pos x="64" y="78"/>
                </a:cxn>
                <a:cxn ang="0">
                  <a:pos x="47" y="115"/>
                </a:cxn>
                <a:cxn ang="0">
                  <a:pos x="24" y="145"/>
                </a:cxn>
                <a:cxn ang="0">
                  <a:pos x="17" y="162"/>
                </a:cxn>
                <a:cxn ang="0">
                  <a:pos x="20" y="192"/>
                </a:cxn>
                <a:cxn ang="0">
                  <a:pos x="34" y="226"/>
                </a:cxn>
                <a:cxn ang="0">
                  <a:pos x="50" y="242"/>
                </a:cxn>
                <a:cxn ang="0">
                  <a:pos x="91" y="266"/>
                </a:cxn>
                <a:cxn ang="0">
                  <a:pos x="91" y="370"/>
                </a:cxn>
                <a:cxn ang="0">
                  <a:pos x="128" y="417"/>
                </a:cxn>
                <a:cxn ang="0">
                  <a:pos x="165" y="414"/>
                </a:cxn>
                <a:cxn ang="0">
                  <a:pos x="168" y="343"/>
                </a:cxn>
                <a:cxn ang="0">
                  <a:pos x="202" y="303"/>
                </a:cxn>
                <a:cxn ang="0">
                  <a:pos x="222" y="286"/>
                </a:cxn>
                <a:cxn ang="0">
                  <a:pos x="440" y="410"/>
                </a:cxn>
                <a:cxn ang="0">
                  <a:pos x="471" y="390"/>
                </a:cxn>
                <a:cxn ang="0">
                  <a:pos x="279" y="316"/>
                </a:cxn>
                <a:cxn ang="0">
                  <a:pos x="242" y="101"/>
                </a:cxn>
                <a:cxn ang="0">
                  <a:pos x="363" y="310"/>
                </a:cxn>
                <a:cxn ang="0">
                  <a:pos x="269" y="508"/>
                </a:cxn>
                <a:cxn ang="0">
                  <a:pos x="363" y="488"/>
                </a:cxn>
                <a:cxn ang="0">
                  <a:pos x="302" y="484"/>
                </a:cxn>
                <a:cxn ang="0">
                  <a:pos x="229" y="471"/>
                </a:cxn>
                <a:cxn ang="0">
                  <a:pos x="413" y="464"/>
                </a:cxn>
                <a:cxn ang="0">
                  <a:pos x="302" y="414"/>
                </a:cxn>
                <a:cxn ang="0">
                  <a:pos x="286" y="394"/>
                </a:cxn>
                <a:cxn ang="0">
                  <a:pos x="296" y="383"/>
                </a:cxn>
                <a:cxn ang="0">
                  <a:pos x="252" y="394"/>
                </a:cxn>
                <a:cxn ang="0">
                  <a:pos x="316" y="373"/>
                </a:cxn>
                <a:cxn ang="0">
                  <a:pos x="403" y="367"/>
                </a:cxn>
                <a:cxn ang="0">
                  <a:pos x="266" y="363"/>
                </a:cxn>
                <a:cxn ang="0">
                  <a:pos x="296" y="363"/>
                </a:cxn>
                <a:cxn ang="0">
                  <a:pos x="299" y="367"/>
                </a:cxn>
                <a:cxn ang="0">
                  <a:pos x="292" y="330"/>
                </a:cxn>
                <a:cxn ang="0">
                  <a:pos x="272" y="336"/>
                </a:cxn>
                <a:cxn ang="0">
                  <a:pos x="346" y="310"/>
                </a:cxn>
                <a:cxn ang="0">
                  <a:pos x="346" y="310"/>
                </a:cxn>
                <a:cxn ang="0">
                  <a:pos x="134" y="276"/>
                </a:cxn>
                <a:cxn ang="0">
                  <a:pos x="108" y="279"/>
                </a:cxn>
                <a:cxn ang="0">
                  <a:pos x="17" y="276"/>
                </a:cxn>
                <a:cxn ang="0">
                  <a:pos x="302" y="246"/>
                </a:cxn>
                <a:cxn ang="0">
                  <a:pos x="329" y="263"/>
                </a:cxn>
                <a:cxn ang="0">
                  <a:pos x="292" y="246"/>
                </a:cxn>
                <a:cxn ang="0">
                  <a:pos x="208" y="209"/>
                </a:cxn>
                <a:cxn ang="0">
                  <a:pos x="329" y="189"/>
                </a:cxn>
                <a:cxn ang="0">
                  <a:pos x="356" y="209"/>
                </a:cxn>
                <a:cxn ang="0">
                  <a:pos x="269" y="178"/>
                </a:cxn>
                <a:cxn ang="0">
                  <a:pos x="292" y="101"/>
                </a:cxn>
              </a:cxnLst>
              <a:rect l="0" t="0" r="r" b="b"/>
              <a:pathLst>
                <a:path w="471" h="521">
                  <a:moveTo>
                    <a:pt x="225" y="279"/>
                  </a:moveTo>
                  <a:lnTo>
                    <a:pt x="225" y="286"/>
                  </a:lnTo>
                  <a:lnTo>
                    <a:pt x="225" y="286"/>
                  </a:lnTo>
                  <a:lnTo>
                    <a:pt x="229" y="289"/>
                  </a:lnTo>
                  <a:lnTo>
                    <a:pt x="229" y="289"/>
                  </a:lnTo>
                  <a:lnTo>
                    <a:pt x="229" y="289"/>
                  </a:lnTo>
                  <a:lnTo>
                    <a:pt x="239" y="296"/>
                  </a:lnTo>
                  <a:lnTo>
                    <a:pt x="255" y="296"/>
                  </a:lnTo>
                  <a:lnTo>
                    <a:pt x="255" y="296"/>
                  </a:lnTo>
                  <a:lnTo>
                    <a:pt x="255" y="286"/>
                  </a:lnTo>
                  <a:lnTo>
                    <a:pt x="255" y="286"/>
                  </a:lnTo>
                  <a:lnTo>
                    <a:pt x="252" y="283"/>
                  </a:lnTo>
                  <a:lnTo>
                    <a:pt x="252" y="283"/>
                  </a:lnTo>
                  <a:lnTo>
                    <a:pt x="242" y="276"/>
                  </a:lnTo>
                  <a:lnTo>
                    <a:pt x="235" y="269"/>
                  </a:lnTo>
                  <a:lnTo>
                    <a:pt x="229" y="246"/>
                  </a:lnTo>
                  <a:lnTo>
                    <a:pt x="229" y="246"/>
                  </a:lnTo>
                  <a:lnTo>
                    <a:pt x="212" y="249"/>
                  </a:lnTo>
                  <a:lnTo>
                    <a:pt x="198" y="246"/>
                  </a:lnTo>
                  <a:lnTo>
                    <a:pt x="188" y="236"/>
                  </a:lnTo>
                  <a:lnTo>
                    <a:pt x="181" y="222"/>
                  </a:lnTo>
                  <a:lnTo>
                    <a:pt x="181" y="222"/>
                  </a:lnTo>
                  <a:lnTo>
                    <a:pt x="168" y="226"/>
                  </a:lnTo>
                  <a:lnTo>
                    <a:pt x="165" y="229"/>
                  </a:lnTo>
                  <a:lnTo>
                    <a:pt x="165" y="236"/>
                  </a:lnTo>
                  <a:lnTo>
                    <a:pt x="158" y="239"/>
                  </a:lnTo>
                  <a:lnTo>
                    <a:pt x="161" y="239"/>
                  </a:lnTo>
                  <a:lnTo>
                    <a:pt x="161" y="239"/>
                  </a:lnTo>
                  <a:lnTo>
                    <a:pt x="175" y="242"/>
                  </a:lnTo>
                  <a:lnTo>
                    <a:pt x="188" y="249"/>
                  </a:lnTo>
                  <a:lnTo>
                    <a:pt x="188" y="249"/>
                  </a:lnTo>
                  <a:lnTo>
                    <a:pt x="192" y="256"/>
                  </a:lnTo>
                  <a:lnTo>
                    <a:pt x="195" y="256"/>
                  </a:lnTo>
                  <a:lnTo>
                    <a:pt x="195" y="256"/>
                  </a:lnTo>
                  <a:lnTo>
                    <a:pt x="198" y="263"/>
                  </a:lnTo>
                  <a:lnTo>
                    <a:pt x="198" y="263"/>
                  </a:lnTo>
                  <a:lnTo>
                    <a:pt x="195" y="266"/>
                  </a:lnTo>
                  <a:lnTo>
                    <a:pt x="195" y="266"/>
                  </a:lnTo>
                  <a:lnTo>
                    <a:pt x="181" y="256"/>
                  </a:lnTo>
                  <a:lnTo>
                    <a:pt x="181" y="252"/>
                  </a:lnTo>
                  <a:lnTo>
                    <a:pt x="181" y="252"/>
                  </a:lnTo>
                  <a:lnTo>
                    <a:pt x="171" y="249"/>
                  </a:lnTo>
                  <a:lnTo>
                    <a:pt x="161" y="246"/>
                  </a:lnTo>
                  <a:lnTo>
                    <a:pt x="161" y="246"/>
                  </a:lnTo>
                  <a:lnTo>
                    <a:pt x="155" y="242"/>
                  </a:lnTo>
                  <a:lnTo>
                    <a:pt x="155" y="242"/>
                  </a:lnTo>
                  <a:lnTo>
                    <a:pt x="141" y="239"/>
                  </a:lnTo>
                  <a:lnTo>
                    <a:pt x="141" y="239"/>
                  </a:lnTo>
                  <a:lnTo>
                    <a:pt x="141" y="236"/>
                  </a:lnTo>
                  <a:lnTo>
                    <a:pt x="145" y="236"/>
                  </a:lnTo>
                  <a:lnTo>
                    <a:pt x="145" y="236"/>
                  </a:lnTo>
                  <a:lnTo>
                    <a:pt x="155" y="236"/>
                  </a:lnTo>
                  <a:lnTo>
                    <a:pt x="158" y="232"/>
                  </a:lnTo>
                  <a:lnTo>
                    <a:pt x="161" y="229"/>
                  </a:lnTo>
                  <a:lnTo>
                    <a:pt x="161" y="229"/>
                  </a:lnTo>
                  <a:lnTo>
                    <a:pt x="161" y="226"/>
                  </a:lnTo>
                  <a:lnTo>
                    <a:pt x="165" y="222"/>
                  </a:lnTo>
                  <a:lnTo>
                    <a:pt x="165" y="222"/>
                  </a:lnTo>
                  <a:lnTo>
                    <a:pt x="158" y="215"/>
                  </a:lnTo>
                  <a:lnTo>
                    <a:pt x="155" y="209"/>
                  </a:lnTo>
                  <a:lnTo>
                    <a:pt x="155" y="209"/>
                  </a:lnTo>
                  <a:lnTo>
                    <a:pt x="155" y="205"/>
                  </a:lnTo>
                  <a:lnTo>
                    <a:pt x="155" y="205"/>
                  </a:lnTo>
                  <a:lnTo>
                    <a:pt x="155" y="205"/>
                  </a:lnTo>
                  <a:lnTo>
                    <a:pt x="168" y="205"/>
                  </a:lnTo>
                  <a:lnTo>
                    <a:pt x="171" y="219"/>
                  </a:lnTo>
                  <a:lnTo>
                    <a:pt x="171" y="219"/>
                  </a:lnTo>
                  <a:lnTo>
                    <a:pt x="181" y="219"/>
                  </a:lnTo>
                  <a:lnTo>
                    <a:pt x="181" y="219"/>
                  </a:lnTo>
                  <a:lnTo>
                    <a:pt x="181" y="212"/>
                  </a:lnTo>
                  <a:lnTo>
                    <a:pt x="181" y="209"/>
                  </a:lnTo>
                  <a:lnTo>
                    <a:pt x="178" y="209"/>
                  </a:lnTo>
                  <a:lnTo>
                    <a:pt x="178" y="209"/>
                  </a:lnTo>
                  <a:lnTo>
                    <a:pt x="175" y="202"/>
                  </a:lnTo>
                  <a:lnTo>
                    <a:pt x="171" y="192"/>
                  </a:lnTo>
                  <a:lnTo>
                    <a:pt x="171" y="192"/>
                  </a:lnTo>
                  <a:lnTo>
                    <a:pt x="168" y="189"/>
                  </a:lnTo>
                  <a:lnTo>
                    <a:pt x="161" y="185"/>
                  </a:lnTo>
                  <a:lnTo>
                    <a:pt x="161" y="185"/>
                  </a:lnTo>
                  <a:lnTo>
                    <a:pt x="148" y="165"/>
                  </a:lnTo>
                  <a:lnTo>
                    <a:pt x="148" y="165"/>
                  </a:lnTo>
                  <a:lnTo>
                    <a:pt x="145" y="152"/>
                  </a:lnTo>
                  <a:lnTo>
                    <a:pt x="145" y="152"/>
                  </a:lnTo>
                  <a:lnTo>
                    <a:pt x="141" y="148"/>
                  </a:lnTo>
                  <a:lnTo>
                    <a:pt x="141" y="148"/>
                  </a:lnTo>
                  <a:lnTo>
                    <a:pt x="141" y="131"/>
                  </a:lnTo>
                  <a:lnTo>
                    <a:pt x="141" y="115"/>
                  </a:lnTo>
                  <a:lnTo>
                    <a:pt x="141" y="115"/>
                  </a:lnTo>
                  <a:lnTo>
                    <a:pt x="145" y="115"/>
                  </a:lnTo>
                  <a:lnTo>
                    <a:pt x="145" y="111"/>
                  </a:lnTo>
                  <a:lnTo>
                    <a:pt x="145" y="111"/>
                  </a:lnTo>
                  <a:lnTo>
                    <a:pt x="155" y="105"/>
                  </a:lnTo>
                  <a:lnTo>
                    <a:pt x="155" y="105"/>
                  </a:lnTo>
                  <a:lnTo>
                    <a:pt x="155" y="111"/>
                  </a:lnTo>
                  <a:lnTo>
                    <a:pt x="151" y="111"/>
                  </a:lnTo>
                  <a:lnTo>
                    <a:pt x="151" y="111"/>
                  </a:lnTo>
                  <a:lnTo>
                    <a:pt x="155" y="121"/>
                  </a:lnTo>
                  <a:lnTo>
                    <a:pt x="158" y="128"/>
                  </a:lnTo>
                  <a:lnTo>
                    <a:pt x="158" y="128"/>
                  </a:lnTo>
                  <a:lnTo>
                    <a:pt x="168" y="131"/>
                  </a:lnTo>
                  <a:lnTo>
                    <a:pt x="175" y="135"/>
                  </a:lnTo>
                  <a:lnTo>
                    <a:pt x="178" y="135"/>
                  </a:lnTo>
                  <a:lnTo>
                    <a:pt x="178" y="135"/>
                  </a:lnTo>
                  <a:lnTo>
                    <a:pt x="175" y="145"/>
                  </a:lnTo>
                  <a:lnTo>
                    <a:pt x="175" y="145"/>
                  </a:lnTo>
                  <a:lnTo>
                    <a:pt x="178" y="152"/>
                  </a:lnTo>
                  <a:lnTo>
                    <a:pt x="181" y="155"/>
                  </a:lnTo>
                  <a:lnTo>
                    <a:pt x="195" y="158"/>
                  </a:lnTo>
                  <a:lnTo>
                    <a:pt x="195" y="158"/>
                  </a:lnTo>
                  <a:lnTo>
                    <a:pt x="185" y="142"/>
                  </a:lnTo>
                  <a:lnTo>
                    <a:pt x="185" y="142"/>
                  </a:lnTo>
                  <a:lnTo>
                    <a:pt x="181" y="135"/>
                  </a:lnTo>
                  <a:lnTo>
                    <a:pt x="185" y="131"/>
                  </a:lnTo>
                  <a:lnTo>
                    <a:pt x="198" y="138"/>
                  </a:lnTo>
                  <a:lnTo>
                    <a:pt x="198" y="138"/>
                  </a:lnTo>
                  <a:lnTo>
                    <a:pt x="202" y="145"/>
                  </a:lnTo>
                  <a:lnTo>
                    <a:pt x="205" y="152"/>
                  </a:lnTo>
                  <a:lnTo>
                    <a:pt x="205" y="152"/>
                  </a:lnTo>
                  <a:lnTo>
                    <a:pt x="215" y="148"/>
                  </a:lnTo>
                  <a:lnTo>
                    <a:pt x="215" y="148"/>
                  </a:lnTo>
                  <a:lnTo>
                    <a:pt x="215" y="142"/>
                  </a:lnTo>
                  <a:lnTo>
                    <a:pt x="215" y="142"/>
                  </a:lnTo>
                  <a:lnTo>
                    <a:pt x="208" y="135"/>
                  </a:lnTo>
                  <a:lnTo>
                    <a:pt x="202" y="128"/>
                  </a:lnTo>
                  <a:lnTo>
                    <a:pt x="202" y="128"/>
                  </a:lnTo>
                  <a:lnTo>
                    <a:pt x="202" y="128"/>
                  </a:lnTo>
                  <a:lnTo>
                    <a:pt x="205" y="125"/>
                  </a:lnTo>
                  <a:lnTo>
                    <a:pt x="205" y="125"/>
                  </a:lnTo>
                  <a:lnTo>
                    <a:pt x="212" y="125"/>
                  </a:lnTo>
                  <a:lnTo>
                    <a:pt x="218" y="125"/>
                  </a:lnTo>
                  <a:lnTo>
                    <a:pt x="218" y="125"/>
                  </a:lnTo>
                  <a:lnTo>
                    <a:pt x="225" y="128"/>
                  </a:lnTo>
                  <a:lnTo>
                    <a:pt x="229" y="131"/>
                  </a:lnTo>
                  <a:lnTo>
                    <a:pt x="232" y="138"/>
                  </a:lnTo>
                  <a:lnTo>
                    <a:pt x="232" y="138"/>
                  </a:lnTo>
                  <a:lnTo>
                    <a:pt x="235" y="138"/>
                  </a:lnTo>
                  <a:lnTo>
                    <a:pt x="235" y="138"/>
                  </a:lnTo>
                  <a:lnTo>
                    <a:pt x="235" y="131"/>
                  </a:lnTo>
                  <a:lnTo>
                    <a:pt x="229" y="121"/>
                  </a:lnTo>
                  <a:lnTo>
                    <a:pt x="229" y="121"/>
                  </a:lnTo>
                  <a:lnTo>
                    <a:pt x="215" y="118"/>
                  </a:lnTo>
                  <a:lnTo>
                    <a:pt x="208" y="118"/>
                  </a:lnTo>
                  <a:lnTo>
                    <a:pt x="208" y="118"/>
                  </a:lnTo>
                  <a:lnTo>
                    <a:pt x="205" y="115"/>
                  </a:lnTo>
                  <a:lnTo>
                    <a:pt x="205" y="115"/>
                  </a:lnTo>
                  <a:lnTo>
                    <a:pt x="205" y="108"/>
                  </a:lnTo>
                  <a:lnTo>
                    <a:pt x="195" y="98"/>
                  </a:lnTo>
                  <a:lnTo>
                    <a:pt x="195" y="98"/>
                  </a:lnTo>
                  <a:lnTo>
                    <a:pt x="202" y="94"/>
                  </a:lnTo>
                  <a:lnTo>
                    <a:pt x="202" y="94"/>
                  </a:lnTo>
                  <a:lnTo>
                    <a:pt x="215" y="94"/>
                  </a:lnTo>
                  <a:lnTo>
                    <a:pt x="222" y="94"/>
                  </a:lnTo>
                  <a:lnTo>
                    <a:pt x="229" y="91"/>
                  </a:lnTo>
                  <a:lnTo>
                    <a:pt x="229" y="91"/>
                  </a:lnTo>
                  <a:lnTo>
                    <a:pt x="232" y="88"/>
                  </a:lnTo>
                  <a:lnTo>
                    <a:pt x="232" y="81"/>
                  </a:lnTo>
                  <a:lnTo>
                    <a:pt x="232" y="81"/>
                  </a:lnTo>
                  <a:lnTo>
                    <a:pt x="242" y="74"/>
                  </a:lnTo>
                  <a:lnTo>
                    <a:pt x="242" y="74"/>
                  </a:lnTo>
                  <a:lnTo>
                    <a:pt x="249" y="74"/>
                  </a:lnTo>
                  <a:lnTo>
                    <a:pt x="252" y="81"/>
                  </a:lnTo>
                  <a:lnTo>
                    <a:pt x="252" y="81"/>
                  </a:lnTo>
                  <a:lnTo>
                    <a:pt x="272" y="74"/>
                  </a:lnTo>
                  <a:lnTo>
                    <a:pt x="272" y="71"/>
                  </a:lnTo>
                  <a:lnTo>
                    <a:pt x="272" y="71"/>
                  </a:lnTo>
                  <a:lnTo>
                    <a:pt x="286" y="74"/>
                  </a:lnTo>
                  <a:lnTo>
                    <a:pt x="296" y="78"/>
                  </a:lnTo>
                  <a:lnTo>
                    <a:pt x="296" y="78"/>
                  </a:lnTo>
                  <a:lnTo>
                    <a:pt x="313" y="74"/>
                  </a:lnTo>
                  <a:lnTo>
                    <a:pt x="313" y="74"/>
                  </a:lnTo>
                  <a:lnTo>
                    <a:pt x="319" y="81"/>
                  </a:lnTo>
                  <a:lnTo>
                    <a:pt x="326" y="74"/>
                  </a:lnTo>
                  <a:lnTo>
                    <a:pt x="336" y="68"/>
                  </a:lnTo>
                  <a:lnTo>
                    <a:pt x="343" y="61"/>
                  </a:lnTo>
                  <a:lnTo>
                    <a:pt x="343" y="51"/>
                  </a:lnTo>
                  <a:lnTo>
                    <a:pt x="343" y="44"/>
                  </a:lnTo>
                  <a:lnTo>
                    <a:pt x="346" y="37"/>
                  </a:lnTo>
                  <a:lnTo>
                    <a:pt x="360" y="37"/>
                  </a:lnTo>
                  <a:lnTo>
                    <a:pt x="356" y="24"/>
                  </a:lnTo>
                  <a:lnTo>
                    <a:pt x="356" y="14"/>
                  </a:lnTo>
                  <a:lnTo>
                    <a:pt x="346" y="4"/>
                  </a:lnTo>
                  <a:lnTo>
                    <a:pt x="333" y="0"/>
                  </a:lnTo>
                  <a:lnTo>
                    <a:pt x="319" y="0"/>
                  </a:lnTo>
                  <a:lnTo>
                    <a:pt x="326" y="17"/>
                  </a:lnTo>
                  <a:lnTo>
                    <a:pt x="326" y="24"/>
                  </a:lnTo>
                  <a:lnTo>
                    <a:pt x="326" y="24"/>
                  </a:lnTo>
                  <a:lnTo>
                    <a:pt x="319" y="27"/>
                  </a:lnTo>
                  <a:lnTo>
                    <a:pt x="306" y="31"/>
                  </a:lnTo>
                  <a:lnTo>
                    <a:pt x="306" y="31"/>
                  </a:lnTo>
                  <a:lnTo>
                    <a:pt x="302" y="34"/>
                  </a:lnTo>
                  <a:lnTo>
                    <a:pt x="296" y="31"/>
                  </a:lnTo>
                  <a:lnTo>
                    <a:pt x="296" y="31"/>
                  </a:lnTo>
                  <a:lnTo>
                    <a:pt x="286" y="27"/>
                  </a:lnTo>
                  <a:lnTo>
                    <a:pt x="282" y="27"/>
                  </a:lnTo>
                  <a:lnTo>
                    <a:pt x="282" y="27"/>
                  </a:lnTo>
                  <a:lnTo>
                    <a:pt x="279" y="31"/>
                  </a:lnTo>
                  <a:lnTo>
                    <a:pt x="276" y="27"/>
                  </a:lnTo>
                  <a:lnTo>
                    <a:pt x="276" y="27"/>
                  </a:lnTo>
                  <a:lnTo>
                    <a:pt x="269" y="24"/>
                  </a:lnTo>
                  <a:lnTo>
                    <a:pt x="266" y="24"/>
                  </a:lnTo>
                  <a:lnTo>
                    <a:pt x="266" y="24"/>
                  </a:lnTo>
                  <a:lnTo>
                    <a:pt x="262" y="17"/>
                  </a:lnTo>
                  <a:lnTo>
                    <a:pt x="262" y="17"/>
                  </a:lnTo>
                  <a:lnTo>
                    <a:pt x="259" y="17"/>
                  </a:lnTo>
                  <a:lnTo>
                    <a:pt x="252" y="17"/>
                  </a:lnTo>
                  <a:lnTo>
                    <a:pt x="252" y="17"/>
                  </a:lnTo>
                  <a:lnTo>
                    <a:pt x="249" y="17"/>
                  </a:lnTo>
                  <a:lnTo>
                    <a:pt x="239" y="21"/>
                  </a:lnTo>
                  <a:lnTo>
                    <a:pt x="239" y="21"/>
                  </a:lnTo>
                  <a:lnTo>
                    <a:pt x="235" y="24"/>
                  </a:lnTo>
                  <a:lnTo>
                    <a:pt x="232" y="24"/>
                  </a:lnTo>
                  <a:lnTo>
                    <a:pt x="229" y="24"/>
                  </a:lnTo>
                  <a:lnTo>
                    <a:pt x="229" y="24"/>
                  </a:lnTo>
                  <a:lnTo>
                    <a:pt x="225" y="21"/>
                  </a:lnTo>
                  <a:lnTo>
                    <a:pt x="222" y="24"/>
                  </a:lnTo>
                  <a:lnTo>
                    <a:pt x="215" y="27"/>
                  </a:lnTo>
                  <a:lnTo>
                    <a:pt x="215" y="27"/>
                  </a:lnTo>
                  <a:lnTo>
                    <a:pt x="208" y="31"/>
                  </a:lnTo>
                  <a:lnTo>
                    <a:pt x="205" y="31"/>
                  </a:lnTo>
                  <a:lnTo>
                    <a:pt x="205" y="31"/>
                  </a:lnTo>
                  <a:lnTo>
                    <a:pt x="202" y="27"/>
                  </a:lnTo>
                  <a:lnTo>
                    <a:pt x="198" y="31"/>
                  </a:lnTo>
                  <a:lnTo>
                    <a:pt x="198" y="31"/>
                  </a:lnTo>
                  <a:lnTo>
                    <a:pt x="195" y="34"/>
                  </a:lnTo>
                  <a:lnTo>
                    <a:pt x="192" y="34"/>
                  </a:lnTo>
                  <a:lnTo>
                    <a:pt x="181" y="37"/>
                  </a:lnTo>
                  <a:lnTo>
                    <a:pt x="181" y="37"/>
                  </a:lnTo>
                  <a:lnTo>
                    <a:pt x="171" y="37"/>
                  </a:lnTo>
                  <a:lnTo>
                    <a:pt x="171" y="37"/>
                  </a:lnTo>
                  <a:lnTo>
                    <a:pt x="168" y="37"/>
                  </a:lnTo>
                  <a:lnTo>
                    <a:pt x="168" y="37"/>
                  </a:lnTo>
                  <a:lnTo>
                    <a:pt x="165" y="41"/>
                  </a:lnTo>
                  <a:lnTo>
                    <a:pt x="168" y="44"/>
                  </a:lnTo>
                  <a:lnTo>
                    <a:pt x="168" y="44"/>
                  </a:lnTo>
                  <a:lnTo>
                    <a:pt x="165" y="51"/>
                  </a:lnTo>
                  <a:lnTo>
                    <a:pt x="165" y="51"/>
                  </a:lnTo>
                  <a:lnTo>
                    <a:pt x="165" y="51"/>
                  </a:lnTo>
                  <a:lnTo>
                    <a:pt x="165" y="51"/>
                  </a:lnTo>
                  <a:lnTo>
                    <a:pt x="158" y="51"/>
                  </a:lnTo>
                  <a:lnTo>
                    <a:pt x="158" y="51"/>
                  </a:lnTo>
                  <a:lnTo>
                    <a:pt x="158" y="51"/>
                  </a:lnTo>
                  <a:lnTo>
                    <a:pt x="158" y="54"/>
                  </a:lnTo>
                  <a:lnTo>
                    <a:pt x="158" y="54"/>
                  </a:lnTo>
                  <a:lnTo>
                    <a:pt x="155" y="54"/>
                  </a:lnTo>
                  <a:lnTo>
                    <a:pt x="155" y="54"/>
                  </a:lnTo>
                  <a:lnTo>
                    <a:pt x="148" y="54"/>
                  </a:lnTo>
                  <a:lnTo>
                    <a:pt x="148" y="54"/>
                  </a:lnTo>
                  <a:lnTo>
                    <a:pt x="141" y="51"/>
                  </a:lnTo>
                  <a:lnTo>
                    <a:pt x="141" y="51"/>
                  </a:lnTo>
                  <a:lnTo>
                    <a:pt x="138" y="51"/>
                  </a:lnTo>
                  <a:lnTo>
                    <a:pt x="138" y="51"/>
                  </a:lnTo>
                  <a:lnTo>
                    <a:pt x="131" y="51"/>
                  </a:lnTo>
                  <a:lnTo>
                    <a:pt x="131" y="51"/>
                  </a:lnTo>
                  <a:lnTo>
                    <a:pt x="124" y="54"/>
                  </a:lnTo>
                  <a:lnTo>
                    <a:pt x="124" y="54"/>
                  </a:lnTo>
                  <a:lnTo>
                    <a:pt x="124" y="54"/>
                  </a:lnTo>
                  <a:lnTo>
                    <a:pt x="121" y="54"/>
                  </a:lnTo>
                  <a:lnTo>
                    <a:pt x="121" y="54"/>
                  </a:lnTo>
                  <a:lnTo>
                    <a:pt x="118" y="54"/>
                  </a:lnTo>
                  <a:lnTo>
                    <a:pt x="114" y="58"/>
                  </a:lnTo>
                  <a:lnTo>
                    <a:pt x="114" y="58"/>
                  </a:lnTo>
                  <a:lnTo>
                    <a:pt x="114" y="58"/>
                  </a:lnTo>
                  <a:lnTo>
                    <a:pt x="114" y="61"/>
                  </a:lnTo>
                  <a:lnTo>
                    <a:pt x="114" y="61"/>
                  </a:lnTo>
                  <a:lnTo>
                    <a:pt x="108" y="64"/>
                  </a:lnTo>
                  <a:lnTo>
                    <a:pt x="108" y="64"/>
                  </a:lnTo>
                  <a:lnTo>
                    <a:pt x="108" y="68"/>
                  </a:lnTo>
                  <a:lnTo>
                    <a:pt x="108" y="71"/>
                  </a:lnTo>
                  <a:lnTo>
                    <a:pt x="108" y="71"/>
                  </a:lnTo>
                  <a:lnTo>
                    <a:pt x="104" y="71"/>
                  </a:lnTo>
                  <a:lnTo>
                    <a:pt x="101" y="71"/>
                  </a:lnTo>
                  <a:lnTo>
                    <a:pt x="101" y="71"/>
                  </a:lnTo>
                  <a:lnTo>
                    <a:pt x="97" y="71"/>
                  </a:lnTo>
                  <a:lnTo>
                    <a:pt x="97" y="71"/>
                  </a:lnTo>
                  <a:lnTo>
                    <a:pt x="94" y="74"/>
                  </a:lnTo>
                  <a:lnTo>
                    <a:pt x="94" y="74"/>
                  </a:lnTo>
                  <a:lnTo>
                    <a:pt x="84" y="71"/>
                  </a:lnTo>
                  <a:lnTo>
                    <a:pt x="84" y="71"/>
                  </a:lnTo>
                  <a:lnTo>
                    <a:pt x="77" y="74"/>
                  </a:lnTo>
                  <a:lnTo>
                    <a:pt x="77" y="74"/>
                  </a:lnTo>
                  <a:lnTo>
                    <a:pt x="74" y="74"/>
                  </a:lnTo>
                  <a:lnTo>
                    <a:pt x="74" y="74"/>
                  </a:lnTo>
                  <a:lnTo>
                    <a:pt x="74" y="74"/>
                  </a:lnTo>
                  <a:lnTo>
                    <a:pt x="71" y="74"/>
                  </a:lnTo>
                  <a:lnTo>
                    <a:pt x="71" y="78"/>
                  </a:lnTo>
                  <a:lnTo>
                    <a:pt x="71" y="78"/>
                  </a:lnTo>
                  <a:lnTo>
                    <a:pt x="64" y="78"/>
                  </a:lnTo>
                  <a:lnTo>
                    <a:pt x="64" y="78"/>
                  </a:lnTo>
                  <a:lnTo>
                    <a:pt x="57" y="78"/>
                  </a:lnTo>
                  <a:lnTo>
                    <a:pt x="57" y="78"/>
                  </a:lnTo>
                  <a:lnTo>
                    <a:pt x="61" y="81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1" y="98"/>
                  </a:lnTo>
                  <a:lnTo>
                    <a:pt x="61" y="98"/>
                  </a:lnTo>
                  <a:lnTo>
                    <a:pt x="64" y="101"/>
                  </a:lnTo>
                  <a:lnTo>
                    <a:pt x="64" y="101"/>
                  </a:lnTo>
                  <a:lnTo>
                    <a:pt x="64" y="108"/>
                  </a:lnTo>
                  <a:lnTo>
                    <a:pt x="61" y="108"/>
                  </a:lnTo>
                  <a:lnTo>
                    <a:pt x="61" y="108"/>
                  </a:lnTo>
                  <a:lnTo>
                    <a:pt x="57" y="108"/>
                  </a:lnTo>
                  <a:lnTo>
                    <a:pt x="57" y="108"/>
                  </a:lnTo>
                  <a:lnTo>
                    <a:pt x="54" y="105"/>
                  </a:lnTo>
                  <a:lnTo>
                    <a:pt x="54" y="105"/>
                  </a:lnTo>
                  <a:lnTo>
                    <a:pt x="54" y="105"/>
                  </a:lnTo>
                  <a:lnTo>
                    <a:pt x="47" y="115"/>
                  </a:lnTo>
                  <a:lnTo>
                    <a:pt x="47" y="115"/>
                  </a:lnTo>
                  <a:lnTo>
                    <a:pt x="47" y="118"/>
                  </a:lnTo>
                  <a:lnTo>
                    <a:pt x="47" y="118"/>
                  </a:lnTo>
                  <a:lnTo>
                    <a:pt x="47" y="125"/>
                  </a:lnTo>
                  <a:lnTo>
                    <a:pt x="47" y="125"/>
                  </a:lnTo>
                  <a:lnTo>
                    <a:pt x="44" y="131"/>
                  </a:lnTo>
                  <a:lnTo>
                    <a:pt x="44" y="131"/>
                  </a:lnTo>
                  <a:lnTo>
                    <a:pt x="37" y="131"/>
                  </a:lnTo>
                  <a:lnTo>
                    <a:pt x="37" y="131"/>
                  </a:lnTo>
                  <a:lnTo>
                    <a:pt x="30" y="135"/>
                  </a:lnTo>
                  <a:lnTo>
                    <a:pt x="30" y="135"/>
                  </a:lnTo>
                  <a:lnTo>
                    <a:pt x="27" y="135"/>
                  </a:lnTo>
                  <a:lnTo>
                    <a:pt x="27" y="135"/>
                  </a:lnTo>
                  <a:lnTo>
                    <a:pt x="24" y="135"/>
                  </a:lnTo>
                  <a:lnTo>
                    <a:pt x="24" y="138"/>
                  </a:lnTo>
                  <a:lnTo>
                    <a:pt x="24" y="138"/>
                  </a:lnTo>
                  <a:lnTo>
                    <a:pt x="24" y="142"/>
                  </a:lnTo>
                  <a:lnTo>
                    <a:pt x="24" y="145"/>
                  </a:lnTo>
                  <a:lnTo>
                    <a:pt x="24" y="145"/>
                  </a:lnTo>
                  <a:lnTo>
                    <a:pt x="20" y="145"/>
                  </a:lnTo>
                  <a:lnTo>
                    <a:pt x="20" y="145"/>
                  </a:lnTo>
                  <a:lnTo>
                    <a:pt x="20" y="145"/>
                  </a:lnTo>
                  <a:lnTo>
                    <a:pt x="24" y="152"/>
                  </a:lnTo>
                  <a:lnTo>
                    <a:pt x="24" y="152"/>
                  </a:lnTo>
                  <a:lnTo>
                    <a:pt x="24" y="155"/>
                  </a:lnTo>
                  <a:lnTo>
                    <a:pt x="24" y="155"/>
                  </a:lnTo>
                  <a:lnTo>
                    <a:pt x="24" y="158"/>
                  </a:lnTo>
                  <a:lnTo>
                    <a:pt x="24" y="158"/>
                  </a:lnTo>
                  <a:lnTo>
                    <a:pt x="20" y="155"/>
                  </a:lnTo>
                  <a:lnTo>
                    <a:pt x="20" y="155"/>
                  </a:lnTo>
                  <a:lnTo>
                    <a:pt x="17" y="155"/>
                  </a:lnTo>
                  <a:lnTo>
                    <a:pt x="17" y="155"/>
                  </a:lnTo>
                  <a:lnTo>
                    <a:pt x="17" y="155"/>
                  </a:lnTo>
                  <a:lnTo>
                    <a:pt x="17" y="158"/>
                  </a:lnTo>
                  <a:lnTo>
                    <a:pt x="17" y="162"/>
                  </a:lnTo>
                  <a:lnTo>
                    <a:pt x="17" y="162"/>
                  </a:lnTo>
                  <a:lnTo>
                    <a:pt x="10" y="168"/>
                  </a:lnTo>
                  <a:lnTo>
                    <a:pt x="10" y="168"/>
                  </a:lnTo>
                  <a:lnTo>
                    <a:pt x="7" y="165"/>
                  </a:lnTo>
                  <a:lnTo>
                    <a:pt x="3" y="165"/>
                  </a:lnTo>
                  <a:lnTo>
                    <a:pt x="3" y="165"/>
                  </a:lnTo>
                  <a:lnTo>
                    <a:pt x="0" y="165"/>
                  </a:lnTo>
                  <a:lnTo>
                    <a:pt x="0" y="165"/>
                  </a:lnTo>
                  <a:lnTo>
                    <a:pt x="0" y="175"/>
                  </a:lnTo>
                  <a:lnTo>
                    <a:pt x="0" y="175"/>
                  </a:lnTo>
                  <a:lnTo>
                    <a:pt x="3" y="175"/>
                  </a:lnTo>
                  <a:lnTo>
                    <a:pt x="3" y="178"/>
                  </a:lnTo>
                  <a:lnTo>
                    <a:pt x="7" y="178"/>
                  </a:lnTo>
                  <a:lnTo>
                    <a:pt x="7" y="178"/>
                  </a:lnTo>
                  <a:lnTo>
                    <a:pt x="7" y="182"/>
                  </a:lnTo>
                  <a:lnTo>
                    <a:pt x="7" y="185"/>
                  </a:lnTo>
                  <a:lnTo>
                    <a:pt x="7" y="185"/>
                  </a:lnTo>
                  <a:lnTo>
                    <a:pt x="20" y="192"/>
                  </a:lnTo>
                  <a:lnTo>
                    <a:pt x="20" y="192"/>
                  </a:lnTo>
                  <a:lnTo>
                    <a:pt x="20" y="199"/>
                  </a:lnTo>
                  <a:lnTo>
                    <a:pt x="20" y="199"/>
                  </a:lnTo>
                  <a:lnTo>
                    <a:pt x="27" y="205"/>
                  </a:lnTo>
                  <a:lnTo>
                    <a:pt x="34" y="212"/>
                  </a:lnTo>
                  <a:lnTo>
                    <a:pt x="34" y="212"/>
                  </a:lnTo>
                  <a:lnTo>
                    <a:pt x="34" y="219"/>
                  </a:lnTo>
                  <a:lnTo>
                    <a:pt x="34" y="219"/>
                  </a:lnTo>
                  <a:lnTo>
                    <a:pt x="40" y="219"/>
                  </a:lnTo>
                  <a:lnTo>
                    <a:pt x="40" y="219"/>
                  </a:lnTo>
                  <a:lnTo>
                    <a:pt x="40" y="212"/>
                  </a:lnTo>
                  <a:lnTo>
                    <a:pt x="40" y="212"/>
                  </a:lnTo>
                  <a:lnTo>
                    <a:pt x="57" y="219"/>
                  </a:lnTo>
                  <a:lnTo>
                    <a:pt x="57" y="219"/>
                  </a:lnTo>
                  <a:lnTo>
                    <a:pt x="57" y="226"/>
                  </a:lnTo>
                  <a:lnTo>
                    <a:pt x="57" y="226"/>
                  </a:lnTo>
                  <a:lnTo>
                    <a:pt x="47" y="222"/>
                  </a:lnTo>
                  <a:lnTo>
                    <a:pt x="40" y="222"/>
                  </a:lnTo>
                  <a:lnTo>
                    <a:pt x="34" y="226"/>
                  </a:lnTo>
                  <a:lnTo>
                    <a:pt x="34" y="226"/>
                  </a:lnTo>
                  <a:lnTo>
                    <a:pt x="30" y="232"/>
                  </a:lnTo>
                  <a:lnTo>
                    <a:pt x="27" y="239"/>
                  </a:lnTo>
                  <a:lnTo>
                    <a:pt x="24" y="242"/>
                  </a:lnTo>
                  <a:lnTo>
                    <a:pt x="24" y="242"/>
                  </a:lnTo>
                  <a:lnTo>
                    <a:pt x="24" y="242"/>
                  </a:lnTo>
                  <a:lnTo>
                    <a:pt x="27" y="246"/>
                  </a:lnTo>
                  <a:lnTo>
                    <a:pt x="27" y="246"/>
                  </a:lnTo>
                  <a:lnTo>
                    <a:pt x="34" y="246"/>
                  </a:lnTo>
                  <a:lnTo>
                    <a:pt x="34" y="246"/>
                  </a:lnTo>
                  <a:lnTo>
                    <a:pt x="37" y="232"/>
                  </a:lnTo>
                  <a:lnTo>
                    <a:pt x="37" y="232"/>
                  </a:lnTo>
                  <a:lnTo>
                    <a:pt x="44" y="232"/>
                  </a:lnTo>
                  <a:lnTo>
                    <a:pt x="44" y="232"/>
                  </a:lnTo>
                  <a:lnTo>
                    <a:pt x="44" y="236"/>
                  </a:lnTo>
                  <a:lnTo>
                    <a:pt x="44" y="242"/>
                  </a:lnTo>
                  <a:lnTo>
                    <a:pt x="44" y="242"/>
                  </a:lnTo>
                  <a:lnTo>
                    <a:pt x="50" y="242"/>
                  </a:lnTo>
                  <a:lnTo>
                    <a:pt x="50" y="242"/>
                  </a:lnTo>
                  <a:lnTo>
                    <a:pt x="50" y="249"/>
                  </a:lnTo>
                  <a:lnTo>
                    <a:pt x="50" y="249"/>
                  </a:lnTo>
                  <a:lnTo>
                    <a:pt x="57" y="256"/>
                  </a:lnTo>
                  <a:lnTo>
                    <a:pt x="57" y="256"/>
                  </a:lnTo>
                  <a:lnTo>
                    <a:pt x="57" y="259"/>
                  </a:lnTo>
                  <a:lnTo>
                    <a:pt x="57" y="269"/>
                  </a:lnTo>
                  <a:lnTo>
                    <a:pt x="57" y="269"/>
                  </a:lnTo>
                  <a:lnTo>
                    <a:pt x="67" y="269"/>
                  </a:lnTo>
                  <a:lnTo>
                    <a:pt x="67" y="269"/>
                  </a:lnTo>
                  <a:lnTo>
                    <a:pt x="71" y="263"/>
                  </a:lnTo>
                  <a:lnTo>
                    <a:pt x="71" y="263"/>
                  </a:lnTo>
                  <a:lnTo>
                    <a:pt x="81" y="263"/>
                  </a:lnTo>
                  <a:lnTo>
                    <a:pt x="81" y="269"/>
                  </a:lnTo>
                  <a:lnTo>
                    <a:pt x="81" y="269"/>
                  </a:lnTo>
                  <a:lnTo>
                    <a:pt x="87" y="266"/>
                  </a:lnTo>
                  <a:lnTo>
                    <a:pt x="91" y="266"/>
                  </a:lnTo>
                  <a:lnTo>
                    <a:pt x="91" y="266"/>
                  </a:lnTo>
                  <a:lnTo>
                    <a:pt x="84" y="276"/>
                  </a:lnTo>
                  <a:lnTo>
                    <a:pt x="71" y="276"/>
                  </a:lnTo>
                  <a:lnTo>
                    <a:pt x="71" y="276"/>
                  </a:lnTo>
                  <a:lnTo>
                    <a:pt x="64" y="289"/>
                  </a:lnTo>
                  <a:lnTo>
                    <a:pt x="57" y="296"/>
                  </a:lnTo>
                  <a:lnTo>
                    <a:pt x="57" y="296"/>
                  </a:lnTo>
                  <a:lnTo>
                    <a:pt x="67" y="313"/>
                  </a:lnTo>
                  <a:lnTo>
                    <a:pt x="67" y="313"/>
                  </a:lnTo>
                  <a:lnTo>
                    <a:pt x="81" y="323"/>
                  </a:lnTo>
                  <a:lnTo>
                    <a:pt x="87" y="330"/>
                  </a:lnTo>
                  <a:lnTo>
                    <a:pt x="91" y="336"/>
                  </a:lnTo>
                  <a:lnTo>
                    <a:pt x="91" y="336"/>
                  </a:lnTo>
                  <a:lnTo>
                    <a:pt x="84" y="353"/>
                  </a:lnTo>
                  <a:lnTo>
                    <a:pt x="84" y="353"/>
                  </a:lnTo>
                  <a:lnTo>
                    <a:pt x="87" y="360"/>
                  </a:lnTo>
                  <a:lnTo>
                    <a:pt x="87" y="363"/>
                  </a:lnTo>
                  <a:lnTo>
                    <a:pt x="91" y="370"/>
                  </a:lnTo>
                  <a:lnTo>
                    <a:pt x="91" y="370"/>
                  </a:lnTo>
                  <a:lnTo>
                    <a:pt x="91" y="380"/>
                  </a:lnTo>
                  <a:lnTo>
                    <a:pt x="91" y="380"/>
                  </a:lnTo>
                  <a:lnTo>
                    <a:pt x="101" y="383"/>
                  </a:lnTo>
                  <a:lnTo>
                    <a:pt x="101" y="383"/>
                  </a:lnTo>
                  <a:lnTo>
                    <a:pt x="104" y="380"/>
                  </a:lnTo>
                  <a:lnTo>
                    <a:pt x="108" y="380"/>
                  </a:lnTo>
                  <a:lnTo>
                    <a:pt x="114" y="380"/>
                  </a:lnTo>
                  <a:lnTo>
                    <a:pt x="114" y="380"/>
                  </a:lnTo>
                  <a:lnTo>
                    <a:pt x="128" y="394"/>
                  </a:lnTo>
                  <a:lnTo>
                    <a:pt x="128" y="394"/>
                  </a:lnTo>
                  <a:lnTo>
                    <a:pt x="128" y="397"/>
                  </a:lnTo>
                  <a:lnTo>
                    <a:pt x="128" y="404"/>
                  </a:lnTo>
                  <a:lnTo>
                    <a:pt x="128" y="404"/>
                  </a:lnTo>
                  <a:lnTo>
                    <a:pt x="131" y="407"/>
                  </a:lnTo>
                  <a:lnTo>
                    <a:pt x="131" y="407"/>
                  </a:lnTo>
                  <a:lnTo>
                    <a:pt x="128" y="410"/>
                  </a:lnTo>
                  <a:lnTo>
                    <a:pt x="128" y="414"/>
                  </a:lnTo>
                  <a:lnTo>
                    <a:pt x="128" y="417"/>
                  </a:lnTo>
                  <a:lnTo>
                    <a:pt x="128" y="417"/>
                  </a:lnTo>
                  <a:lnTo>
                    <a:pt x="134" y="420"/>
                  </a:lnTo>
                  <a:lnTo>
                    <a:pt x="134" y="420"/>
                  </a:lnTo>
                  <a:lnTo>
                    <a:pt x="138" y="404"/>
                  </a:lnTo>
                  <a:lnTo>
                    <a:pt x="141" y="394"/>
                  </a:lnTo>
                  <a:lnTo>
                    <a:pt x="141" y="394"/>
                  </a:lnTo>
                  <a:lnTo>
                    <a:pt x="155" y="394"/>
                  </a:lnTo>
                  <a:lnTo>
                    <a:pt x="155" y="394"/>
                  </a:lnTo>
                  <a:lnTo>
                    <a:pt x="155" y="400"/>
                  </a:lnTo>
                  <a:lnTo>
                    <a:pt x="155" y="400"/>
                  </a:lnTo>
                  <a:lnTo>
                    <a:pt x="161" y="400"/>
                  </a:lnTo>
                  <a:lnTo>
                    <a:pt x="161" y="400"/>
                  </a:lnTo>
                  <a:lnTo>
                    <a:pt x="161" y="404"/>
                  </a:lnTo>
                  <a:lnTo>
                    <a:pt x="158" y="407"/>
                  </a:lnTo>
                  <a:lnTo>
                    <a:pt x="158" y="407"/>
                  </a:lnTo>
                  <a:lnTo>
                    <a:pt x="161" y="410"/>
                  </a:lnTo>
                  <a:lnTo>
                    <a:pt x="165" y="414"/>
                  </a:lnTo>
                  <a:lnTo>
                    <a:pt x="165" y="414"/>
                  </a:lnTo>
                  <a:lnTo>
                    <a:pt x="178" y="417"/>
                  </a:lnTo>
                  <a:lnTo>
                    <a:pt x="178" y="417"/>
                  </a:lnTo>
                  <a:lnTo>
                    <a:pt x="171" y="407"/>
                  </a:lnTo>
                  <a:lnTo>
                    <a:pt x="171" y="404"/>
                  </a:lnTo>
                  <a:lnTo>
                    <a:pt x="171" y="390"/>
                  </a:lnTo>
                  <a:lnTo>
                    <a:pt x="171" y="390"/>
                  </a:lnTo>
                  <a:lnTo>
                    <a:pt x="165" y="383"/>
                  </a:lnTo>
                  <a:lnTo>
                    <a:pt x="165" y="383"/>
                  </a:lnTo>
                  <a:lnTo>
                    <a:pt x="165" y="373"/>
                  </a:lnTo>
                  <a:lnTo>
                    <a:pt x="165" y="373"/>
                  </a:lnTo>
                  <a:lnTo>
                    <a:pt x="158" y="367"/>
                  </a:lnTo>
                  <a:lnTo>
                    <a:pt x="158" y="367"/>
                  </a:lnTo>
                  <a:lnTo>
                    <a:pt x="158" y="353"/>
                  </a:lnTo>
                  <a:lnTo>
                    <a:pt x="158" y="353"/>
                  </a:lnTo>
                  <a:lnTo>
                    <a:pt x="151" y="336"/>
                  </a:lnTo>
                  <a:lnTo>
                    <a:pt x="151" y="336"/>
                  </a:lnTo>
                  <a:lnTo>
                    <a:pt x="165" y="340"/>
                  </a:lnTo>
                  <a:lnTo>
                    <a:pt x="168" y="343"/>
                  </a:lnTo>
                  <a:lnTo>
                    <a:pt x="171" y="353"/>
                  </a:lnTo>
                  <a:lnTo>
                    <a:pt x="171" y="353"/>
                  </a:lnTo>
                  <a:lnTo>
                    <a:pt x="181" y="353"/>
                  </a:lnTo>
                  <a:lnTo>
                    <a:pt x="181" y="353"/>
                  </a:lnTo>
                  <a:lnTo>
                    <a:pt x="181" y="350"/>
                  </a:lnTo>
                  <a:lnTo>
                    <a:pt x="181" y="347"/>
                  </a:lnTo>
                  <a:lnTo>
                    <a:pt x="181" y="347"/>
                  </a:lnTo>
                  <a:lnTo>
                    <a:pt x="192" y="347"/>
                  </a:lnTo>
                  <a:lnTo>
                    <a:pt x="192" y="347"/>
                  </a:lnTo>
                  <a:lnTo>
                    <a:pt x="188" y="330"/>
                  </a:lnTo>
                  <a:lnTo>
                    <a:pt x="188" y="330"/>
                  </a:lnTo>
                  <a:lnTo>
                    <a:pt x="178" y="330"/>
                  </a:lnTo>
                  <a:lnTo>
                    <a:pt x="178" y="330"/>
                  </a:lnTo>
                  <a:lnTo>
                    <a:pt x="171" y="310"/>
                  </a:lnTo>
                  <a:lnTo>
                    <a:pt x="168" y="310"/>
                  </a:lnTo>
                  <a:lnTo>
                    <a:pt x="168" y="310"/>
                  </a:lnTo>
                  <a:lnTo>
                    <a:pt x="185" y="303"/>
                  </a:lnTo>
                  <a:lnTo>
                    <a:pt x="202" y="303"/>
                  </a:lnTo>
                  <a:lnTo>
                    <a:pt x="205" y="310"/>
                  </a:lnTo>
                  <a:lnTo>
                    <a:pt x="205" y="310"/>
                  </a:lnTo>
                  <a:lnTo>
                    <a:pt x="208" y="310"/>
                  </a:lnTo>
                  <a:lnTo>
                    <a:pt x="208" y="310"/>
                  </a:lnTo>
                  <a:lnTo>
                    <a:pt x="208" y="310"/>
                  </a:lnTo>
                  <a:lnTo>
                    <a:pt x="208" y="316"/>
                  </a:lnTo>
                  <a:lnTo>
                    <a:pt x="208" y="316"/>
                  </a:lnTo>
                  <a:lnTo>
                    <a:pt x="215" y="316"/>
                  </a:lnTo>
                  <a:lnTo>
                    <a:pt x="218" y="320"/>
                  </a:lnTo>
                  <a:lnTo>
                    <a:pt x="218" y="323"/>
                  </a:lnTo>
                  <a:lnTo>
                    <a:pt x="218" y="323"/>
                  </a:lnTo>
                  <a:lnTo>
                    <a:pt x="225" y="323"/>
                  </a:lnTo>
                  <a:lnTo>
                    <a:pt x="225" y="323"/>
                  </a:lnTo>
                  <a:lnTo>
                    <a:pt x="229" y="323"/>
                  </a:lnTo>
                  <a:lnTo>
                    <a:pt x="232" y="320"/>
                  </a:lnTo>
                  <a:lnTo>
                    <a:pt x="232" y="320"/>
                  </a:lnTo>
                  <a:lnTo>
                    <a:pt x="222" y="293"/>
                  </a:lnTo>
                  <a:lnTo>
                    <a:pt x="222" y="286"/>
                  </a:lnTo>
                  <a:lnTo>
                    <a:pt x="222" y="279"/>
                  </a:lnTo>
                  <a:lnTo>
                    <a:pt x="222" y="279"/>
                  </a:lnTo>
                  <a:lnTo>
                    <a:pt x="212" y="276"/>
                  </a:lnTo>
                  <a:lnTo>
                    <a:pt x="208" y="269"/>
                  </a:lnTo>
                  <a:lnTo>
                    <a:pt x="208" y="269"/>
                  </a:lnTo>
                  <a:lnTo>
                    <a:pt x="222" y="269"/>
                  </a:lnTo>
                  <a:lnTo>
                    <a:pt x="222" y="269"/>
                  </a:lnTo>
                  <a:lnTo>
                    <a:pt x="222" y="269"/>
                  </a:lnTo>
                  <a:lnTo>
                    <a:pt x="222" y="273"/>
                  </a:lnTo>
                  <a:lnTo>
                    <a:pt x="225" y="273"/>
                  </a:lnTo>
                  <a:lnTo>
                    <a:pt x="225" y="279"/>
                  </a:lnTo>
                  <a:close/>
                  <a:moveTo>
                    <a:pt x="467" y="390"/>
                  </a:moveTo>
                  <a:lnTo>
                    <a:pt x="467" y="390"/>
                  </a:lnTo>
                  <a:lnTo>
                    <a:pt x="454" y="397"/>
                  </a:lnTo>
                  <a:lnTo>
                    <a:pt x="444" y="407"/>
                  </a:lnTo>
                  <a:lnTo>
                    <a:pt x="444" y="407"/>
                  </a:lnTo>
                  <a:lnTo>
                    <a:pt x="440" y="410"/>
                  </a:lnTo>
                  <a:lnTo>
                    <a:pt x="440" y="410"/>
                  </a:lnTo>
                  <a:lnTo>
                    <a:pt x="440" y="414"/>
                  </a:lnTo>
                  <a:lnTo>
                    <a:pt x="440" y="417"/>
                  </a:lnTo>
                  <a:lnTo>
                    <a:pt x="440" y="417"/>
                  </a:lnTo>
                  <a:lnTo>
                    <a:pt x="444" y="420"/>
                  </a:lnTo>
                  <a:lnTo>
                    <a:pt x="444" y="431"/>
                  </a:lnTo>
                  <a:lnTo>
                    <a:pt x="444" y="431"/>
                  </a:lnTo>
                  <a:lnTo>
                    <a:pt x="447" y="431"/>
                  </a:lnTo>
                  <a:lnTo>
                    <a:pt x="447" y="431"/>
                  </a:lnTo>
                  <a:lnTo>
                    <a:pt x="447" y="431"/>
                  </a:lnTo>
                  <a:lnTo>
                    <a:pt x="454" y="427"/>
                  </a:lnTo>
                  <a:lnTo>
                    <a:pt x="454" y="427"/>
                  </a:lnTo>
                  <a:lnTo>
                    <a:pt x="457" y="420"/>
                  </a:lnTo>
                  <a:lnTo>
                    <a:pt x="457" y="417"/>
                  </a:lnTo>
                  <a:lnTo>
                    <a:pt x="464" y="417"/>
                  </a:lnTo>
                  <a:lnTo>
                    <a:pt x="464" y="417"/>
                  </a:lnTo>
                  <a:lnTo>
                    <a:pt x="467" y="404"/>
                  </a:lnTo>
                  <a:lnTo>
                    <a:pt x="471" y="390"/>
                  </a:lnTo>
                  <a:lnTo>
                    <a:pt x="471" y="390"/>
                  </a:lnTo>
                  <a:lnTo>
                    <a:pt x="467" y="390"/>
                  </a:lnTo>
                  <a:lnTo>
                    <a:pt x="467" y="390"/>
                  </a:lnTo>
                  <a:close/>
                  <a:moveTo>
                    <a:pt x="266" y="293"/>
                  </a:moveTo>
                  <a:lnTo>
                    <a:pt x="266" y="293"/>
                  </a:lnTo>
                  <a:lnTo>
                    <a:pt x="259" y="303"/>
                  </a:lnTo>
                  <a:lnTo>
                    <a:pt x="259" y="303"/>
                  </a:lnTo>
                  <a:lnTo>
                    <a:pt x="266" y="310"/>
                  </a:lnTo>
                  <a:lnTo>
                    <a:pt x="266" y="310"/>
                  </a:lnTo>
                  <a:lnTo>
                    <a:pt x="272" y="310"/>
                  </a:lnTo>
                  <a:lnTo>
                    <a:pt x="272" y="310"/>
                  </a:lnTo>
                  <a:lnTo>
                    <a:pt x="276" y="316"/>
                  </a:lnTo>
                  <a:lnTo>
                    <a:pt x="276" y="316"/>
                  </a:lnTo>
                  <a:lnTo>
                    <a:pt x="282" y="323"/>
                  </a:lnTo>
                  <a:lnTo>
                    <a:pt x="292" y="326"/>
                  </a:lnTo>
                  <a:lnTo>
                    <a:pt x="292" y="320"/>
                  </a:lnTo>
                  <a:lnTo>
                    <a:pt x="292" y="320"/>
                  </a:lnTo>
                  <a:lnTo>
                    <a:pt x="286" y="316"/>
                  </a:lnTo>
                  <a:lnTo>
                    <a:pt x="279" y="316"/>
                  </a:lnTo>
                  <a:lnTo>
                    <a:pt x="279" y="316"/>
                  </a:lnTo>
                  <a:lnTo>
                    <a:pt x="279" y="310"/>
                  </a:lnTo>
                  <a:lnTo>
                    <a:pt x="279" y="310"/>
                  </a:lnTo>
                  <a:lnTo>
                    <a:pt x="276" y="299"/>
                  </a:lnTo>
                  <a:lnTo>
                    <a:pt x="266" y="293"/>
                  </a:lnTo>
                  <a:lnTo>
                    <a:pt x="266" y="293"/>
                  </a:lnTo>
                  <a:close/>
                  <a:moveTo>
                    <a:pt x="242" y="222"/>
                  </a:moveTo>
                  <a:lnTo>
                    <a:pt x="242" y="222"/>
                  </a:lnTo>
                  <a:lnTo>
                    <a:pt x="242" y="232"/>
                  </a:lnTo>
                  <a:lnTo>
                    <a:pt x="242" y="232"/>
                  </a:lnTo>
                  <a:lnTo>
                    <a:pt x="252" y="236"/>
                  </a:lnTo>
                  <a:lnTo>
                    <a:pt x="252" y="222"/>
                  </a:lnTo>
                  <a:lnTo>
                    <a:pt x="252" y="222"/>
                  </a:lnTo>
                  <a:lnTo>
                    <a:pt x="242" y="222"/>
                  </a:lnTo>
                  <a:lnTo>
                    <a:pt x="242" y="222"/>
                  </a:lnTo>
                  <a:close/>
                  <a:moveTo>
                    <a:pt x="245" y="84"/>
                  </a:moveTo>
                  <a:lnTo>
                    <a:pt x="245" y="84"/>
                  </a:lnTo>
                  <a:lnTo>
                    <a:pt x="242" y="101"/>
                  </a:lnTo>
                  <a:lnTo>
                    <a:pt x="242" y="101"/>
                  </a:lnTo>
                  <a:lnTo>
                    <a:pt x="245" y="105"/>
                  </a:lnTo>
                  <a:lnTo>
                    <a:pt x="245" y="105"/>
                  </a:lnTo>
                  <a:lnTo>
                    <a:pt x="255" y="105"/>
                  </a:lnTo>
                  <a:lnTo>
                    <a:pt x="255" y="98"/>
                  </a:lnTo>
                  <a:lnTo>
                    <a:pt x="255" y="84"/>
                  </a:lnTo>
                  <a:lnTo>
                    <a:pt x="255" y="84"/>
                  </a:lnTo>
                  <a:lnTo>
                    <a:pt x="245" y="84"/>
                  </a:lnTo>
                  <a:lnTo>
                    <a:pt x="245" y="84"/>
                  </a:lnTo>
                  <a:close/>
                  <a:moveTo>
                    <a:pt x="393" y="303"/>
                  </a:moveTo>
                  <a:lnTo>
                    <a:pt x="393" y="303"/>
                  </a:lnTo>
                  <a:lnTo>
                    <a:pt x="397" y="296"/>
                  </a:lnTo>
                  <a:lnTo>
                    <a:pt x="397" y="296"/>
                  </a:lnTo>
                  <a:lnTo>
                    <a:pt x="383" y="296"/>
                  </a:lnTo>
                  <a:lnTo>
                    <a:pt x="370" y="299"/>
                  </a:lnTo>
                  <a:lnTo>
                    <a:pt x="370" y="299"/>
                  </a:lnTo>
                  <a:lnTo>
                    <a:pt x="363" y="306"/>
                  </a:lnTo>
                  <a:lnTo>
                    <a:pt x="363" y="310"/>
                  </a:lnTo>
                  <a:lnTo>
                    <a:pt x="363" y="310"/>
                  </a:lnTo>
                  <a:lnTo>
                    <a:pt x="373" y="310"/>
                  </a:lnTo>
                  <a:lnTo>
                    <a:pt x="380" y="310"/>
                  </a:lnTo>
                  <a:lnTo>
                    <a:pt x="393" y="306"/>
                  </a:lnTo>
                  <a:lnTo>
                    <a:pt x="393" y="303"/>
                  </a:lnTo>
                  <a:close/>
                  <a:moveTo>
                    <a:pt x="208" y="471"/>
                  </a:moveTo>
                  <a:lnTo>
                    <a:pt x="208" y="471"/>
                  </a:lnTo>
                  <a:lnTo>
                    <a:pt x="202" y="478"/>
                  </a:lnTo>
                  <a:lnTo>
                    <a:pt x="202" y="478"/>
                  </a:lnTo>
                  <a:lnTo>
                    <a:pt x="198" y="481"/>
                  </a:lnTo>
                  <a:lnTo>
                    <a:pt x="198" y="491"/>
                  </a:lnTo>
                  <a:lnTo>
                    <a:pt x="202" y="504"/>
                  </a:lnTo>
                  <a:lnTo>
                    <a:pt x="202" y="504"/>
                  </a:lnTo>
                  <a:lnTo>
                    <a:pt x="252" y="508"/>
                  </a:lnTo>
                  <a:lnTo>
                    <a:pt x="252" y="508"/>
                  </a:lnTo>
                  <a:lnTo>
                    <a:pt x="266" y="504"/>
                  </a:lnTo>
                  <a:lnTo>
                    <a:pt x="266" y="504"/>
                  </a:lnTo>
                  <a:lnTo>
                    <a:pt x="269" y="508"/>
                  </a:lnTo>
                  <a:lnTo>
                    <a:pt x="269" y="511"/>
                  </a:lnTo>
                  <a:lnTo>
                    <a:pt x="272" y="521"/>
                  </a:lnTo>
                  <a:lnTo>
                    <a:pt x="272" y="521"/>
                  </a:lnTo>
                  <a:lnTo>
                    <a:pt x="286" y="521"/>
                  </a:lnTo>
                  <a:lnTo>
                    <a:pt x="302" y="518"/>
                  </a:lnTo>
                  <a:lnTo>
                    <a:pt x="302" y="518"/>
                  </a:lnTo>
                  <a:lnTo>
                    <a:pt x="306" y="515"/>
                  </a:lnTo>
                  <a:lnTo>
                    <a:pt x="306" y="515"/>
                  </a:lnTo>
                  <a:lnTo>
                    <a:pt x="319" y="511"/>
                  </a:lnTo>
                  <a:lnTo>
                    <a:pt x="319" y="511"/>
                  </a:lnTo>
                  <a:lnTo>
                    <a:pt x="350" y="508"/>
                  </a:lnTo>
                  <a:lnTo>
                    <a:pt x="350" y="508"/>
                  </a:lnTo>
                  <a:lnTo>
                    <a:pt x="353" y="508"/>
                  </a:lnTo>
                  <a:lnTo>
                    <a:pt x="356" y="508"/>
                  </a:lnTo>
                  <a:lnTo>
                    <a:pt x="356" y="508"/>
                  </a:lnTo>
                  <a:lnTo>
                    <a:pt x="363" y="504"/>
                  </a:lnTo>
                  <a:lnTo>
                    <a:pt x="363" y="494"/>
                  </a:lnTo>
                  <a:lnTo>
                    <a:pt x="363" y="488"/>
                  </a:lnTo>
                  <a:lnTo>
                    <a:pt x="366" y="484"/>
                  </a:lnTo>
                  <a:lnTo>
                    <a:pt x="366" y="484"/>
                  </a:lnTo>
                  <a:lnTo>
                    <a:pt x="360" y="484"/>
                  </a:lnTo>
                  <a:lnTo>
                    <a:pt x="360" y="484"/>
                  </a:lnTo>
                  <a:lnTo>
                    <a:pt x="353" y="491"/>
                  </a:lnTo>
                  <a:lnTo>
                    <a:pt x="353" y="491"/>
                  </a:lnTo>
                  <a:lnTo>
                    <a:pt x="350" y="491"/>
                  </a:lnTo>
                  <a:lnTo>
                    <a:pt x="346" y="491"/>
                  </a:lnTo>
                  <a:lnTo>
                    <a:pt x="346" y="491"/>
                  </a:lnTo>
                  <a:lnTo>
                    <a:pt x="339" y="494"/>
                  </a:lnTo>
                  <a:lnTo>
                    <a:pt x="336" y="498"/>
                  </a:lnTo>
                  <a:lnTo>
                    <a:pt x="329" y="498"/>
                  </a:lnTo>
                  <a:lnTo>
                    <a:pt x="329" y="498"/>
                  </a:lnTo>
                  <a:lnTo>
                    <a:pt x="329" y="491"/>
                  </a:lnTo>
                  <a:lnTo>
                    <a:pt x="333" y="484"/>
                  </a:lnTo>
                  <a:lnTo>
                    <a:pt x="333" y="484"/>
                  </a:lnTo>
                  <a:lnTo>
                    <a:pt x="306" y="488"/>
                  </a:lnTo>
                  <a:lnTo>
                    <a:pt x="302" y="484"/>
                  </a:lnTo>
                  <a:lnTo>
                    <a:pt x="302" y="484"/>
                  </a:lnTo>
                  <a:lnTo>
                    <a:pt x="286" y="481"/>
                  </a:lnTo>
                  <a:lnTo>
                    <a:pt x="269" y="481"/>
                  </a:lnTo>
                  <a:lnTo>
                    <a:pt x="269" y="481"/>
                  </a:lnTo>
                  <a:lnTo>
                    <a:pt x="262" y="484"/>
                  </a:lnTo>
                  <a:lnTo>
                    <a:pt x="255" y="488"/>
                  </a:lnTo>
                  <a:lnTo>
                    <a:pt x="252" y="488"/>
                  </a:lnTo>
                  <a:lnTo>
                    <a:pt x="252" y="488"/>
                  </a:lnTo>
                  <a:lnTo>
                    <a:pt x="242" y="484"/>
                  </a:lnTo>
                  <a:lnTo>
                    <a:pt x="235" y="481"/>
                  </a:lnTo>
                  <a:lnTo>
                    <a:pt x="235" y="481"/>
                  </a:lnTo>
                  <a:lnTo>
                    <a:pt x="239" y="478"/>
                  </a:lnTo>
                  <a:lnTo>
                    <a:pt x="239" y="474"/>
                  </a:lnTo>
                  <a:lnTo>
                    <a:pt x="239" y="474"/>
                  </a:lnTo>
                  <a:lnTo>
                    <a:pt x="239" y="471"/>
                  </a:lnTo>
                  <a:lnTo>
                    <a:pt x="239" y="471"/>
                  </a:lnTo>
                  <a:lnTo>
                    <a:pt x="229" y="471"/>
                  </a:lnTo>
                  <a:lnTo>
                    <a:pt x="229" y="471"/>
                  </a:lnTo>
                  <a:lnTo>
                    <a:pt x="229" y="474"/>
                  </a:lnTo>
                  <a:lnTo>
                    <a:pt x="229" y="478"/>
                  </a:lnTo>
                  <a:lnTo>
                    <a:pt x="229" y="478"/>
                  </a:lnTo>
                  <a:lnTo>
                    <a:pt x="215" y="474"/>
                  </a:lnTo>
                  <a:lnTo>
                    <a:pt x="208" y="471"/>
                  </a:lnTo>
                  <a:lnTo>
                    <a:pt x="208" y="471"/>
                  </a:lnTo>
                  <a:close/>
                  <a:moveTo>
                    <a:pt x="407" y="457"/>
                  </a:moveTo>
                  <a:lnTo>
                    <a:pt x="407" y="457"/>
                  </a:lnTo>
                  <a:lnTo>
                    <a:pt x="403" y="468"/>
                  </a:lnTo>
                  <a:lnTo>
                    <a:pt x="403" y="468"/>
                  </a:lnTo>
                  <a:lnTo>
                    <a:pt x="407" y="468"/>
                  </a:lnTo>
                  <a:lnTo>
                    <a:pt x="407" y="471"/>
                  </a:lnTo>
                  <a:lnTo>
                    <a:pt x="407" y="471"/>
                  </a:lnTo>
                  <a:lnTo>
                    <a:pt x="407" y="471"/>
                  </a:lnTo>
                  <a:lnTo>
                    <a:pt x="407" y="471"/>
                  </a:lnTo>
                  <a:lnTo>
                    <a:pt x="413" y="471"/>
                  </a:lnTo>
                  <a:lnTo>
                    <a:pt x="413" y="471"/>
                  </a:lnTo>
                  <a:lnTo>
                    <a:pt x="413" y="464"/>
                  </a:lnTo>
                  <a:lnTo>
                    <a:pt x="413" y="464"/>
                  </a:lnTo>
                  <a:lnTo>
                    <a:pt x="407" y="457"/>
                  </a:lnTo>
                  <a:lnTo>
                    <a:pt x="407" y="457"/>
                  </a:lnTo>
                  <a:close/>
                  <a:moveTo>
                    <a:pt x="161" y="424"/>
                  </a:moveTo>
                  <a:lnTo>
                    <a:pt x="161" y="424"/>
                  </a:lnTo>
                  <a:lnTo>
                    <a:pt x="161" y="434"/>
                  </a:lnTo>
                  <a:lnTo>
                    <a:pt x="165" y="441"/>
                  </a:lnTo>
                  <a:lnTo>
                    <a:pt x="165" y="441"/>
                  </a:lnTo>
                  <a:lnTo>
                    <a:pt x="168" y="441"/>
                  </a:lnTo>
                  <a:lnTo>
                    <a:pt x="168" y="441"/>
                  </a:lnTo>
                  <a:lnTo>
                    <a:pt x="171" y="431"/>
                  </a:lnTo>
                  <a:lnTo>
                    <a:pt x="171" y="431"/>
                  </a:lnTo>
                  <a:lnTo>
                    <a:pt x="161" y="424"/>
                  </a:lnTo>
                  <a:lnTo>
                    <a:pt x="161" y="424"/>
                  </a:lnTo>
                  <a:close/>
                  <a:moveTo>
                    <a:pt x="302" y="404"/>
                  </a:moveTo>
                  <a:lnTo>
                    <a:pt x="302" y="404"/>
                  </a:lnTo>
                  <a:lnTo>
                    <a:pt x="302" y="414"/>
                  </a:lnTo>
                  <a:lnTo>
                    <a:pt x="302" y="414"/>
                  </a:lnTo>
                  <a:lnTo>
                    <a:pt x="306" y="414"/>
                  </a:lnTo>
                  <a:lnTo>
                    <a:pt x="306" y="417"/>
                  </a:lnTo>
                  <a:lnTo>
                    <a:pt x="306" y="414"/>
                  </a:lnTo>
                  <a:lnTo>
                    <a:pt x="309" y="414"/>
                  </a:lnTo>
                  <a:lnTo>
                    <a:pt x="309" y="407"/>
                  </a:lnTo>
                  <a:lnTo>
                    <a:pt x="309" y="407"/>
                  </a:lnTo>
                  <a:lnTo>
                    <a:pt x="302" y="404"/>
                  </a:lnTo>
                  <a:lnTo>
                    <a:pt x="302" y="404"/>
                  </a:lnTo>
                  <a:close/>
                  <a:moveTo>
                    <a:pt x="269" y="390"/>
                  </a:moveTo>
                  <a:lnTo>
                    <a:pt x="269" y="397"/>
                  </a:lnTo>
                  <a:lnTo>
                    <a:pt x="269" y="397"/>
                  </a:lnTo>
                  <a:lnTo>
                    <a:pt x="279" y="394"/>
                  </a:lnTo>
                  <a:lnTo>
                    <a:pt x="269" y="390"/>
                  </a:lnTo>
                  <a:lnTo>
                    <a:pt x="269" y="390"/>
                  </a:lnTo>
                  <a:close/>
                  <a:moveTo>
                    <a:pt x="289" y="387"/>
                  </a:moveTo>
                  <a:lnTo>
                    <a:pt x="289" y="387"/>
                  </a:lnTo>
                  <a:lnTo>
                    <a:pt x="282" y="390"/>
                  </a:lnTo>
                  <a:lnTo>
                    <a:pt x="286" y="394"/>
                  </a:lnTo>
                  <a:lnTo>
                    <a:pt x="289" y="394"/>
                  </a:lnTo>
                  <a:lnTo>
                    <a:pt x="289" y="394"/>
                  </a:lnTo>
                  <a:lnTo>
                    <a:pt x="292" y="390"/>
                  </a:lnTo>
                  <a:lnTo>
                    <a:pt x="292" y="387"/>
                  </a:lnTo>
                  <a:lnTo>
                    <a:pt x="289" y="387"/>
                  </a:lnTo>
                  <a:lnTo>
                    <a:pt x="289" y="387"/>
                  </a:lnTo>
                  <a:close/>
                  <a:moveTo>
                    <a:pt x="363" y="383"/>
                  </a:moveTo>
                  <a:lnTo>
                    <a:pt x="363" y="383"/>
                  </a:lnTo>
                  <a:lnTo>
                    <a:pt x="353" y="390"/>
                  </a:lnTo>
                  <a:lnTo>
                    <a:pt x="356" y="397"/>
                  </a:lnTo>
                  <a:lnTo>
                    <a:pt x="356" y="397"/>
                  </a:lnTo>
                  <a:lnTo>
                    <a:pt x="363" y="397"/>
                  </a:lnTo>
                  <a:lnTo>
                    <a:pt x="363" y="397"/>
                  </a:lnTo>
                  <a:lnTo>
                    <a:pt x="366" y="387"/>
                  </a:lnTo>
                  <a:lnTo>
                    <a:pt x="366" y="383"/>
                  </a:lnTo>
                  <a:lnTo>
                    <a:pt x="363" y="383"/>
                  </a:lnTo>
                  <a:lnTo>
                    <a:pt x="363" y="383"/>
                  </a:lnTo>
                  <a:close/>
                  <a:moveTo>
                    <a:pt x="296" y="383"/>
                  </a:moveTo>
                  <a:lnTo>
                    <a:pt x="299" y="394"/>
                  </a:lnTo>
                  <a:lnTo>
                    <a:pt x="299" y="394"/>
                  </a:lnTo>
                  <a:lnTo>
                    <a:pt x="302" y="390"/>
                  </a:lnTo>
                  <a:lnTo>
                    <a:pt x="302" y="390"/>
                  </a:lnTo>
                  <a:lnTo>
                    <a:pt x="306" y="390"/>
                  </a:lnTo>
                  <a:lnTo>
                    <a:pt x="302" y="383"/>
                  </a:lnTo>
                  <a:lnTo>
                    <a:pt x="302" y="383"/>
                  </a:lnTo>
                  <a:lnTo>
                    <a:pt x="296" y="383"/>
                  </a:lnTo>
                  <a:lnTo>
                    <a:pt x="296" y="383"/>
                  </a:lnTo>
                  <a:close/>
                  <a:moveTo>
                    <a:pt x="255" y="380"/>
                  </a:moveTo>
                  <a:lnTo>
                    <a:pt x="255" y="380"/>
                  </a:lnTo>
                  <a:lnTo>
                    <a:pt x="245" y="390"/>
                  </a:lnTo>
                  <a:lnTo>
                    <a:pt x="245" y="390"/>
                  </a:lnTo>
                  <a:lnTo>
                    <a:pt x="245" y="390"/>
                  </a:lnTo>
                  <a:lnTo>
                    <a:pt x="242" y="390"/>
                  </a:lnTo>
                  <a:lnTo>
                    <a:pt x="245" y="394"/>
                  </a:lnTo>
                  <a:lnTo>
                    <a:pt x="245" y="394"/>
                  </a:lnTo>
                  <a:lnTo>
                    <a:pt x="252" y="394"/>
                  </a:lnTo>
                  <a:lnTo>
                    <a:pt x="252" y="394"/>
                  </a:lnTo>
                  <a:lnTo>
                    <a:pt x="255" y="383"/>
                  </a:lnTo>
                  <a:lnTo>
                    <a:pt x="266" y="387"/>
                  </a:lnTo>
                  <a:lnTo>
                    <a:pt x="266" y="387"/>
                  </a:lnTo>
                  <a:lnTo>
                    <a:pt x="262" y="383"/>
                  </a:lnTo>
                  <a:lnTo>
                    <a:pt x="259" y="380"/>
                  </a:lnTo>
                  <a:lnTo>
                    <a:pt x="259" y="380"/>
                  </a:lnTo>
                  <a:lnTo>
                    <a:pt x="255" y="380"/>
                  </a:lnTo>
                  <a:lnTo>
                    <a:pt x="255" y="380"/>
                  </a:lnTo>
                  <a:close/>
                  <a:moveTo>
                    <a:pt x="306" y="373"/>
                  </a:moveTo>
                  <a:lnTo>
                    <a:pt x="306" y="380"/>
                  </a:lnTo>
                  <a:lnTo>
                    <a:pt x="309" y="380"/>
                  </a:lnTo>
                  <a:lnTo>
                    <a:pt x="309" y="380"/>
                  </a:lnTo>
                  <a:lnTo>
                    <a:pt x="309" y="377"/>
                  </a:lnTo>
                  <a:lnTo>
                    <a:pt x="306" y="373"/>
                  </a:lnTo>
                  <a:lnTo>
                    <a:pt x="306" y="373"/>
                  </a:lnTo>
                  <a:close/>
                  <a:moveTo>
                    <a:pt x="316" y="370"/>
                  </a:moveTo>
                  <a:lnTo>
                    <a:pt x="316" y="373"/>
                  </a:lnTo>
                  <a:lnTo>
                    <a:pt x="316" y="373"/>
                  </a:lnTo>
                  <a:lnTo>
                    <a:pt x="319" y="373"/>
                  </a:lnTo>
                  <a:lnTo>
                    <a:pt x="319" y="373"/>
                  </a:lnTo>
                  <a:lnTo>
                    <a:pt x="319" y="370"/>
                  </a:lnTo>
                  <a:lnTo>
                    <a:pt x="316" y="370"/>
                  </a:lnTo>
                  <a:lnTo>
                    <a:pt x="316" y="370"/>
                  </a:lnTo>
                  <a:close/>
                  <a:moveTo>
                    <a:pt x="403" y="367"/>
                  </a:moveTo>
                  <a:lnTo>
                    <a:pt x="403" y="367"/>
                  </a:lnTo>
                  <a:lnTo>
                    <a:pt x="400" y="370"/>
                  </a:lnTo>
                  <a:lnTo>
                    <a:pt x="397" y="373"/>
                  </a:lnTo>
                  <a:lnTo>
                    <a:pt x="400" y="373"/>
                  </a:lnTo>
                  <a:lnTo>
                    <a:pt x="400" y="373"/>
                  </a:lnTo>
                  <a:lnTo>
                    <a:pt x="410" y="370"/>
                  </a:lnTo>
                  <a:lnTo>
                    <a:pt x="410" y="370"/>
                  </a:lnTo>
                  <a:lnTo>
                    <a:pt x="410" y="367"/>
                  </a:lnTo>
                  <a:lnTo>
                    <a:pt x="410" y="363"/>
                  </a:lnTo>
                  <a:lnTo>
                    <a:pt x="403" y="367"/>
                  </a:lnTo>
                  <a:lnTo>
                    <a:pt x="403" y="367"/>
                  </a:lnTo>
                  <a:close/>
                  <a:moveTo>
                    <a:pt x="339" y="367"/>
                  </a:moveTo>
                  <a:lnTo>
                    <a:pt x="339" y="367"/>
                  </a:lnTo>
                  <a:lnTo>
                    <a:pt x="326" y="377"/>
                  </a:lnTo>
                  <a:lnTo>
                    <a:pt x="323" y="380"/>
                  </a:lnTo>
                  <a:lnTo>
                    <a:pt x="326" y="383"/>
                  </a:lnTo>
                  <a:lnTo>
                    <a:pt x="329" y="380"/>
                  </a:lnTo>
                  <a:lnTo>
                    <a:pt x="329" y="380"/>
                  </a:lnTo>
                  <a:lnTo>
                    <a:pt x="343" y="370"/>
                  </a:lnTo>
                  <a:lnTo>
                    <a:pt x="346" y="363"/>
                  </a:lnTo>
                  <a:lnTo>
                    <a:pt x="343" y="363"/>
                  </a:lnTo>
                  <a:lnTo>
                    <a:pt x="339" y="367"/>
                  </a:lnTo>
                  <a:lnTo>
                    <a:pt x="339" y="367"/>
                  </a:lnTo>
                  <a:close/>
                  <a:moveTo>
                    <a:pt x="262" y="363"/>
                  </a:moveTo>
                  <a:lnTo>
                    <a:pt x="262" y="363"/>
                  </a:lnTo>
                  <a:lnTo>
                    <a:pt x="262" y="373"/>
                  </a:lnTo>
                  <a:lnTo>
                    <a:pt x="262" y="373"/>
                  </a:lnTo>
                  <a:lnTo>
                    <a:pt x="272" y="373"/>
                  </a:lnTo>
                  <a:lnTo>
                    <a:pt x="266" y="363"/>
                  </a:lnTo>
                  <a:lnTo>
                    <a:pt x="262" y="363"/>
                  </a:lnTo>
                  <a:close/>
                  <a:moveTo>
                    <a:pt x="292" y="353"/>
                  </a:moveTo>
                  <a:lnTo>
                    <a:pt x="292" y="353"/>
                  </a:lnTo>
                  <a:lnTo>
                    <a:pt x="289" y="357"/>
                  </a:lnTo>
                  <a:lnTo>
                    <a:pt x="289" y="357"/>
                  </a:lnTo>
                  <a:lnTo>
                    <a:pt x="289" y="357"/>
                  </a:lnTo>
                  <a:lnTo>
                    <a:pt x="286" y="367"/>
                  </a:lnTo>
                  <a:lnTo>
                    <a:pt x="286" y="367"/>
                  </a:lnTo>
                  <a:lnTo>
                    <a:pt x="279" y="367"/>
                  </a:lnTo>
                  <a:lnTo>
                    <a:pt x="279" y="367"/>
                  </a:lnTo>
                  <a:lnTo>
                    <a:pt x="279" y="373"/>
                  </a:lnTo>
                  <a:lnTo>
                    <a:pt x="282" y="373"/>
                  </a:lnTo>
                  <a:lnTo>
                    <a:pt x="286" y="370"/>
                  </a:lnTo>
                  <a:lnTo>
                    <a:pt x="286" y="367"/>
                  </a:lnTo>
                  <a:lnTo>
                    <a:pt x="286" y="367"/>
                  </a:lnTo>
                  <a:lnTo>
                    <a:pt x="286" y="367"/>
                  </a:lnTo>
                  <a:lnTo>
                    <a:pt x="296" y="363"/>
                  </a:lnTo>
                  <a:lnTo>
                    <a:pt x="296" y="363"/>
                  </a:lnTo>
                  <a:lnTo>
                    <a:pt x="296" y="353"/>
                  </a:lnTo>
                  <a:lnTo>
                    <a:pt x="296" y="353"/>
                  </a:lnTo>
                  <a:lnTo>
                    <a:pt x="292" y="353"/>
                  </a:lnTo>
                  <a:lnTo>
                    <a:pt x="292" y="353"/>
                  </a:lnTo>
                  <a:close/>
                  <a:moveTo>
                    <a:pt x="252" y="353"/>
                  </a:moveTo>
                  <a:lnTo>
                    <a:pt x="252" y="353"/>
                  </a:lnTo>
                  <a:lnTo>
                    <a:pt x="249" y="360"/>
                  </a:lnTo>
                  <a:lnTo>
                    <a:pt x="249" y="360"/>
                  </a:lnTo>
                  <a:lnTo>
                    <a:pt x="259" y="360"/>
                  </a:lnTo>
                  <a:lnTo>
                    <a:pt x="259" y="360"/>
                  </a:lnTo>
                  <a:lnTo>
                    <a:pt x="255" y="357"/>
                  </a:lnTo>
                  <a:lnTo>
                    <a:pt x="252" y="353"/>
                  </a:lnTo>
                  <a:lnTo>
                    <a:pt x="252" y="353"/>
                  </a:lnTo>
                  <a:close/>
                  <a:moveTo>
                    <a:pt x="309" y="350"/>
                  </a:moveTo>
                  <a:lnTo>
                    <a:pt x="309" y="350"/>
                  </a:lnTo>
                  <a:lnTo>
                    <a:pt x="302" y="357"/>
                  </a:lnTo>
                  <a:lnTo>
                    <a:pt x="299" y="360"/>
                  </a:lnTo>
                  <a:lnTo>
                    <a:pt x="299" y="367"/>
                  </a:lnTo>
                  <a:lnTo>
                    <a:pt x="299" y="367"/>
                  </a:lnTo>
                  <a:lnTo>
                    <a:pt x="302" y="370"/>
                  </a:lnTo>
                  <a:lnTo>
                    <a:pt x="302" y="370"/>
                  </a:lnTo>
                  <a:lnTo>
                    <a:pt x="309" y="370"/>
                  </a:lnTo>
                  <a:lnTo>
                    <a:pt x="309" y="370"/>
                  </a:lnTo>
                  <a:lnTo>
                    <a:pt x="316" y="367"/>
                  </a:lnTo>
                  <a:lnTo>
                    <a:pt x="316" y="367"/>
                  </a:lnTo>
                  <a:lnTo>
                    <a:pt x="316" y="353"/>
                  </a:lnTo>
                  <a:lnTo>
                    <a:pt x="309" y="350"/>
                  </a:lnTo>
                  <a:close/>
                  <a:moveTo>
                    <a:pt x="245" y="333"/>
                  </a:moveTo>
                  <a:lnTo>
                    <a:pt x="245" y="333"/>
                  </a:lnTo>
                  <a:lnTo>
                    <a:pt x="245" y="343"/>
                  </a:lnTo>
                  <a:lnTo>
                    <a:pt x="245" y="343"/>
                  </a:lnTo>
                  <a:lnTo>
                    <a:pt x="249" y="336"/>
                  </a:lnTo>
                  <a:lnTo>
                    <a:pt x="252" y="336"/>
                  </a:lnTo>
                  <a:lnTo>
                    <a:pt x="245" y="333"/>
                  </a:lnTo>
                  <a:lnTo>
                    <a:pt x="245" y="333"/>
                  </a:lnTo>
                  <a:close/>
                  <a:moveTo>
                    <a:pt x="292" y="330"/>
                  </a:moveTo>
                  <a:lnTo>
                    <a:pt x="292" y="330"/>
                  </a:lnTo>
                  <a:lnTo>
                    <a:pt x="296" y="330"/>
                  </a:lnTo>
                  <a:lnTo>
                    <a:pt x="296" y="333"/>
                  </a:lnTo>
                  <a:lnTo>
                    <a:pt x="296" y="333"/>
                  </a:lnTo>
                  <a:lnTo>
                    <a:pt x="302" y="333"/>
                  </a:lnTo>
                  <a:lnTo>
                    <a:pt x="302" y="333"/>
                  </a:lnTo>
                  <a:lnTo>
                    <a:pt x="306" y="330"/>
                  </a:lnTo>
                  <a:lnTo>
                    <a:pt x="306" y="330"/>
                  </a:lnTo>
                  <a:lnTo>
                    <a:pt x="292" y="330"/>
                  </a:lnTo>
                  <a:lnTo>
                    <a:pt x="292" y="330"/>
                  </a:lnTo>
                  <a:close/>
                  <a:moveTo>
                    <a:pt x="276" y="330"/>
                  </a:moveTo>
                  <a:lnTo>
                    <a:pt x="276" y="330"/>
                  </a:lnTo>
                  <a:lnTo>
                    <a:pt x="272" y="333"/>
                  </a:lnTo>
                  <a:lnTo>
                    <a:pt x="272" y="333"/>
                  </a:lnTo>
                  <a:lnTo>
                    <a:pt x="272" y="333"/>
                  </a:lnTo>
                  <a:lnTo>
                    <a:pt x="272" y="333"/>
                  </a:lnTo>
                  <a:lnTo>
                    <a:pt x="272" y="336"/>
                  </a:lnTo>
                  <a:lnTo>
                    <a:pt x="272" y="336"/>
                  </a:lnTo>
                  <a:lnTo>
                    <a:pt x="279" y="336"/>
                  </a:lnTo>
                  <a:lnTo>
                    <a:pt x="279" y="336"/>
                  </a:lnTo>
                  <a:lnTo>
                    <a:pt x="276" y="330"/>
                  </a:lnTo>
                  <a:lnTo>
                    <a:pt x="276" y="330"/>
                  </a:lnTo>
                  <a:close/>
                  <a:moveTo>
                    <a:pt x="242" y="316"/>
                  </a:moveTo>
                  <a:lnTo>
                    <a:pt x="242" y="316"/>
                  </a:lnTo>
                  <a:lnTo>
                    <a:pt x="239" y="323"/>
                  </a:lnTo>
                  <a:lnTo>
                    <a:pt x="239" y="323"/>
                  </a:lnTo>
                  <a:lnTo>
                    <a:pt x="239" y="323"/>
                  </a:lnTo>
                  <a:lnTo>
                    <a:pt x="239" y="326"/>
                  </a:lnTo>
                  <a:lnTo>
                    <a:pt x="239" y="326"/>
                  </a:lnTo>
                  <a:lnTo>
                    <a:pt x="245" y="326"/>
                  </a:lnTo>
                  <a:lnTo>
                    <a:pt x="245" y="320"/>
                  </a:lnTo>
                  <a:lnTo>
                    <a:pt x="245" y="320"/>
                  </a:lnTo>
                  <a:lnTo>
                    <a:pt x="242" y="316"/>
                  </a:lnTo>
                  <a:lnTo>
                    <a:pt x="242" y="316"/>
                  </a:lnTo>
                  <a:close/>
                  <a:moveTo>
                    <a:pt x="346" y="310"/>
                  </a:moveTo>
                  <a:lnTo>
                    <a:pt x="346" y="310"/>
                  </a:lnTo>
                  <a:lnTo>
                    <a:pt x="339" y="313"/>
                  </a:lnTo>
                  <a:lnTo>
                    <a:pt x="336" y="316"/>
                  </a:lnTo>
                  <a:lnTo>
                    <a:pt x="329" y="326"/>
                  </a:lnTo>
                  <a:lnTo>
                    <a:pt x="329" y="326"/>
                  </a:lnTo>
                  <a:lnTo>
                    <a:pt x="336" y="330"/>
                  </a:lnTo>
                  <a:lnTo>
                    <a:pt x="336" y="330"/>
                  </a:lnTo>
                  <a:lnTo>
                    <a:pt x="350" y="320"/>
                  </a:lnTo>
                  <a:lnTo>
                    <a:pt x="353" y="320"/>
                  </a:lnTo>
                  <a:lnTo>
                    <a:pt x="363" y="320"/>
                  </a:lnTo>
                  <a:lnTo>
                    <a:pt x="363" y="320"/>
                  </a:lnTo>
                  <a:lnTo>
                    <a:pt x="363" y="316"/>
                  </a:lnTo>
                  <a:lnTo>
                    <a:pt x="363" y="316"/>
                  </a:lnTo>
                  <a:lnTo>
                    <a:pt x="360" y="313"/>
                  </a:lnTo>
                  <a:lnTo>
                    <a:pt x="360" y="313"/>
                  </a:lnTo>
                  <a:lnTo>
                    <a:pt x="360" y="313"/>
                  </a:lnTo>
                  <a:lnTo>
                    <a:pt x="360" y="313"/>
                  </a:lnTo>
                  <a:lnTo>
                    <a:pt x="346" y="310"/>
                  </a:lnTo>
                  <a:lnTo>
                    <a:pt x="346" y="310"/>
                  </a:lnTo>
                  <a:close/>
                  <a:moveTo>
                    <a:pt x="30" y="296"/>
                  </a:moveTo>
                  <a:lnTo>
                    <a:pt x="30" y="296"/>
                  </a:lnTo>
                  <a:lnTo>
                    <a:pt x="30" y="299"/>
                  </a:lnTo>
                  <a:lnTo>
                    <a:pt x="30" y="303"/>
                  </a:lnTo>
                  <a:lnTo>
                    <a:pt x="30" y="303"/>
                  </a:lnTo>
                  <a:lnTo>
                    <a:pt x="40" y="316"/>
                  </a:lnTo>
                  <a:lnTo>
                    <a:pt x="40" y="316"/>
                  </a:lnTo>
                  <a:lnTo>
                    <a:pt x="50" y="313"/>
                  </a:lnTo>
                  <a:lnTo>
                    <a:pt x="50" y="313"/>
                  </a:lnTo>
                  <a:lnTo>
                    <a:pt x="54" y="310"/>
                  </a:lnTo>
                  <a:lnTo>
                    <a:pt x="54" y="310"/>
                  </a:lnTo>
                  <a:lnTo>
                    <a:pt x="44" y="299"/>
                  </a:lnTo>
                  <a:lnTo>
                    <a:pt x="30" y="296"/>
                  </a:lnTo>
                  <a:lnTo>
                    <a:pt x="30" y="296"/>
                  </a:lnTo>
                  <a:close/>
                  <a:moveTo>
                    <a:pt x="131" y="273"/>
                  </a:moveTo>
                  <a:lnTo>
                    <a:pt x="131" y="273"/>
                  </a:lnTo>
                  <a:lnTo>
                    <a:pt x="134" y="273"/>
                  </a:lnTo>
                  <a:lnTo>
                    <a:pt x="134" y="276"/>
                  </a:lnTo>
                  <a:lnTo>
                    <a:pt x="134" y="276"/>
                  </a:lnTo>
                  <a:lnTo>
                    <a:pt x="134" y="279"/>
                  </a:lnTo>
                  <a:lnTo>
                    <a:pt x="134" y="279"/>
                  </a:lnTo>
                  <a:lnTo>
                    <a:pt x="141" y="276"/>
                  </a:lnTo>
                  <a:lnTo>
                    <a:pt x="148" y="273"/>
                  </a:lnTo>
                  <a:lnTo>
                    <a:pt x="148" y="273"/>
                  </a:lnTo>
                  <a:lnTo>
                    <a:pt x="155" y="286"/>
                  </a:lnTo>
                  <a:lnTo>
                    <a:pt x="155" y="286"/>
                  </a:lnTo>
                  <a:lnTo>
                    <a:pt x="171" y="289"/>
                  </a:lnTo>
                  <a:lnTo>
                    <a:pt x="175" y="289"/>
                  </a:lnTo>
                  <a:lnTo>
                    <a:pt x="168" y="296"/>
                  </a:lnTo>
                  <a:lnTo>
                    <a:pt x="168" y="296"/>
                  </a:lnTo>
                  <a:lnTo>
                    <a:pt x="161" y="296"/>
                  </a:lnTo>
                  <a:lnTo>
                    <a:pt x="161" y="296"/>
                  </a:lnTo>
                  <a:lnTo>
                    <a:pt x="158" y="303"/>
                  </a:lnTo>
                  <a:lnTo>
                    <a:pt x="158" y="303"/>
                  </a:lnTo>
                  <a:lnTo>
                    <a:pt x="134" y="293"/>
                  </a:lnTo>
                  <a:lnTo>
                    <a:pt x="108" y="279"/>
                  </a:lnTo>
                  <a:lnTo>
                    <a:pt x="108" y="276"/>
                  </a:lnTo>
                  <a:lnTo>
                    <a:pt x="108" y="276"/>
                  </a:lnTo>
                  <a:lnTo>
                    <a:pt x="114" y="273"/>
                  </a:lnTo>
                  <a:lnTo>
                    <a:pt x="114" y="273"/>
                  </a:lnTo>
                  <a:lnTo>
                    <a:pt x="118" y="276"/>
                  </a:lnTo>
                  <a:lnTo>
                    <a:pt x="124" y="279"/>
                  </a:lnTo>
                  <a:lnTo>
                    <a:pt x="124" y="279"/>
                  </a:lnTo>
                  <a:lnTo>
                    <a:pt x="131" y="273"/>
                  </a:lnTo>
                  <a:lnTo>
                    <a:pt x="131" y="273"/>
                  </a:lnTo>
                  <a:close/>
                  <a:moveTo>
                    <a:pt x="27" y="256"/>
                  </a:moveTo>
                  <a:lnTo>
                    <a:pt x="24" y="266"/>
                  </a:lnTo>
                  <a:lnTo>
                    <a:pt x="24" y="266"/>
                  </a:lnTo>
                  <a:lnTo>
                    <a:pt x="17" y="266"/>
                  </a:lnTo>
                  <a:lnTo>
                    <a:pt x="17" y="266"/>
                  </a:lnTo>
                  <a:lnTo>
                    <a:pt x="17" y="266"/>
                  </a:lnTo>
                  <a:lnTo>
                    <a:pt x="17" y="269"/>
                  </a:lnTo>
                  <a:lnTo>
                    <a:pt x="17" y="269"/>
                  </a:lnTo>
                  <a:lnTo>
                    <a:pt x="17" y="276"/>
                  </a:lnTo>
                  <a:lnTo>
                    <a:pt x="17" y="276"/>
                  </a:lnTo>
                  <a:lnTo>
                    <a:pt x="24" y="276"/>
                  </a:lnTo>
                  <a:lnTo>
                    <a:pt x="24" y="276"/>
                  </a:lnTo>
                  <a:lnTo>
                    <a:pt x="24" y="283"/>
                  </a:lnTo>
                  <a:lnTo>
                    <a:pt x="24" y="283"/>
                  </a:lnTo>
                  <a:lnTo>
                    <a:pt x="40" y="283"/>
                  </a:lnTo>
                  <a:lnTo>
                    <a:pt x="40" y="283"/>
                  </a:lnTo>
                  <a:lnTo>
                    <a:pt x="40" y="279"/>
                  </a:lnTo>
                  <a:lnTo>
                    <a:pt x="44" y="276"/>
                  </a:lnTo>
                  <a:lnTo>
                    <a:pt x="44" y="276"/>
                  </a:lnTo>
                  <a:lnTo>
                    <a:pt x="37" y="269"/>
                  </a:lnTo>
                  <a:lnTo>
                    <a:pt x="37" y="269"/>
                  </a:lnTo>
                  <a:lnTo>
                    <a:pt x="37" y="259"/>
                  </a:lnTo>
                  <a:lnTo>
                    <a:pt x="34" y="256"/>
                  </a:lnTo>
                  <a:lnTo>
                    <a:pt x="27" y="256"/>
                  </a:lnTo>
                  <a:lnTo>
                    <a:pt x="27" y="256"/>
                  </a:lnTo>
                  <a:close/>
                  <a:moveTo>
                    <a:pt x="302" y="246"/>
                  </a:moveTo>
                  <a:lnTo>
                    <a:pt x="302" y="246"/>
                  </a:lnTo>
                  <a:lnTo>
                    <a:pt x="302" y="252"/>
                  </a:lnTo>
                  <a:lnTo>
                    <a:pt x="302" y="252"/>
                  </a:lnTo>
                  <a:lnTo>
                    <a:pt x="309" y="252"/>
                  </a:lnTo>
                  <a:lnTo>
                    <a:pt x="309" y="252"/>
                  </a:lnTo>
                  <a:lnTo>
                    <a:pt x="309" y="249"/>
                  </a:lnTo>
                  <a:lnTo>
                    <a:pt x="309" y="246"/>
                  </a:lnTo>
                  <a:lnTo>
                    <a:pt x="309" y="246"/>
                  </a:lnTo>
                  <a:lnTo>
                    <a:pt x="309" y="246"/>
                  </a:lnTo>
                  <a:lnTo>
                    <a:pt x="302" y="246"/>
                  </a:lnTo>
                  <a:lnTo>
                    <a:pt x="302" y="246"/>
                  </a:lnTo>
                  <a:close/>
                  <a:moveTo>
                    <a:pt x="323" y="242"/>
                  </a:moveTo>
                  <a:lnTo>
                    <a:pt x="323" y="242"/>
                  </a:lnTo>
                  <a:lnTo>
                    <a:pt x="319" y="249"/>
                  </a:lnTo>
                  <a:lnTo>
                    <a:pt x="319" y="249"/>
                  </a:lnTo>
                  <a:lnTo>
                    <a:pt x="329" y="252"/>
                  </a:lnTo>
                  <a:lnTo>
                    <a:pt x="329" y="252"/>
                  </a:lnTo>
                  <a:lnTo>
                    <a:pt x="329" y="263"/>
                  </a:lnTo>
                  <a:lnTo>
                    <a:pt x="329" y="263"/>
                  </a:lnTo>
                  <a:lnTo>
                    <a:pt x="323" y="273"/>
                  </a:lnTo>
                  <a:lnTo>
                    <a:pt x="323" y="273"/>
                  </a:lnTo>
                  <a:lnTo>
                    <a:pt x="333" y="279"/>
                  </a:lnTo>
                  <a:lnTo>
                    <a:pt x="336" y="276"/>
                  </a:lnTo>
                  <a:lnTo>
                    <a:pt x="339" y="273"/>
                  </a:lnTo>
                  <a:lnTo>
                    <a:pt x="339" y="273"/>
                  </a:lnTo>
                  <a:lnTo>
                    <a:pt x="343" y="266"/>
                  </a:lnTo>
                  <a:lnTo>
                    <a:pt x="343" y="256"/>
                  </a:lnTo>
                  <a:lnTo>
                    <a:pt x="339" y="249"/>
                  </a:lnTo>
                  <a:lnTo>
                    <a:pt x="333" y="242"/>
                  </a:lnTo>
                  <a:lnTo>
                    <a:pt x="333" y="242"/>
                  </a:lnTo>
                  <a:lnTo>
                    <a:pt x="323" y="242"/>
                  </a:lnTo>
                  <a:lnTo>
                    <a:pt x="323" y="242"/>
                  </a:lnTo>
                  <a:close/>
                  <a:moveTo>
                    <a:pt x="296" y="239"/>
                  </a:moveTo>
                  <a:lnTo>
                    <a:pt x="296" y="239"/>
                  </a:lnTo>
                  <a:lnTo>
                    <a:pt x="292" y="246"/>
                  </a:lnTo>
                  <a:lnTo>
                    <a:pt x="292" y="246"/>
                  </a:lnTo>
                  <a:lnTo>
                    <a:pt x="292" y="246"/>
                  </a:lnTo>
                  <a:lnTo>
                    <a:pt x="292" y="246"/>
                  </a:lnTo>
                  <a:lnTo>
                    <a:pt x="296" y="242"/>
                  </a:lnTo>
                  <a:lnTo>
                    <a:pt x="296" y="239"/>
                  </a:lnTo>
                  <a:lnTo>
                    <a:pt x="296" y="239"/>
                  </a:lnTo>
                  <a:lnTo>
                    <a:pt x="296" y="239"/>
                  </a:lnTo>
                  <a:close/>
                  <a:moveTo>
                    <a:pt x="195" y="215"/>
                  </a:moveTo>
                  <a:lnTo>
                    <a:pt x="195" y="219"/>
                  </a:lnTo>
                  <a:lnTo>
                    <a:pt x="195" y="219"/>
                  </a:lnTo>
                  <a:lnTo>
                    <a:pt x="195" y="219"/>
                  </a:lnTo>
                  <a:lnTo>
                    <a:pt x="198" y="222"/>
                  </a:lnTo>
                  <a:lnTo>
                    <a:pt x="205" y="222"/>
                  </a:lnTo>
                  <a:lnTo>
                    <a:pt x="205" y="222"/>
                  </a:lnTo>
                  <a:lnTo>
                    <a:pt x="205" y="215"/>
                  </a:lnTo>
                  <a:lnTo>
                    <a:pt x="205" y="215"/>
                  </a:lnTo>
                  <a:lnTo>
                    <a:pt x="195" y="215"/>
                  </a:lnTo>
                  <a:lnTo>
                    <a:pt x="195" y="215"/>
                  </a:lnTo>
                  <a:close/>
                  <a:moveTo>
                    <a:pt x="208" y="209"/>
                  </a:moveTo>
                  <a:lnTo>
                    <a:pt x="208" y="209"/>
                  </a:lnTo>
                  <a:lnTo>
                    <a:pt x="205" y="212"/>
                  </a:lnTo>
                  <a:lnTo>
                    <a:pt x="205" y="215"/>
                  </a:lnTo>
                  <a:lnTo>
                    <a:pt x="208" y="215"/>
                  </a:lnTo>
                  <a:lnTo>
                    <a:pt x="208" y="215"/>
                  </a:lnTo>
                  <a:lnTo>
                    <a:pt x="212" y="209"/>
                  </a:lnTo>
                  <a:lnTo>
                    <a:pt x="212" y="209"/>
                  </a:lnTo>
                  <a:lnTo>
                    <a:pt x="208" y="209"/>
                  </a:lnTo>
                  <a:lnTo>
                    <a:pt x="208" y="209"/>
                  </a:lnTo>
                  <a:close/>
                  <a:moveTo>
                    <a:pt x="218" y="199"/>
                  </a:moveTo>
                  <a:lnTo>
                    <a:pt x="222" y="205"/>
                  </a:lnTo>
                  <a:lnTo>
                    <a:pt x="222" y="205"/>
                  </a:lnTo>
                  <a:lnTo>
                    <a:pt x="222" y="202"/>
                  </a:lnTo>
                  <a:lnTo>
                    <a:pt x="218" y="199"/>
                  </a:lnTo>
                  <a:lnTo>
                    <a:pt x="218" y="199"/>
                  </a:lnTo>
                  <a:close/>
                  <a:moveTo>
                    <a:pt x="333" y="182"/>
                  </a:moveTo>
                  <a:lnTo>
                    <a:pt x="333" y="182"/>
                  </a:lnTo>
                  <a:lnTo>
                    <a:pt x="329" y="189"/>
                  </a:lnTo>
                  <a:lnTo>
                    <a:pt x="329" y="189"/>
                  </a:lnTo>
                  <a:lnTo>
                    <a:pt x="316" y="189"/>
                  </a:lnTo>
                  <a:lnTo>
                    <a:pt x="316" y="189"/>
                  </a:lnTo>
                  <a:lnTo>
                    <a:pt x="316" y="192"/>
                  </a:lnTo>
                  <a:lnTo>
                    <a:pt x="316" y="192"/>
                  </a:lnTo>
                  <a:lnTo>
                    <a:pt x="319" y="199"/>
                  </a:lnTo>
                  <a:lnTo>
                    <a:pt x="319" y="199"/>
                  </a:lnTo>
                  <a:lnTo>
                    <a:pt x="326" y="205"/>
                  </a:lnTo>
                  <a:lnTo>
                    <a:pt x="326" y="205"/>
                  </a:lnTo>
                  <a:lnTo>
                    <a:pt x="329" y="205"/>
                  </a:lnTo>
                  <a:lnTo>
                    <a:pt x="333" y="205"/>
                  </a:lnTo>
                  <a:lnTo>
                    <a:pt x="336" y="205"/>
                  </a:lnTo>
                  <a:lnTo>
                    <a:pt x="336" y="205"/>
                  </a:lnTo>
                  <a:lnTo>
                    <a:pt x="336" y="209"/>
                  </a:lnTo>
                  <a:lnTo>
                    <a:pt x="336" y="209"/>
                  </a:lnTo>
                  <a:lnTo>
                    <a:pt x="346" y="212"/>
                  </a:lnTo>
                  <a:lnTo>
                    <a:pt x="356" y="212"/>
                  </a:lnTo>
                  <a:lnTo>
                    <a:pt x="356" y="209"/>
                  </a:lnTo>
                  <a:lnTo>
                    <a:pt x="356" y="209"/>
                  </a:lnTo>
                  <a:lnTo>
                    <a:pt x="363" y="209"/>
                  </a:lnTo>
                  <a:lnTo>
                    <a:pt x="363" y="209"/>
                  </a:lnTo>
                  <a:lnTo>
                    <a:pt x="363" y="202"/>
                  </a:lnTo>
                  <a:lnTo>
                    <a:pt x="363" y="202"/>
                  </a:lnTo>
                  <a:lnTo>
                    <a:pt x="356" y="195"/>
                  </a:lnTo>
                  <a:lnTo>
                    <a:pt x="350" y="189"/>
                  </a:lnTo>
                  <a:lnTo>
                    <a:pt x="350" y="189"/>
                  </a:lnTo>
                  <a:lnTo>
                    <a:pt x="350" y="182"/>
                  </a:lnTo>
                  <a:lnTo>
                    <a:pt x="350" y="182"/>
                  </a:lnTo>
                  <a:lnTo>
                    <a:pt x="333" y="182"/>
                  </a:lnTo>
                  <a:lnTo>
                    <a:pt x="333" y="182"/>
                  </a:lnTo>
                  <a:close/>
                  <a:moveTo>
                    <a:pt x="269" y="178"/>
                  </a:moveTo>
                  <a:lnTo>
                    <a:pt x="269" y="185"/>
                  </a:lnTo>
                  <a:lnTo>
                    <a:pt x="269" y="185"/>
                  </a:lnTo>
                  <a:lnTo>
                    <a:pt x="272" y="185"/>
                  </a:lnTo>
                  <a:lnTo>
                    <a:pt x="272" y="182"/>
                  </a:lnTo>
                  <a:lnTo>
                    <a:pt x="272" y="178"/>
                  </a:lnTo>
                  <a:lnTo>
                    <a:pt x="269" y="178"/>
                  </a:lnTo>
                  <a:lnTo>
                    <a:pt x="269" y="178"/>
                  </a:lnTo>
                  <a:close/>
                  <a:moveTo>
                    <a:pt x="266" y="145"/>
                  </a:moveTo>
                  <a:lnTo>
                    <a:pt x="266" y="145"/>
                  </a:lnTo>
                  <a:lnTo>
                    <a:pt x="272" y="162"/>
                  </a:lnTo>
                  <a:lnTo>
                    <a:pt x="272" y="162"/>
                  </a:lnTo>
                  <a:lnTo>
                    <a:pt x="279" y="162"/>
                  </a:lnTo>
                  <a:lnTo>
                    <a:pt x="279" y="158"/>
                  </a:lnTo>
                  <a:lnTo>
                    <a:pt x="279" y="158"/>
                  </a:lnTo>
                  <a:lnTo>
                    <a:pt x="279" y="158"/>
                  </a:lnTo>
                  <a:lnTo>
                    <a:pt x="279" y="162"/>
                  </a:lnTo>
                  <a:lnTo>
                    <a:pt x="286" y="158"/>
                  </a:lnTo>
                  <a:lnTo>
                    <a:pt x="286" y="158"/>
                  </a:lnTo>
                  <a:lnTo>
                    <a:pt x="289" y="145"/>
                  </a:lnTo>
                  <a:lnTo>
                    <a:pt x="289" y="145"/>
                  </a:lnTo>
                  <a:lnTo>
                    <a:pt x="266" y="145"/>
                  </a:lnTo>
                  <a:lnTo>
                    <a:pt x="266" y="145"/>
                  </a:lnTo>
                  <a:close/>
                  <a:moveTo>
                    <a:pt x="292" y="101"/>
                  </a:moveTo>
                  <a:lnTo>
                    <a:pt x="292" y="101"/>
                  </a:lnTo>
                  <a:lnTo>
                    <a:pt x="292" y="105"/>
                  </a:lnTo>
                  <a:lnTo>
                    <a:pt x="292" y="108"/>
                  </a:lnTo>
                  <a:lnTo>
                    <a:pt x="292" y="111"/>
                  </a:lnTo>
                  <a:lnTo>
                    <a:pt x="292" y="111"/>
                  </a:lnTo>
                  <a:lnTo>
                    <a:pt x="299" y="111"/>
                  </a:lnTo>
                  <a:lnTo>
                    <a:pt x="309" y="111"/>
                  </a:lnTo>
                  <a:lnTo>
                    <a:pt x="309" y="111"/>
                  </a:lnTo>
                  <a:lnTo>
                    <a:pt x="309" y="105"/>
                  </a:lnTo>
                  <a:lnTo>
                    <a:pt x="309" y="105"/>
                  </a:lnTo>
                  <a:lnTo>
                    <a:pt x="292" y="101"/>
                  </a:lnTo>
                  <a:lnTo>
                    <a:pt x="292" y="101"/>
                  </a:lnTo>
                  <a:close/>
                </a:path>
              </a:pathLst>
            </a:custGeom>
            <a:solidFill>
              <a:srgbClr val="C0C0C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EYInterstate" pitchFamily="2" charset="0"/>
                <a:cs typeface="Arial" charset="0"/>
              </a:endParaRPr>
            </a:p>
          </p:txBody>
        </p:sp>
        <p:sp>
          <p:nvSpPr>
            <p:cNvPr id="42" name="Freeform 57"/>
            <p:cNvSpPr>
              <a:spLocks noEditPoints="1"/>
            </p:cNvSpPr>
            <p:nvPr/>
          </p:nvSpPr>
          <p:spPr bwMode="auto">
            <a:xfrm>
              <a:off x="2699" y="2280"/>
              <a:ext cx="431" cy="533"/>
            </a:xfrm>
            <a:custGeom>
              <a:avLst/>
              <a:gdLst/>
              <a:ahLst/>
              <a:cxnLst>
                <a:cxn ang="0">
                  <a:pos x="416" y="255"/>
                </a:cxn>
                <a:cxn ang="0">
                  <a:pos x="420" y="225"/>
                </a:cxn>
                <a:cxn ang="0">
                  <a:pos x="406" y="188"/>
                </a:cxn>
                <a:cxn ang="0">
                  <a:pos x="406" y="158"/>
                </a:cxn>
                <a:cxn ang="0">
                  <a:pos x="400" y="111"/>
                </a:cxn>
                <a:cxn ang="0">
                  <a:pos x="369" y="60"/>
                </a:cxn>
                <a:cxn ang="0">
                  <a:pos x="369" y="43"/>
                </a:cxn>
                <a:cxn ang="0">
                  <a:pos x="336" y="53"/>
                </a:cxn>
                <a:cxn ang="0">
                  <a:pos x="312" y="70"/>
                </a:cxn>
                <a:cxn ang="0">
                  <a:pos x="255" y="74"/>
                </a:cxn>
                <a:cxn ang="0">
                  <a:pos x="248" y="47"/>
                </a:cxn>
                <a:cxn ang="0">
                  <a:pos x="228" y="30"/>
                </a:cxn>
                <a:cxn ang="0">
                  <a:pos x="188" y="3"/>
                </a:cxn>
                <a:cxn ang="0">
                  <a:pos x="174" y="57"/>
                </a:cxn>
                <a:cxn ang="0">
                  <a:pos x="188" y="80"/>
                </a:cxn>
                <a:cxn ang="0">
                  <a:pos x="158" y="101"/>
                </a:cxn>
                <a:cxn ang="0">
                  <a:pos x="134" y="94"/>
                </a:cxn>
                <a:cxn ang="0">
                  <a:pos x="100" y="107"/>
                </a:cxn>
                <a:cxn ang="0">
                  <a:pos x="70" y="161"/>
                </a:cxn>
                <a:cxn ang="0">
                  <a:pos x="64" y="188"/>
                </a:cxn>
                <a:cxn ang="0">
                  <a:pos x="27" y="201"/>
                </a:cxn>
                <a:cxn ang="0">
                  <a:pos x="3" y="252"/>
                </a:cxn>
                <a:cxn ang="0">
                  <a:pos x="6" y="275"/>
                </a:cxn>
                <a:cxn ang="0">
                  <a:pos x="16" y="312"/>
                </a:cxn>
                <a:cxn ang="0">
                  <a:pos x="13" y="356"/>
                </a:cxn>
                <a:cxn ang="0">
                  <a:pos x="13" y="396"/>
                </a:cxn>
                <a:cxn ang="0">
                  <a:pos x="33" y="403"/>
                </a:cxn>
                <a:cxn ang="0">
                  <a:pos x="50" y="413"/>
                </a:cxn>
                <a:cxn ang="0">
                  <a:pos x="64" y="430"/>
                </a:cxn>
                <a:cxn ang="0">
                  <a:pos x="74" y="447"/>
                </a:cxn>
                <a:cxn ang="0">
                  <a:pos x="53" y="477"/>
                </a:cxn>
                <a:cxn ang="0">
                  <a:pos x="50" y="521"/>
                </a:cxn>
                <a:cxn ang="0">
                  <a:pos x="70" y="527"/>
                </a:cxn>
                <a:cxn ang="0">
                  <a:pos x="97" y="531"/>
                </a:cxn>
                <a:cxn ang="0">
                  <a:pos x="94" y="517"/>
                </a:cxn>
                <a:cxn ang="0">
                  <a:pos x="114" y="527"/>
                </a:cxn>
                <a:cxn ang="0">
                  <a:pos x="144" y="544"/>
                </a:cxn>
                <a:cxn ang="0">
                  <a:pos x="171" y="564"/>
                </a:cxn>
                <a:cxn ang="0">
                  <a:pos x="188" y="547"/>
                </a:cxn>
                <a:cxn ang="0">
                  <a:pos x="208" y="547"/>
                </a:cxn>
                <a:cxn ang="0">
                  <a:pos x="228" y="554"/>
                </a:cxn>
                <a:cxn ang="0">
                  <a:pos x="258" y="547"/>
                </a:cxn>
                <a:cxn ang="0">
                  <a:pos x="285" y="544"/>
                </a:cxn>
                <a:cxn ang="0">
                  <a:pos x="302" y="558"/>
                </a:cxn>
                <a:cxn ang="0">
                  <a:pos x="309" y="547"/>
                </a:cxn>
                <a:cxn ang="0">
                  <a:pos x="299" y="517"/>
                </a:cxn>
                <a:cxn ang="0">
                  <a:pos x="326" y="487"/>
                </a:cxn>
                <a:cxn ang="0">
                  <a:pos x="346" y="470"/>
                </a:cxn>
                <a:cxn ang="0">
                  <a:pos x="329" y="450"/>
                </a:cxn>
                <a:cxn ang="0">
                  <a:pos x="316" y="427"/>
                </a:cxn>
                <a:cxn ang="0">
                  <a:pos x="295" y="410"/>
                </a:cxn>
                <a:cxn ang="0">
                  <a:pos x="295" y="379"/>
                </a:cxn>
                <a:cxn ang="0">
                  <a:pos x="279" y="356"/>
                </a:cxn>
                <a:cxn ang="0">
                  <a:pos x="292" y="359"/>
                </a:cxn>
                <a:cxn ang="0">
                  <a:pos x="329" y="339"/>
                </a:cxn>
                <a:cxn ang="0">
                  <a:pos x="349" y="332"/>
                </a:cxn>
                <a:cxn ang="0">
                  <a:pos x="390" y="316"/>
                </a:cxn>
                <a:cxn ang="0">
                  <a:pos x="406" y="319"/>
                </a:cxn>
                <a:cxn ang="0">
                  <a:pos x="426" y="309"/>
                </a:cxn>
                <a:cxn ang="0">
                  <a:pos x="195" y="101"/>
                </a:cxn>
              </a:cxnLst>
              <a:rect l="0" t="0" r="r" b="b"/>
              <a:pathLst>
                <a:path w="430" h="568">
                  <a:moveTo>
                    <a:pt x="430" y="292"/>
                  </a:moveTo>
                  <a:lnTo>
                    <a:pt x="430" y="292"/>
                  </a:lnTo>
                  <a:lnTo>
                    <a:pt x="426" y="279"/>
                  </a:lnTo>
                  <a:lnTo>
                    <a:pt x="426" y="279"/>
                  </a:lnTo>
                  <a:lnTo>
                    <a:pt x="420" y="272"/>
                  </a:lnTo>
                  <a:lnTo>
                    <a:pt x="420" y="272"/>
                  </a:lnTo>
                  <a:lnTo>
                    <a:pt x="416" y="272"/>
                  </a:lnTo>
                  <a:lnTo>
                    <a:pt x="416" y="269"/>
                  </a:lnTo>
                  <a:lnTo>
                    <a:pt x="416" y="269"/>
                  </a:lnTo>
                  <a:lnTo>
                    <a:pt x="420" y="265"/>
                  </a:lnTo>
                  <a:lnTo>
                    <a:pt x="420" y="265"/>
                  </a:lnTo>
                  <a:lnTo>
                    <a:pt x="416" y="255"/>
                  </a:lnTo>
                  <a:lnTo>
                    <a:pt x="416" y="255"/>
                  </a:lnTo>
                  <a:lnTo>
                    <a:pt x="416" y="252"/>
                  </a:lnTo>
                  <a:lnTo>
                    <a:pt x="416" y="252"/>
                  </a:lnTo>
                  <a:lnTo>
                    <a:pt x="413" y="248"/>
                  </a:lnTo>
                  <a:lnTo>
                    <a:pt x="413" y="248"/>
                  </a:lnTo>
                  <a:lnTo>
                    <a:pt x="416" y="245"/>
                  </a:lnTo>
                  <a:lnTo>
                    <a:pt x="420" y="242"/>
                  </a:lnTo>
                  <a:lnTo>
                    <a:pt x="420" y="242"/>
                  </a:lnTo>
                  <a:lnTo>
                    <a:pt x="420" y="235"/>
                  </a:lnTo>
                  <a:lnTo>
                    <a:pt x="420" y="235"/>
                  </a:lnTo>
                  <a:lnTo>
                    <a:pt x="420" y="232"/>
                  </a:lnTo>
                  <a:lnTo>
                    <a:pt x="420" y="232"/>
                  </a:lnTo>
                  <a:lnTo>
                    <a:pt x="420" y="225"/>
                  </a:lnTo>
                  <a:lnTo>
                    <a:pt x="420" y="225"/>
                  </a:lnTo>
                  <a:lnTo>
                    <a:pt x="416" y="218"/>
                  </a:lnTo>
                  <a:lnTo>
                    <a:pt x="416" y="218"/>
                  </a:lnTo>
                  <a:lnTo>
                    <a:pt x="413" y="211"/>
                  </a:lnTo>
                  <a:lnTo>
                    <a:pt x="413" y="211"/>
                  </a:lnTo>
                  <a:lnTo>
                    <a:pt x="413" y="205"/>
                  </a:lnTo>
                  <a:lnTo>
                    <a:pt x="413" y="205"/>
                  </a:lnTo>
                  <a:lnTo>
                    <a:pt x="416" y="201"/>
                  </a:lnTo>
                  <a:lnTo>
                    <a:pt x="416" y="201"/>
                  </a:lnTo>
                  <a:lnTo>
                    <a:pt x="416" y="198"/>
                  </a:lnTo>
                  <a:lnTo>
                    <a:pt x="416" y="198"/>
                  </a:lnTo>
                  <a:lnTo>
                    <a:pt x="413" y="188"/>
                  </a:lnTo>
                  <a:lnTo>
                    <a:pt x="413" y="188"/>
                  </a:lnTo>
                  <a:lnTo>
                    <a:pt x="406" y="188"/>
                  </a:lnTo>
                  <a:lnTo>
                    <a:pt x="403" y="185"/>
                  </a:lnTo>
                  <a:lnTo>
                    <a:pt x="403" y="185"/>
                  </a:lnTo>
                  <a:lnTo>
                    <a:pt x="396" y="178"/>
                  </a:lnTo>
                  <a:lnTo>
                    <a:pt x="396" y="178"/>
                  </a:lnTo>
                  <a:lnTo>
                    <a:pt x="396" y="174"/>
                  </a:lnTo>
                  <a:lnTo>
                    <a:pt x="396" y="174"/>
                  </a:lnTo>
                  <a:lnTo>
                    <a:pt x="393" y="171"/>
                  </a:lnTo>
                  <a:lnTo>
                    <a:pt x="396" y="168"/>
                  </a:lnTo>
                  <a:lnTo>
                    <a:pt x="396" y="168"/>
                  </a:lnTo>
                  <a:lnTo>
                    <a:pt x="396" y="164"/>
                  </a:lnTo>
                  <a:lnTo>
                    <a:pt x="403" y="164"/>
                  </a:lnTo>
                  <a:lnTo>
                    <a:pt x="403" y="164"/>
                  </a:lnTo>
                  <a:lnTo>
                    <a:pt x="406" y="158"/>
                  </a:lnTo>
                  <a:lnTo>
                    <a:pt x="406" y="158"/>
                  </a:lnTo>
                  <a:lnTo>
                    <a:pt x="410" y="151"/>
                  </a:lnTo>
                  <a:lnTo>
                    <a:pt x="410" y="151"/>
                  </a:lnTo>
                  <a:lnTo>
                    <a:pt x="410" y="148"/>
                  </a:lnTo>
                  <a:lnTo>
                    <a:pt x="410" y="148"/>
                  </a:lnTo>
                  <a:lnTo>
                    <a:pt x="410" y="137"/>
                  </a:lnTo>
                  <a:lnTo>
                    <a:pt x="410" y="137"/>
                  </a:lnTo>
                  <a:lnTo>
                    <a:pt x="406" y="131"/>
                  </a:lnTo>
                  <a:lnTo>
                    <a:pt x="406" y="131"/>
                  </a:lnTo>
                  <a:lnTo>
                    <a:pt x="406" y="117"/>
                  </a:lnTo>
                  <a:lnTo>
                    <a:pt x="406" y="117"/>
                  </a:lnTo>
                  <a:lnTo>
                    <a:pt x="406" y="114"/>
                  </a:lnTo>
                  <a:lnTo>
                    <a:pt x="400" y="111"/>
                  </a:lnTo>
                  <a:lnTo>
                    <a:pt x="390" y="104"/>
                  </a:lnTo>
                  <a:lnTo>
                    <a:pt x="396" y="97"/>
                  </a:lnTo>
                  <a:lnTo>
                    <a:pt x="403" y="104"/>
                  </a:lnTo>
                  <a:lnTo>
                    <a:pt x="403" y="104"/>
                  </a:lnTo>
                  <a:lnTo>
                    <a:pt x="403" y="94"/>
                  </a:lnTo>
                  <a:lnTo>
                    <a:pt x="393" y="87"/>
                  </a:lnTo>
                  <a:lnTo>
                    <a:pt x="386" y="80"/>
                  </a:lnTo>
                  <a:lnTo>
                    <a:pt x="383" y="77"/>
                  </a:lnTo>
                  <a:lnTo>
                    <a:pt x="369" y="74"/>
                  </a:lnTo>
                  <a:lnTo>
                    <a:pt x="356" y="64"/>
                  </a:lnTo>
                  <a:lnTo>
                    <a:pt x="359" y="60"/>
                  </a:lnTo>
                  <a:lnTo>
                    <a:pt x="369" y="67"/>
                  </a:lnTo>
                  <a:lnTo>
                    <a:pt x="369" y="60"/>
                  </a:lnTo>
                  <a:lnTo>
                    <a:pt x="373" y="57"/>
                  </a:lnTo>
                  <a:lnTo>
                    <a:pt x="379" y="60"/>
                  </a:lnTo>
                  <a:lnTo>
                    <a:pt x="379" y="53"/>
                  </a:lnTo>
                  <a:lnTo>
                    <a:pt x="376" y="47"/>
                  </a:lnTo>
                  <a:lnTo>
                    <a:pt x="379" y="43"/>
                  </a:lnTo>
                  <a:lnTo>
                    <a:pt x="379" y="40"/>
                  </a:lnTo>
                  <a:lnTo>
                    <a:pt x="376" y="33"/>
                  </a:lnTo>
                  <a:lnTo>
                    <a:pt x="373" y="40"/>
                  </a:lnTo>
                  <a:lnTo>
                    <a:pt x="369" y="40"/>
                  </a:lnTo>
                  <a:lnTo>
                    <a:pt x="363" y="33"/>
                  </a:lnTo>
                  <a:lnTo>
                    <a:pt x="356" y="40"/>
                  </a:lnTo>
                  <a:lnTo>
                    <a:pt x="363" y="40"/>
                  </a:lnTo>
                  <a:lnTo>
                    <a:pt x="369" y="43"/>
                  </a:lnTo>
                  <a:lnTo>
                    <a:pt x="369" y="50"/>
                  </a:lnTo>
                  <a:lnTo>
                    <a:pt x="363" y="47"/>
                  </a:lnTo>
                  <a:lnTo>
                    <a:pt x="356" y="43"/>
                  </a:lnTo>
                  <a:lnTo>
                    <a:pt x="356" y="50"/>
                  </a:lnTo>
                  <a:lnTo>
                    <a:pt x="363" y="53"/>
                  </a:lnTo>
                  <a:lnTo>
                    <a:pt x="356" y="53"/>
                  </a:lnTo>
                  <a:lnTo>
                    <a:pt x="353" y="43"/>
                  </a:lnTo>
                  <a:lnTo>
                    <a:pt x="353" y="53"/>
                  </a:lnTo>
                  <a:lnTo>
                    <a:pt x="349" y="57"/>
                  </a:lnTo>
                  <a:lnTo>
                    <a:pt x="339" y="57"/>
                  </a:lnTo>
                  <a:lnTo>
                    <a:pt x="332" y="60"/>
                  </a:lnTo>
                  <a:lnTo>
                    <a:pt x="332" y="57"/>
                  </a:lnTo>
                  <a:lnTo>
                    <a:pt x="336" y="53"/>
                  </a:lnTo>
                  <a:lnTo>
                    <a:pt x="346" y="53"/>
                  </a:lnTo>
                  <a:lnTo>
                    <a:pt x="353" y="50"/>
                  </a:lnTo>
                  <a:lnTo>
                    <a:pt x="342" y="50"/>
                  </a:lnTo>
                  <a:lnTo>
                    <a:pt x="336" y="50"/>
                  </a:lnTo>
                  <a:lnTo>
                    <a:pt x="336" y="50"/>
                  </a:lnTo>
                  <a:lnTo>
                    <a:pt x="329" y="50"/>
                  </a:lnTo>
                  <a:lnTo>
                    <a:pt x="329" y="50"/>
                  </a:lnTo>
                  <a:lnTo>
                    <a:pt x="326" y="53"/>
                  </a:lnTo>
                  <a:lnTo>
                    <a:pt x="319" y="57"/>
                  </a:lnTo>
                  <a:lnTo>
                    <a:pt x="319" y="57"/>
                  </a:lnTo>
                  <a:lnTo>
                    <a:pt x="316" y="64"/>
                  </a:lnTo>
                  <a:lnTo>
                    <a:pt x="312" y="70"/>
                  </a:lnTo>
                  <a:lnTo>
                    <a:pt x="312" y="70"/>
                  </a:lnTo>
                  <a:lnTo>
                    <a:pt x="299" y="74"/>
                  </a:lnTo>
                  <a:lnTo>
                    <a:pt x="295" y="74"/>
                  </a:lnTo>
                  <a:lnTo>
                    <a:pt x="292" y="74"/>
                  </a:lnTo>
                  <a:lnTo>
                    <a:pt x="289" y="74"/>
                  </a:lnTo>
                  <a:lnTo>
                    <a:pt x="285" y="90"/>
                  </a:lnTo>
                  <a:lnTo>
                    <a:pt x="285" y="90"/>
                  </a:lnTo>
                  <a:lnTo>
                    <a:pt x="269" y="84"/>
                  </a:lnTo>
                  <a:lnTo>
                    <a:pt x="248" y="84"/>
                  </a:lnTo>
                  <a:lnTo>
                    <a:pt x="248" y="84"/>
                  </a:lnTo>
                  <a:lnTo>
                    <a:pt x="255" y="80"/>
                  </a:lnTo>
                  <a:lnTo>
                    <a:pt x="255" y="80"/>
                  </a:lnTo>
                  <a:lnTo>
                    <a:pt x="255" y="74"/>
                  </a:lnTo>
                  <a:lnTo>
                    <a:pt x="255" y="74"/>
                  </a:lnTo>
                  <a:lnTo>
                    <a:pt x="265" y="64"/>
                  </a:lnTo>
                  <a:lnTo>
                    <a:pt x="265" y="64"/>
                  </a:lnTo>
                  <a:lnTo>
                    <a:pt x="265" y="50"/>
                  </a:lnTo>
                  <a:lnTo>
                    <a:pt x="265" y="50"/>
                  </a:lnTo>
                  <a:lnTo>
                    <a:pt x="262" y="53"/>
                  </a:lnTo>
                  <a:lnTo>
                    <a:pt x="258" y="53"/>
                  </a:lnTo>
                  <a:lnTo>
                    <a:pt x="258" y="53"/>
                  </a:lnTo>
                  <a:lnTo>
                    <a:pt x="258" y="53"/>
                  </a:lnTo>
                  <a:lnTo>
                    <a:pt x="255" y="53"/>
                  </a:lnTo>
                  <a:lnTo>
                    <a:pt x="252" y="57"/>
                  </a:lnTo>
                  <a:lnTo>
                    <a:pt x="252" y="57"/>
                  </a:lnTo>
                  <a:lnTo>
                    <a:pt x="248" y="47"/>
                  </a:lnTo>
                  <a:lnTo>
                    <a:pt x="248" y="47"/>
                  </a:lnTo>
                  <a:lnTo>
                    <a:pt x="238" y="47"/>
                  </a:lnTo>
                  <a:lnTo>
                    <a:pt x="238" y="47"/>
                  </a:lnTo>
                  <a:lnTo>
                    <a:pt x="235" y="47"/>
                  </a:lnTo>
                  <a:lnTo>
                    <a:pt x="235" y="43"/>
                  </a:lnTo>
                  <a:lnTo>
                    <a:pt x="235" y="43"/>
                  </a:lnTo>
                  <a:lnTo>
                    <a:pt x="232" y="43"/>
                  </a:lnTo>
                  <a:lnTo>
                    <a:pt x="228" y="47"/>
                  </a:lnTo>
                  <a:lnTo>
                    <a:pt x="228" y="47"/>
                  </a:lnTo>
                  <a:lnTo>
                    <a:pt x="228" y="43"/>
                  </a:lnTo>
                  <a:lnTo>
                    <a:pt x="225" y="37"/>
                  </a:lnTo>
                  <a:lnTo>
                    <a:pt x="225" y="37"/>
                  </a:lnTo>
                  <a:lnTo>
                    <a:pt x="228" y="30"/>
                  </a:lnTo>
                  <a:lnTo>
                    <a:pt x="228" y="30"/>
                  </a:lnTo>
                  <a:lnTo>
                    <a:pt x="228" y="30"/>
                  </a:lnTo>
                  <a:lnTo>
                    <a:pt x="228" y="23"/>
                  </a:lnTo>
                  <a:lnTo>
                    <a:pt x="228" y="23"/>
                  </a:lnTo>
                  <a:lnTo>
                    <a:pt x="225" y="17"/>
                  </a:lnTo>
                  <a:lnTo>
                    <a:pt x="225" y="17"/>
                  </a:lnTo>
                  <a:lnTo>
                    <a:pt x="211" y="10"/>
                  </a:lnTo>
                  <a:lnTo>
                    <a:pt x="211" y="10"/>
                  </a:lnTo>
                  <a:lnTo>
                    <a:pt x="211" y="10"/>
                  </a:lnTo>
                  <a:lnTo>
                    <a:pt x="201" y="10"/>
                  </a:lnTo>
                  <a:lnTo>
                    <a:pt x="201" y="10"/>
                  </a:lnTo>
                  <a:lnTo>
                    <a:pt x="195" y="6"/>
                  </a:lnTo>
                  <a:lnTo>
                    <a:pt x="188" y="3"/>
                  </a:lnTo>
                  <a:lnTo>
                    <a:pt x="188" y="3"/>
                  </a:lnTo>
                  <a:lnTo>
                    <a:pt x="178" y="0"/>
                  </a:lnTo>
                  <a:lnTo>
                    <a:pt x="174" y="0"/>
                  </a:lnTo>
                  <a:lnTo>
                    <a:pt x="174" y="0"/>
                  </a:lnTo>
                  <a:lnTo>
                    <a:pt x="178" y="20"/>
                  </a:lnTo>
                  <a:lnTo>
                    <a:pt x="185" y="37"/>
                  </a:lnTo>
                  <a:lnTo>
                    <a:pt x="185" y="37"/>
                  </a:lnTo>
                  <a:lnTo>
                    <a:pt x="168" y="40"/>
                  </a:lnTo>
                  <a:lnTo>
                    <a:pt x="168" y="40"/>
                  </a:lnTo>
                  <a:lnTo>
                    <a:pt x="164" y="47"/>
                  </a:lnTo>
                  <a:lnTo>
                    <a:pt x="164" y="47"/>
                  </a:lnTo>
                  <a:lnTo>
                    <a:pt x="181" y="43"/>
                  </a:lnTo>
                  <a:lnTo>
                    <a:pt x="181" y="43"/>
                  </a:lnTo>
                  <a:lnTo>
                    <a:pt x="174" y="57"/>
                  </a:lnTo>
                  <a:lnTo>
                    <a:pt x="178" y="57"/>
                  </a:lnTo>
                  <a:lnTo>
                    <a:pt x="178" y="57"/>
                  </a:lnTo>
                  <a:lnTo>
                    <a:pt x="178" y="60"/>
                  </a:lnTo>
                  <a:lnTo>
                    <a:pt x="181" y="64"/>
                  </a:lnTo>
                  <a:lnTo>
                    <a:pt x="181" y="64"/>
                  </a:lnTo>
                  <a:lnTo>
                    <a:pt x="178" y="67"/>
                  </a:lnTo>
                  <a:lnTo>
                    <a:pt x="174" y="67"/>
                  </a:lnTo>
                  <a:lnTo>
                    <a:pt x="174" y="67"/>
                  </a:lnTo>
                  <a:lnTo>
                    <a:pt x="178" y="77"/>
                  </a:lnTo>
                  <a:lnTo>
                    <a:pt x="178" y="77"/>
                  </a:lnTo>
                  <a:lnTo>
                    <a:pt x="181" y="77"/>
                  </a:lnTo>
                  <a:lnTo>
                    <a:pt x="188" y="80"/>
                  </a:lnTo>
                  <a:lnTo>
                    <a:pt x="188" y="80"/>
                  </a:lnTo>
                  <a:lnTo>
                    <a:pt x="191" y="84"/>
                  </a:lnTo>
                  <a:lnTo>
                    <a:pt x="191" y="87"/>
                  </a:lnTo>
                  <a:lnTo>
                    <a:pt x="191" y="87"/>
                  </a:lnTo>
                  <a:lnTo>
                    <a:pt x="185" y="84"/>
                  </a:lnTo>
                  <a:lnTo>
                    <a:pt x="181" y="84"/>
                  </a:lnTo>
                  <a:lnTo>
                    <a:pt x="168" y="84"/>
                  </a:lnTo>
                  <a:lnTo>
                    <a:pt x="164" y="77"/>
                  </a:lnTo>
                  <a:lnTo>
                    <a:pt x="164" y="77"/>
                  </a:lnTo>
                  <a:lnTo>
                    <a:pt x="154" y="84"/>
                  </a:lnTo>
                  <a:lnTo>
                    <a:pt x="154" y="90"/>
                  </a:lnTo>
                  <a:lnTo>
                    <a:pt x="154" y="97"/>
                  </a:lnTo>
                  <a:lnTo>
                    <a:pt x="154" y="97"/>
                  </a:lnTo>
                  <a:lnTo>
                    <a:pt x="158" y="101"/>
                  </a:lnTo>
                  <a:lnTo>
                    <a:pt x="151" y="101"/>
                  </a:lnTo>
                  <a:lnTo>
                    <a:pt x="151" y="101"/>
                  </a:lnTo>
                  <a:lnTo>
                    <a:pt x="151" y="101"/>
                  </a:lnTo>
                  <a:lnTo>
                    <a:pt x="148" y="97"/>
                  </a:lnTo>
                  <a:lnTo>
                    <a:pt x="144" y="97"/>
                  </a:lnTo>
                  <a:lnTo>
                    <a:pt x="148" y="97"/>
                  </a:lnTo>
                  <a:lnTo>
                    <a:pt x="144" y="97"/>
                  </a:lnTo>
                  <a:lnTo>
                    <a:pt x="144" y="97"/>
                  </a:lnTo>
                  <a:lnTo>
                    <a:pt x="144" y="107"/>
                  </a:lnTo>
                  <a:lnTo>
                    <a:pt x="144" y="107"/>
                  </a:lnTo>
                  <a:lnTo>
                    <a:pt x="134" y="107"/>
                  </a:lnTo>
                  <a:lnTo>
                    <a:pt x="134" y="107"/>
                  </a:lnTo>
                  <a:lnTo>
                    <a:pt x="134" y="94"/>
                  </a:lnTo>
                  <a:lnTo>
                    <a:pt x="131" y="87"/>
                  </a:lnTo>
                  <a:lnTo>
                    <a:pt x="124" y="84"/>
                  </a:lnTo>
                  <a:lnTo>
                    <a:pt x="124" y="84"/>
                  </a:lnTo>
                  <a:lnTo>
                    <a:pt x="104" y="84"/>
                  </a:lnTo>
                  <a:lnTo>
                    <a:pt x="104" y="84"/>
                  </a:lnTo>
                  <a:lnTo>
                    <a:pt x="94" y="87"/>
                  </a:lnTo>
                  <a:lnTo>
                    <a:pt x="90" y="94"/>
                  </a:lnTo>
                  <a:lnTo>
                    <a:pt x="90" y="101"/>
                  </a:lnTo>
                  <a:lnTo>
                    <a:pt x="90" y="101"/>
                  </a:lnTo>
                  <a:lnTo>
                    <a:pt x="90" y="101"/>
                  </a:lnTo>
                  <a:lnTo>
                    <a:pt x="94" y="107"/>
                  </a:lnTo>
                  <a:lnTo>
                    <a:pt x="94" y="107"/>
                  </a:lnTo>
                  <a:lnTo>
                    <a:pt x="100" y="107"/>
                  </a:lnTo>
                  <a:lnTo>
                    <a:pt x="100" y="107"/>
                  </a:lnTo>
                  <a:lnTo>
                    <a:pt x="94" y="111"/>
                  </a:lnTo>
                  <a:lnTo>
                    <a:pt x="94" y="111"/>
                  </a:lnTo>
                  <a:lnTo>
                    <a:pt x="94" y="124"/>
                  </a:lnTo>
                  <a:lnTo>
                    <a:pt x="90" y="137"/>
                  </a:lnTo>
                  <a:lnTo>
                    <a:pt x="90" y="137"/>
                  </a:lnTo>
                  <a:lnTo>
                    <a:pt x="90" y="144"/>
                  </a:lnTo>
                  <a:lnTo>
                    <a:pt x="87" y="148"/>
                  </a:lnTo>
                  <a:lnTo>
                    <a:pt x="80" y="148"/>
                  </a:lnTo>
                  <a:lnTo>
                    <a:pt x="74" y="148"/>
                  </a:lnTo>
                  <a:lnTo>
                    <a:pt x="70" y="154"/>
                  </a:lnTo>
                  <a:lnTo>
                    <a:pt x="70" y="154"/>
                  </a:lnTo>
                  <a:lnTo>
                    <a:pt x="70" y="161"/>
                  </a:lnTo>
                  <a:lnTo>
                    <a:pt x="70" y="161"/>
                  </a:lnTo>
                  <a:lnTo>
                    <a:pt x="70" y="161"/>
                  </a:lnTo>
                  <a:lnTo>
                    <a:pt x="74" y="164"/>
                  </a:lnTo>
                  <a:lnTo>
                    <a:pt x="77" y="168"/>
                  </a:lnTo>
                  <a:lnTo>
                    <a:pt x="77" y="171"/>
                  </a:lnTo>
                  <a:lnTo>
                    <a:pt x="77" y="171"/>
                  </a:lnTo>
                  <a:lnTo>
                    <a:pt x="77" y="178"/>
                  </a:lnTo>
                  <a:lnTo>
                    <a:pt x="74" y="181"/>
                  </a:lnTo>
                  <a:lnTo>
                    <a:pt x="74" y="181"/>
                  </a:lnTo>
                  <a:lnTo>
                    <a:pt x="67" y="185"/>
                  </a:lnTo>
                  <a:lnTo>
                    <a:pt x="64" y="185"/>
                  </a:lnTo>
                  <a:lnTo>
                    <a:pt x="64" y="185"/>
                  </a:lnTo>
                  <a:lnTo>
                    <a:pt x="64" y="188"/>
                  </a:lnTo>
                  <a:lnTo>
                    <a:pt x="64" y="191"/>
                  </a:lnTo>
                  <a:lnTo>
                    <a:pt x="64" y="191"/>
                  </a:lnTo>
                  <a:lnTo>
                    <a:pt x="57" y="198"/>
                  </a:lnTo>
                  <a:lnTo>
                    <a:pt x="50" y="198"/>
                  </a:lnTo>
                  <a:lnTo>
                    <a:pt x="50" y="198"/>
                  </a:lnTo>
                  <a:lnTo>
                    <a:pt x="43" y="195"/>
                  </a:lnTo>
                  <a:lnTo>
                    <a:pt x="37" y="191"/>
                  </a:lnTo>
                  <a:lnTo>
                    <a:pt x="37" y="191"/>
                  </a:lnTo>
                  <a:lnTo>
                    <a:pt x="33" y="195"/>
                  </a:lnTo>
                  <a:lnTo>
                    <a:pt x="33" y="198"/>
                  </a:lnTo>
                  <a:lnTo>
                    <a:pt x="30" y="195"/>
                  </a:lnTo>
                  <a:lnTo>
                    <a:pt x="30" y="195"/>
                  </a:lnTo>
                  <a:lnTo>
                    <a:pt x="27" y="201"/>
                  </a:lnTo>
                  <a:lnTo>
                    <a:pt x="30" y="211"/>
                  </a:lnTo>
                  <a:lnTo>
                    <a:pt x="27" y="225"/>
                  </a:lnTo>
                  <a:lnTo>
                    <a:pt x="27" y="225"/>
                  </a:lnTo>
                  <a:lnTo>
                    <a:pt x="27" y="232"/>
                  </a:lnTo>
                  <a:lnTo>
                    <a:pt x="20" y="235"/>
                  </a:lnTo>
                  <a:lnTo>
                    <a:pt x="20" y="235"/>
                  </a:lnTo>
                  <a:lnTo>
                    <a:pt x="13" y="245"/>
                  </a:lnTo>
                  <a:lnTo>
                    <a:pt x="13" y="245"/>
                  </a:lnTo>
                  <a:lnTo>
                    <a:pt x="10" y="252"/>
                  </a:lnTo>
                  <a:lnTo>
                    <a:pt x="10" y="252"/>
                  </a:lnTo>
                  <a:lnTo>
                    <a:pt x="6" y="255"/>
                  </a:lnTo>
                  <a:lnTo>
                    <a:pt x="6" y="255"/>
                  </a:lnTo>
                  <a:lnTo>
                    <a:pt x="3" y="252"/>
                  </a:lnTo>
                  <a:lnTo>
                    <a:pt x="3" y="252"/>
                  </a:lnTo>
                  <a:lnTo>
                    <a:pt x="0" y="255"/>
                  </a:lnTo>
                  <a:lnTo>
                    <a:pt x="0" y="258"/>
                  </a:lnTo>
                  <a:lnTo>
                    <a:pt x="0" y="258"/>
                  </a:lnTo>
                  <a:lnTo>
                    <a:pt x="3" y="258"/>
                  </a:lnTo>
                  <a:lnTo>
                    <a:pt x="3" y="258"/>
                  </a:lnTo>
                  <a:lnTo>
                    <a:pt x="10" y="262"/>
                  </a:lnTo>
                  <a:lnTo>
                    <a:pt x="10" y="262"/>
                  </a:lnTo>
                  <a:lnTo>
                    <a:pt x="13" y="265"/>
                  </a:lnTo>
                  <a:lnTo>
                    <a:pt x="13" y="269"/>
                  </a:lnTo>
                  <a:lnTo>
                    <a:pt x="13" y="269"/>
                  </a:lnTo>
                  <a:lnTo>
                    <a:pt x="10" y="272"/>
                  </a:lnTo>
                  <a:lnTo>
                    <a:pt x="6" y="275"/>
                  </a:lnTo>
                  <a:lnTo>
                    <a:pt x="6" y="275"/>
                  </a:lnTo>
                  <a:lnTo>
                    <a:pt x="10" y="279"/>
                  </a:lnTo>
                  <a:lnTo>
                    <a:pt x="6" y="282"/>
                  </a:lnTo>
                  <a:lnTo>
                    <a:pt x="6" y="282"/>
                  </a:lnTo>
                  <a:lnTo>
                    <a:pt x="16" y="289"/>
                  </a:lnTo>
                  <a:lnTo>
                    <a:pt x="16" y="289"/>
                  </a:lnTo>
                  <a:lnTo>
                    <a:pt x="20" y="295"/>
                  </a:lnTo>
                  <a:lnTo>
                    <a:pt x="16" y="299"/>
                  </a:lnTo>
                  <a:lnTo>
                    <a:pt x="16" y="299"/>
                  </a:lnTo>
                  <a:lnTo>
                    <a:pt x="16" y="302"/>
                  </a:lnTo>
                  <a:lnTo>
                    <a:pt x="16" y="309"/>
                  </a:lnTo>
                  <a:lnTo>
                    <a:pt x="16" y="309"/>
                  </a:lnTo>
                  <a:lnTo>
                    <a:pt x="16" y="312"/>
                  </a:lnTo>
                  <a:lnTo>
                    <a:pt x="20" y="316"/>
                  </a:lnTo>
                  <a:lnTo>
                    <a:pt x="20" y="316"/>
                  </a:lnTo>
                  <a:lnTo>
                    <a:pt x="16" y="319"/>
                  </a:lnTo>
                  <a:lnTo>
                    <a:pt x="6" y="322"/>
                  </a:lnTo>
                  <a:lnTo>
                    <a:pt x="6" y="322"/>
                  </a:lnTo>
                  <a:lnTo>
                    <a:pt x="3" y="329"/>
                  </a:lnTo>
                  <a:lnTo>
                    <a:pt x="3" y="329"/>
                  </a:lnTo>
                  <a:lnTo>
                    <a:pt x="3" y="342"/>
                  </a:lnTo>
                  <a:lnTo>
                    <a:pt x="3" y="342"/>
                  </a:lnTo>
                  <a:lnTo>
                    <a:pt x="3" y="349"/>
                  </a:lnTo>
                  <a:lnTo>
                    <a:pt x="6" y="353"/>
                  </a:lnTo>
                  <a:lnTo>
                    <a:pt x="6" y="353"/>
                  </a:lnTo>
                  <a:lnTo>
                    <a:pt x="13" y="356"/>
                  </a:lnTo>
                  <a:lnTo>
                    <a:pt x="16" y="359"/>
                  </a:lnTo>
                  <a:lnTo>
                    <a:pt x="16" y="359"/>
                  </a:lnTo>
                  <a:lnTo>
                    <a:pt x="10" y="369"/>
                  </a:lnTo>
                  <a:lnTo>
                    <a:pt x="10" y="369"/>
                  </a:lnTo>
                  <a:lnTo>
                    <a:pt x="6" y="383"/>
                  </a:lnTo>
                  <a:lnTo>
                    <a:pt x="6" y="383"/>
                  </a:lnTo>
                  <a:lnTo>
                    <a:pt x="10" y="383"/>
                  </a:lnTo>
                  <a:lnTo>
                    <a:pt x="10" y="383"/>
                  </a:lnTo>
                  <a:lnTo>
                    <a:pt x="13" y="390"/>
                  </a:lnTo>
                  <a:lnTo>
                    <a:pt x="13" y="390"/>
                  </a:lnTo>
                  <a:lnTo>
                    <a:pt x="16" y="390"/>
                  </a:lnTo>
                  <a:lnTo>
                    <a:pt x="16" y="390"/>
                  </a:lnTo>
                  <a:lnTo>
                    <a:pt x="13" y="396"/>
                  </a:lnTo>
                  <a:lnTo>
                    <a:pt x="13" y="396"/>
                  </a:lnTo>
                  <a:lnTo>
                    <a:pt x="16" y="396"/>
                  </a:lnTo>
                  <a:lnTo>
                    <a:pt x="16" y="396"/>
                  </a:lnTo>
                  <a:lnTo>
                    <a:pt x="16" y="403"/>
                  </a:lnTo>
                  <a:lnTo>
                    <a:pt x="16" y="403"/>
                  </a:lnTo>
                  <a:lnTo>
                    <a:pt x="23" y="406"/>
                  </a:lnTo>
                  <a:lnTo>
                    <a:pt x="23" y="406"/>
                  </a:lnTo>
                  <a:lnTo>
                    <a:pt x="27" y="403"/>
                  </a:lnTo>
                  <a:lnTo>
                    <a:pt x="27" y="403"/>
                  </a:lnTo>
                  <a:lnTo>
                    <a:pt x="27" y="400"/>
                  </a:lnTo>
                  <a:lnTo>
                    <a:pt x="27" y="400"/>
                  </a:lnTo>
                  <a:lnTo>
                    <a:pt x="33" y="403"/>
                  </a:lnTo>
                  <a:lnTo>
                    <a:pt x="33" y="403"/>
                  </a:lnTo>
                  <a:lnTo>
                    <a:pt x="33" y="403"/>
                  </a:lnTo>
                  <a:lnTo>
                    <a:pt x="33" y="406"/>
                  </a:lnTo>
                  <a:lnTo>
                    <a:pt x="33" y="406"/>
                  </a:lnTo>
                  <a:lnTo>
                    <a:pt x="33" y="410"/>
                  </a:lnTo>
                  <a:lnTo>
                    <a:pt x="33" y="410"/>
                  </a:lnTo>
                  <a:lnTo>
                    <a:pt x="37" y="410"/>
                  </a:lnTo>
                  <a:lnTo>
                    <a:pt x="37" y="410"/>
                  </a:lnTo>
                  <a:lnTo>
                    <a:pt x="43" y="413"/>
                  </a:lnTo>
                  <a:lnTo>
                    <a:pt x="43" y="413"/>
                  </a:lnTo>
                  <a:lnTo>
                    <a:pt x="47" y="413"/>
                  </a:lnTo>
                  <a:lnTo>
                    <a:pt x="47" y="413"/>
                  </a:lnTo>
                  <a:lnTo>
                    <a:pt x="50" y="413"/>
                  </a:lnTo>
                  <a:lnTo>
                    <a:pt x="50" y="413"/>
                  </a:lnTo>
                  <a:lnTo>
                    <a:pt x="53" y="413"/>
                  </a:lnTo>
                  <a:lnTo>
                    <a:pt x="53" y="413"/>
                  </a:lnTo>
                  <a:lnTo>
                    <a:pt x="50" y="416"/>
                  </a:lnTo>
                  <a:lnTo>
                    <a:pt x="50" y="416"/>
                  </a:lnTo>
                  <a:lnTo>
                    <a:pt x="53" y="420"/>
                  </a:lnTo>
                  <a:lnTo>
                    <a:pt x="53" y="420"/>
                  </a:lnTo>
                  <a:lnTo>
                    <a:pt x="57" y="423"/>
                  </a:lnTo>
                  <a:lnTo>
                    <a:pt x="57" y="423"/>
                  </a:lnTo>
                  <a:lnTo>
                    <a:pt x="60" y="427"/>
                  </a:lnTo>
                  <a:lnTo>
                    <a:pt x="60" y="427"/>
                  </a:lnTo>
                  <a:lnTo>
                    <a:pt x="64" y="430"/>
                  </a:lnTo>
                  <a:lnTo>
                    <a:pt x="64" y="430"/>
                  </a:lnTo>
                  <a:lnTo>
                    <a:pt x="64" y="430"/>
                  </a:lnTo>
                  <a:lnTo>
                    <a:pt x="64" y="430"/>
                  </a:lnTo>
                  <a:lnTo>
                    <a:pt x="64" y="430"/>
                  </a:lnTo>
                  <a:lnTo>
                    <a:pt x="70" y="433"/>
                  </a:lnTo>
                  <a:lnTo>
                    <a:pt x="70" y="433"/>
                  </a:lnTo>
                  <a:lnTo>
                    <a:pt x="77" y="440"/>
                  </a:lnTo>
                  <a:lnTo>
                    <a:pt x="77" y="440"/>
                  </a:lnTo>
                  <a:lnTo>
                    <a:pt x="80" y="440"/>
                  </a:lnTo>
                  <a:lnTo>
                    <a:pt x="80" y="440"/>
                  </a:lnTo>
                  <a:lnTo>
                    <a:pt x="80" y="440"/>
                  </a:lnTo>
                  <a:lnTo>
                    <a:pt x="77" y="443"/>
                  </a:lnTo>
                  <a:lnTo>
                    <a:pt x="77" y="443"/>
                  </a:lnTo>
                  <a:lnTo>
                    <a:pt x="74" y="447"/>
                  </a:lnTo>
                  <a:lnTo>
                    <a:pt x="74" y="447"/>
                  </a:lnTo>
                  <a:lnTo>
                    <a:pt x="70" y="453"/>
                  </a:lnTo>
                  <a:lnTo>
                    <a:pt x="70" y="453"/>
                  </a:lnTo>
                  <a:lnTo>
                    <a:pt x="64" y="457"/>
                  </a:lnTo>
                  <a:lnTo>
                    <a:pt x="64" y="457"/>
                  </a:lnTo>
                  <a:lnTo>
                    <a:pt x="64" y="463"/>
                  </a:lnTo>
                  <a:lnTo>
                    <a:pt x="64" y="463"/>
                  </a:lnTo>
                  <a:lnTo>
                    <a:pt x="60" y="467"/>
                  </a:lnTo>
                  <a:lnTo>
                    <a:pt x="60" y="467"/>
                  </a:lnTo>
                  <a:lnTo>
                    <a:pt x="57" y="470"/>
                  </a:lnTo>
                  <a:lnTo>
                    <a:pt x="57" y="470"/>
                  </a:lnTo>
                  <a:lnTo>
                    <a:pt x="53" y="474"/>
                  </a:lnTo>
                  <a:lnTo>
                    <a:pt x="53" y="474"/>
                  </a:lnTo>
                  <a:lnTo>
                    <a:pt x="53" y="477"/>
                  </a:lnTo>
                  <a:lnTo>
                    <a:pt x="53" y="480"/>
                  </a:lnTo>
                  <a:lnTo>
                    <a:pt x="53" y="480"/>
                  </a:lnTo>
                  <a:lnTo>
                    <a:pt x="47" y="494"/>
                  </a:lnTo>
                  <a:lnTo>
                    <a:pt x="47" y="494"/>
                  </a:lnTo>
                  <a:lnTo>
                    <a:pt x="47" y="500"/>
                  </a:lnTo>
                  <a:lnTo>
                    <a:pt x="47" y="500"/>
                  </a:lnTo>
                  <a:lnTo>
                    <a:pt x="43" y="511"/>
                  </a:lnTo>
                  <a:lnTo>
                    <a:pt x="43" y="511"/>
                  </a:lnTo>
                  <a:lnTo>
                    <a:pt x="43" y="517"/>
                  </a:lnTo>
                  <a:lnTo>
                    <a:pt x="47" y="521"/>
                  </a:lnTo>
                  <a:lnTo>
                    <a:pt x="47" y="521"/>
                  </a:lnTo>
                  <a:lnTo>
                    <a:pt x="50" y="521"/>
                  </a:lnTo>
                  <a:lnTo>
                    <a:pt x="50" y="521"/>
                  </a:lnTo>
                  <a:lnTo>
                    <a:pt x="50" y="524"/>
                  </a:lnTo>
                  <a:lnTo>
                    <a:pt x="50" y="524"/>
                  </a:lnTo>
                  <a:lnTo>
                    <a:pt x="50" y="527"/>
                  </a:lnTo>
                  <a:lnTo>
                    <a:pt x="53" y="527"/>
                  </a:lnTo>
                  <a:lnTo>
                    <a:pt x="53" y="527"/>
                  </a:lnTo>
                  <a:lnTo>
                    <a:pt x="57" y="527"/>
                  </a:lnTo>
                  <a:lnTo>
                    <a:pt x="57" y="527"/>
                  </a:lnTo>
                  <a:lnTo>
                    <a:pt x="60" y="527"/>
                  </a:lnTo>
                  <a:lnTo>
                    <a:pt x="64" y="527"/>
                  </a:lnTo>
                  <a:lnTo>
                    <a:pt x="64" y="527"/>
                  </a:lnTo>
                  <a:lnTo>
                    <a:pt x="67" y="527"/>
                  </a:lnTo>
                  <a:lnTo>
                    <a:pt x="67" y="527"/>
                  </a:lnTo>
                  <a:lnTo>
                    <a:pt x="70" y="527"/>
                  </a:lnTo>
                  <a:lnTo>
                    <a:pt x="70" y="527"/>
                  </a:lnTo>
                  <a:lnTo>
                    <a:pt x="77" y="527"/>
                  </a:lnTo>
                  <a:lnTo>
                    <a:pt x="77" y="527"/>
                  </a:lnTo>
                  <a:lnTo>
                    <a:pt x="80" y="527"/>
                  </a:lnTo>
                  <a:lnTo>
                    <a:pt x="80" y="527"/>
                  </a:lnTo>
                  <a:lnTo>
                    <a:pt x="84" y="524"/>
                  </a:lnTo>
                  <a:lnTo>
                    <a:pt x="84" y="524"/>
                  </a:lnTo>
                  <a:lnTo>
                    <a:pt x="87" y="527"/>
                  </a:lnTo>
                  <a:lnTo>
                    <a:pt x="87" y="527"/>
                  </a:lnTo>
                  <a:lnTo>
                    <a:pt x="90" y="531"/>
                  </a:lnTo>
                  <a:lnTo>
                    <a:pt x="94" y="531"/>
                  </a:lnTo>
                  <a:lnTo>
                    <a:pt x="94" y="531"/>
                  </a:lnTo>
                  <a:lnTo>
                    <a:pt x="97" y="531"/>
                  </a:lnTo>
                  <a:lnTo>
                    <a:pt x="97" y="531"/>
                  </a:lnTo>
                  <a:lnTo>
                    <a:pt x="100" y="527"/>
                  </a:lnTo>
                  <a:lnTo>
                    <a:pt x="100" y="527"/>
                  </a:lnTo>
                  <a:lnTo>
                    <a:pt x="100" y="524"/>
                  </a:lnTo>
                  <a:lnTo>
                    <a:pt x="100" y="524"/>
                  </a:lnTo>
                  <a:lnTo>
                    <a:pt x="100" y="521"/>
                  </a:lnTo>
                  <a:lnTo>
                    <a:pt x="100" y="521"/>
                  </a:lnTo>
                  <a:lnTo>
                    <a:pt x="94" y="524"/>
                  </a:lnTo>
                  <a:lnTo>
                    <a:pt x="94" y="524"/>
                  </a:lnTo>
                  <a:lnTo>
                    <a:pt x="90" y="521"/>
                  </a:lnTo>
                  <a:lnTo>
                    <a:pt x="94" y="521"/>
                  </a:lnTo>
                  <a:lnTo>
                    <a:pt x="94" y="521"/>
                  </a:lnTo>
                  <a:lnTo>
                    <a:pt x="94" y="517"/>
                  </a:lnTo>
                  <a:lnTo>
                    <a:pt x="94" y="517"/>
                  </a:lnTo>
                  <a:lnTo>
                    <a:pt x="100" y="517"/>
                  </a:lnTo>
                  <a:lnTo>
                    <a:pt x="100" y="517"/>
                  </a:lnTo>
                  <a:lnTo>
                    <a:pt x="104" y="514"/>
                  </a:lnTo>
                  <a:lnTo>
                    <a:pt x="104" y="514"/>
                  </a:lnTo>
                  <a:lnTo>
                    <a:pt x="107" y="517"/>
                  </a:lnTo>
                  <a:lnTo>
                    <a:pt x="107" y="517"/>
                  </a:lnTo>
                  <a:lnTo>
                    <a:pt x="107" y="521"/>
                  </a:lnTo>
                  <a:lnTo>
                    <a:pt x="107" y="521"/>
                  </a:lnTo>
                  <a:lnTo>
                    <a:pt x="111" y="524"/>
                  </a:lnTo>
                  <a:lnTo>
                    <a:pt x="111" y="524"/>
                  </a:lnTo>
                  <a:lnTo>
                    <a:pt x="114" y="527"/>
                  </a:lnTo>
                  <a:lnTo>
                    <a:pt x="114" y="527"/>
                  </a:lnTo>
                  <a:lnTo>
                    <a:pt x="117" y="527"/>
                  </a:lnTo>
                  <a:lnTo>
                    <a:pt x="124" y="524"/>
                  </a:lnTo>
                  <a:lnTo>
                    <a:pt x="124" y="524"/>
                  </a:lnTo>
                  <a:lnTo>
                    <a:pt x="131" y="531"/>
                  </a:lnTo>
                  <a:lnTo>
                    <a:pt x="131" y="531"/>
                  </a:lnTo>
                  <a:lnTo>
                    <a:pt x="137" y="534"/>
                  </a:lnTo>
                  <a:lnTo>
                    <a:pt x="137" y="534"/>
                  </a:lnTo>
                  <a:lnTo>
                    <a:pt x="137" y="534"/>
                  </a:lnTo>
                  <a:lnTo>
                    <a:pt x="144" y="537"/>
                  </a:lnTo>
                  <a:lnTo>
                    <a:pt x="148" y="541"/>
                  </a:lnTo>
                  <a:lnTo>
                    <a:pt x="148" y="544"/>
                  </a:lnTo>
                  <a:lnTo>
                    <a:pt x="144" y="544"/>
                  </a:lnTo>
                  <a:lnTo>
                    <a:pt x="144" y="544"/>
                  </a:lnTo>
                  <a:lnTo>
                    <a:pt x="148" y="547"/>
                  </a:lnTo>
                  <a:lnTo>
                    <a:pt x="151" y="554"/>
                  </a:lnTo>
                  <a:lnTo>
                    <a:pt x="151" y="554"/>
                  </a:lnTo>
                  <a:lnTo>
                    <a:pt x="154" y="554"/>
                  </a:lnTo>
                  <a:lnTo>
                    <a:pt x="154" y="554"/>
                  </a:lnTo>
                  <a:lnTo>
                    <a:pt x="164" y="561"/>
                  </a:lnTo>
                  <a:lnTo>
                    <a:pt x="164" y="561"/>
                  </a:lnTo>
                  <a:lnTo>
                    <a:pt x="168" y="558"/>
                  </a:lnTo>
                  <a:lnTo>
                    <a:pt x="168" y="558"/>
                  </a:lnTo>
                  <a:lnTo>
                    <a:pt x="171" y="558"/>
                  </a:lnTo>
                  <a:lnTo>
                    <a:pt x="171" y="561"/>
                  </a:lnTo>
                  <a:lnTo>
                    <a:pt x="171" y="561"/>
                  </a:lnTo>
                  <a:lnTo>
                    <a:pt x="171" y="564"/>
                  </a:lnTo>
                  <a:lnTo>
                    <a:pt x="171" y="568"/>
                  </a:lnTo>
                  <a:lnTo>
                    <a:pt x="171" y="568"/>
                  </a:lnTo>
                  <a:lnTo>
                    <a:pt x="178" y="564"/>
                  </a:lnTo>
                  <a:lnTo>
                    <a:pt x="178" y="564"/>
                  </a:lnTo>
                  <a:lnTo>
                    <a:pt x="181" y="561"/>
                  </a:lnTo>
                  <a:lnTo>
                    <a:pt x="181" y="561"/>
                  </a:lnTo>
                  <a:lnTo>
                    <a:pt x="185" y="558"/>
                  </a:lnTo>
                  <a:lnTo>
                    <a:pt x="185" y="558"/>
                  </a:lnTo>
                  <a:lnTo>
                    <a:pt x="188" y="554"/>
                  </a:lnTo>
                  <a:lnTo>
                    <a:pt x="188" y="554"/>
                  </a:lnTo>
                  <a:lnTo>
                    <a:pt x="185" y="551"/>
                  </a:lnTo>
                  <a:lnTo>
                    <a:pt x="185" y="551"/>
                  </a:lnTo>
                  <a:lnTo>
                    <a:pt x="188" y="547"/>
                  </a:lnTo>
                  <a:lnTo>
                    <a:pt x="188" y="547"/>
                  </a:lnTo>
                  <a:lnTo>
                    <a:pt x="191" y="547"/>
                  </a:lnTo>
                  <a:lnTo>
                    <a:pt x="191" y="547"/>
                  </a:lnTo>
                  <a:lnTo>
                    <a:pt x="191" y="547"/>
                  </a:lnTo>
                  <a:lnTo>
                    <a:pt x="191" y="551"/>
                  </a:lnTo>
                  <a:lnTo>
                    <a:pt x="191" y="551"/>
                  </a:lnTo>
                  <a:lnTo>
                    <a:pt x="195" y="547"/>
                  </a:lnTo>
                  <a:lnTo>
                    <a:pt x="195" y="547"/>
                  </a:lnTo>
                  <a:lnTo>
                    <a:pt x="198" y="547"/>
                  </a:lnTo>
                  <a:lnTo>
                    <a:pt x="198" y="547"/>
                  </a:lnTo>
                  <a:lnTo>
                    <a:pt x="201" y="547"/>
                  </a:lnTo>
                  <a:lnTo>
                    <a:pt x="208" y="547"/>
                  </a:lnTo>
                  <a:lnTo>
                    <a:pt x="208" y="547"/>
                  </a:lnTo>
                  <a:lnTo>
                    <a:pt x="205" y="551"/>
                  </a:lnTo>
                  <a:lnTo>
                    <a:pt x="205" y="554"/>
                  </a:lnTo>
                  <a:lnTo>
                    <a:pt x="201" y="554"/>
                  </a:lnTo>
                  <a:lnTo>
                    <a:pt x="201" y="558"/>
                  </a:lnTo>
                  <a:lnTo>
                    <a:pt x="201" y="558"/>
                  </a:lnTo>
                  <a:lnTo>
                    <a:pt x="205" y="558"/>
                  </a:lnTo>
                  <a:lnTo>
                    <a:pt x="208" y="554"/>
                  </a:lnTo>
                  <a:lnTo>
                    <a:pt x="208" y="554"/>
                  </a:lnTo>
                  <a:lnTo>
                    <a:pt x="215" y="558"/>
                  </a:lnTo>
                  <a:lnTo>
                    <a:pt x="215" y="558"/>
                  </a:lnTo>
                  <a:lnTo>
                    <a:pt x="225" y="558"/>
                  </a:lnTo>
                  <a:lnTo>
                    <a:pt x="225" y="558"/>
                  </a:lnTo>
                  <a:lnTo>
                    <a:pt x="228" y="554"/>
                  </a:lnTo>
                  <a:lnTo>
                    <a:pt x="235" y="554"/>
                  </a:lnTo>
                  <a:lnTo>
                    <a:pt x="235" y="554"/>
                  </a:lnTo>
                  <a:lnTo>
                    <a:pt x="238" y="558"/>
                  </a:lnTo>
                  <a:lnTo>
                    <a:pt x="238" y="558"/>
                  </a:lnTo>
                  <a:lnTo>
                    <a:pt x="245" y="558"/>
                  </a:lnTo>
                  <a:lnTo>
                    <a:pt x="245" y="558"/>
                  </a:lnTo>
                  <a:lnTo>
                    <a:pt x="248" y="558"/>
                  </a:lnTo>
                  <a:lnTo>
                    <a:pt x="248" y="558"/>
                  </a:lnTo>
                  <a:lnTo>
                    <a:pt x="252" y="554"/>
                  </a:lnTo>
                  <a:lnTo>
                    <a:pt x="255" y="547"/>
                  </a:lnTo>
                  <a:lnTo>
                    <a:pt x="255" y="547"/>
                  </a:lnTo>
                  <a:lnTo>
                    <a:pt x="258" y="547"/>
                  </a:lnTo>
                  <a:lnTo>
                    <a:pt x="258" y="547"/>
                  </a:lnTo>
                  <a:lnTo>
                    <a:pt x="269" y="547"/>
                  </a:lnTo>
                  <a:lnTo>
                    <a:pt x="269" y="547"/>
                  </a:lnTo>
                  <a:lnTo>
                    <a:pt x="272" y="551"/>
                  </a:lnTo>
                  <a:lnTo>
                    <a:pt x="272" y="551"/>
                  </a:lnTo>
                  <a:lnTo>
                    <a:pt x="272" y="547"/>
                  </a:lnTo>
                  <a:lnTo>
                    <a:pt x="272" y="547"/>
                  </a:lnTo>
                  <a:lnTo>
                    <a:pt x="272" y="547"/>
                  </a:lnTo>
                  <a:lnTo>
                    <a:pt x="275" y="541"/>
                  </a:lnTo>
                  <a:lnTo>
                    <a:pt x="275" y="541"/>
                  </a:lnTo>
                  <a:lnTo>
                    <a:pt x="279" y="544"/>
                  </a:lnTo>
                  <a:lnTo>
                    <a:pt x="279" y="544"/>
                  </a:lnTo>
                  <a:lnTo>
                    <a:pt x="282" y="544"/>
                  </a:lnTo>
                  <a:lnTo>
                    <a:pt x="285" y="544"/>
                  </a:lnTo>
                  <a:lnTo>
                    <a:pt x="285" y="544"/>
                  </a:lnTo>
                  <a:lnTo>
                    <a:pt x="285" y="547"/>
                  </a:lnTo>
                  <a:lnTo>
                    <a:pt x="285" y="547"/>
                  </a:lnTo>
                  <a:lnTo>
                    <a:pt x="289" y="547"/>
                  </a:lnTo>
                  <a:lnTo>
                    <a:pt x="289" y="547"/>
                  </a:lnTo>
                  <a:lnTo>
                    <a:pt x="295" y="547"/>
                  </a:lnTo>
                  <a:lnTo>
                    <a:pt x="295" y="547"/>
                  </a:lnTo>
                  <a:lnTo>
                    <a:pt x="299" y="551"/>
                  </a:lnTo>
                  <a:lnTo>
                    <a:pt x="299" y="551"/>
                  </a:lnTo>
                  <a:lnTo>
                    <a:pt x="299" y="551"/>
                  </a:lnTo>
                  <a:lnTo>
                    <a:pt x="299" y="551"/>
                  </a:lnTo>
                  <a:lnTo>
                    <a:pt x="299" y="551"/>
                  </a:lnTo>
                  <a:lnTo>
                    <a:pt x="302" y="558"/>
                  </a:lnTo>
                  <a:lnTo>
                    <a:pt x="302" y="558"/>
                  </a:lnTo>
                  <a:lnTo>
                    <a:pt x="302" y="561"/>
                  </a:lnTo>
                  <a:lnTo>
                    <a:pt x="302" y="561"/>
                  </a:lnTo>
                  <a:lnTo>
                    <a:pt x="305" y="564"/>
                  </a:lnTo>
                  <a:lnTo>
                    <a:pt x="305" y="564"/>
                  </a:lnTo>
                  <a:lnTo>
                    <a:pt x="309" y="561"/>
                  </a:lnTo>
                  <a:lnTo>
                    <a:pt x="309" y="561"/>
                  </a:lnTo>
                  <a:lnTo>
                    <a:pt x="312" y="554"/>
                  </a:lnTo>
                  <a:lnTo>
                    <a:pt x="312" y="554"/>
                  </a:lnTo>
                  <a:lnTo>
                    <a:pt x="312" y="551"/>
                  </a:lnTo>
                  <a:lnTo>
                    <a:pt x="312" y="551"/>
                  </a:lnTo>
                  <a:lnTo>
                    <a:pt x="312" y="547"/>
                  </a:lnTo>
                  <a:lnTo>
                    <a:pt x="309" y="547"/>
                  </a:lnTo>
                  <a:lnTo>
                    <a:pt x="309" y="547"/>
                  </a:lnTo>
                  <a:lnTo>
                    <a:pt x="309" y="537"/>
                  </a:lnTo>
                  <a:lnTo>
                    <a:pt x="309" y="537"/>
                  </a:lnTo>
                  <a:lnTo>
                    <a:pt x="305" y="534"/>
                  </a:lnTo>
                  <a:lnTo>
                    <a:pt x="305" y="534"/>
                  </a:lnTo>
                  <a:lnTo>
                    <a:pt x="305" y="527"/>
                  </a:lnTo>
                  <a:lnTo>
                    <a:pt x="302" y="524"/>
                  </a:lnTo>
                  <a:lnTo>
                    <a:pt x="302" y="524"/>
                  </a:lnTo>
                  <a:lnTo>
                    <a:pt x="299" y="521"/>
                  </a:lnTo>
                  <a:lnTo>
                    <a:pt x="299" y="521"/>
                  </a:lnTo>
                  <a:lnTo>
                    <a:pt x="299" y="521"/>
                  </a:lnTo>
                  <a:lnTo>
                    <a:pt x="299" y="521"/>
                  </a:lnTo>
                  <a:lnTo>
                    <a:pt x="299" y="517"/>
                  </a:lnTo>
                  <a:lnTo>
                    <a:pt x="299" y="517"/>
                  </a:lnTo>
                  <a:lnTo>
                    <a:pt x="302" y="517"/>
                  </a:lnTo>
                  <a:lnTo>
                    <a:pt x="302" y="517"/>
                  </a:lnTo>
                  <a:lnTo>
                    <a:pt x="309" y="511"/>
                  </a:lnTo>
                  <a:lnTo>
                    <a:pt x="309" y="511"/>
                  </a:lnTo>
                  <a:lnTo>
                    <a:pt x="316" y="507"/>
                  </a:lnTo>
                  <a:lnTo>
                    <a:pt x="316" y="507"/>
                  </a:lnTo>
                  <a:lnTo>
                    <a:pt x="319" y="504"/>
                  </a:lnTo>
                  <a:lnTo>
                    <a:pt x="322" y="500"/>
                  </a:lnTo>
                  <a:lnTo>
                    <a:pt x="322" y="500"/>
                  </a:lnTo>
                  <a:lnTo>
                    <a:pt x="326" y="497"/>
                  </a:lnTo>
                  <a:lnTo>
                    <a:pt x="326" y="497"/>
                  </a:lnTo>
                  <a:lnTo>
                    <a:pt x="326" y="487"/>
                  </a:lnTo>
                  <a:lnTo>
                    <a:pt x="326" y="487"/>
                  </a:lnTo>
                  <a:lnTo>
                    <a:pt x="329" y="490"/>
                  </a:lnTo>
                  <a:lnTo>
                    <a:pt x="336" y="494"/>
                  </a:lnTo>
                  <a:lnTo>
                    <a:pt x="336" y="494"/>
                  </a:lnTo>
                  <a:lnTo>
                    <a:pt x="339" y="490"/>
                  </a:lnTo>
                  <a:lnTo>
                    <a:pt x="339" y="490"/>
                  </a:lnTo>
                  <a:lnTo>
                    <a:pt x="342" y="487"/>
                  </a:lnTo>
                  <a:lnTo>
                    <a:pt x="342" y="487"/>
                  </a:lnTo>
                  <a:lnTo>
                    <a:pt x="342" y="484"/>
                  </a:lnTo>
                  <a:lnTo>
                    <a:pt x="342" y="480"/>
                  </a:lnTo>
                  <a:lnTo>
                    <a:pt x="342" y="480"/>
                  </a:lnTo>
                  <a:lnTo>
                    <a:pt x="346" y="477"/>
                  </a:lnTo>
                  <a:lnTo>
                    <a:pt x="346" y="470"/>
                  </a:lnTo>
                  <a:lnTo>
                    <a:pt x="346" y="470"/>
                  </a:lnTo>
                  <a:lnTo>
                    <a:pt x="356" y="467"/>
                  </a:lnTo>
                  <a:lnTo>
                    <a:pt x="356" y="467"/>
                  </a:lnTo>
                  <a:lnTo>
                    <a:pt x="349" y="463"/>
                  </a:lnTo>
                  <a:lnTo>
                    <a:pt x="349" y="463"/>
                  </a:lnTo>
                  <a:lnTo>
                    <a:pt x="342" y="460"/>
                  </a:lnTo>
                  <a:lnTo>
                    <a:pt x="342" y="460"/>
                  </a:lnTo>
                  <a:lnTo>
                    <a:pt x="339" y="457"/>
                  </a:lnTo>
                  <a:lnTo>
                    <a:pt x="339" y="457"/>
                  </a:lnTo>
                  <a:lnTo>
                    <a:pt x="332" y="453"/>
                  </a:lnTo>
                  <a:lnTo>
                    <a:pt x="332" y="453"/>
                  </a:lnTo>
                  <a:lnTo>
                    <a:pt x="329" y="450"/>
                  </a:lnTo>
                  <a:lnTo>
                    <a:pt x="329" y="450"/>
                  </a:lnTo>
                  <a:lnTo>
                    <a:pt x="329" y="450"/>
                  </a:lnTo>
                  <a:lnTo>
                    <a:pt x="329" y="450"/>
                  </a:lnTo>
                  <a:lnTo>
                    <a:pt x="329" y="447"/>
                  </a:lnTo>
                  <a:lnTo>
                    <a:pt x="329" y="447"/>
                  </a:lnTo>
                  <a:lnTo>
                    <a:pt x="322" y="443"/>
                  </a:lnTo>
                  <a:lnTo>
                    <a:pt x="322" y="443"/>
                  </a:lnTo>
                  <a:lnTo>
                    <a:pt x="322" y="440"/>
                  </a:lnTo>
                  <a:lnTo>
                    <a:pt x="322" y="440"/>
                  </a:lnTo>
                  <a:lnTo>
                    <a:pt x="319" y="440"/>
                  </a:lnTo>
                  <a:lnTo>
                    <a:pt x="319" y="440"/>
                  </a:lnTo>
                  <a:lnTo>
                    <a:pt x="316" y="433"/>
                  </a:lnTo>
                  <a:lnTo>
                    <a:pt x="316" y="433"/>
                  </a:lnTo>
                  <a:lnTo>
                    <a:pt x="316" y="427"/>
                  </a:lnTo>
                  <a:lnTo>
                    <a:pt x="316" y="427"/>
                  </a:lnTo>
                  <a:lnTo>
                    <a:pt x="309" y="423"/>
                  </a:lnTo>
                  <a:lnTo>
                    <a:pt x="309" y="423"/>
                  </a:lnTo>
                  <a:lnTo>
                    <a:pt x="302" y="420"/>
                  </a:lnTo>
                  <a:lnTo>
                    <a:pt x="302" y="420"/>
                  </a:lnTo>
                  <a:lnTo>
                    <a:pt x="299" y="416"/>
                  </a:lnTo>
                  <a:lnTo>
                    <a:pt x="299" y="416"/>
                  </a:lnTo>
                  <a:lnTo>
                    <a:pt x="299" y="413"/>
                  </a:lnTo>
                  <a:lnTo>
                    <a:pt x="299" y="413"/>
                  </a:lnTo>
                  <a:lnTo>
                    <a:pt x="295" y="413"/>
                  </a:lnTo>
                  <a:lnTo>
                    <a:pt x="295" y="413"/>
                  </a:lnTo>
                  <a:lnTo>
                    <a:pt x="295" y="410"/>
                  </a:lnTo>
                  <a:lnTo>
                    <a:pt x="295" y="410"/>
                  </a:lnTo>
                  <a:lnTo>
                    <a:pt x="292" y="400"/>
                  </a:lnTo>
                  <a:lnTo>
                    <a:pt x="292" y="400"/>
                  </a:lnTo>
                  <a:lnTo>
                    <a:pt x="289" y="396"/>
                  </a:lnTo>
                  <a:lnTo>
                    <a:pt x="289" y="396"/>
                  </a:lnTo>
                  <a:lnTo>
                    <a:pt x="289" y="393"/>
                  </a:lnTo>
                  <a:lnTo>
                    <a:pt x="289" y="393"/>
                  </a:lnTo>
                  <a:lnTo>
                    <a:pt x="289" y="386"/>
                  </a:lnTo>
                  <a:lnTo>
                    <a:pt x="289" y="386"/>
                  </a:lnTo>
                  <a:lnTo>
                    <a:pt x="292" y="386"/>
                  </a:lnTo>
                  <a:lnTo>
                    <a:pt x="295" y="383"/>
                  </a:lnTo>
                  <a:lnTo>
                    <a:pt x="295" y="383"/>
                  </a:lnTo>
                  <a:lnTo>
                    <a:pt x="295" y="379"/>
                  </a:lnTo>
                  <a:lnTo>
                    <a:pt x="295" y="379"/>
                  </a:lnTo>
                  <a:lnTo>
                    <a:pt x="292" y="376"/>
                  </a:lnTo>
                  <a:lnTo>
                    <a:pt x="292" y="376"/>
                  </a:lnTo>
                  <a:lnTo>
                    <a:pt x="285" y="373"/>
                  </a:lnTo>
                  <a:lnTo>
                    <a:pt x="285" y="373"/>
                  </a:lnTo>
                  <a:lnTo>
                    <a:pt x="282" y="369"/>
                  </a:lnTo>
                  <a:lnTo>
                    <a:pt x="282" y="369"/>
                  </a:lnTo>
                  <a:lnTo>
                    <a:pt x="279" y="363"/>
                  </a:lnTo>
                  <a:lnTo>
                    <a:pt x="279" y="363"/>
                  </a:lnTo>
                  <a:lnTo>
                    <a:pt x="279" y="359"/>
                  </a:lnTo>
                  <a:lnTo>
                    <a:pt x="279" y="359"/>
                  </a:lnTo>
                  <a:lnTo>
                    <a:pt x="279" y="356"/>
                  </a:lnTo>
                  <a:lnTo>
                    <a:pt x="279" y="356"/>
                  </a:lnTo>
                  <a:lnTo>
                    <a:pt x="279" y="356"/>
                  </a:lnTo>
                  <a:lnTo>
                    <a:pt x="279" y="353"/>
                  </a:lnTo>
                  <a:lnTo>
                    <a:pt x="279" y="353"/>
                  </a:lnTo>
                  <a:lnTo>
                    <a:pt x="279" y="353"/>
                  </a:lnTo>
                  <a:lnTo>
                    <a:pt x="279" y="353"/>
                  </a:lnTo>
                  <a:lnTo>
                    <a:pt x="282" y="349"/>
                  </a:lnTo>
                  <a:lnTo>
                    <a:pt x="282" y="349"/>
                  </a:lnTo>
                  <a:lnTo>
                    <a:pt x="282" y="349"/>
                  </a:lnTo>
                  <a:lnTo>
                    <a:pt x="285" y="353"/>
                  </a:lnTo>
                  <a:lnTo>
                    <a:pt x="285" y="353"/>
                  </a:lnTo>
                  <a:lnTo>
                    <a:pt x="289" y="356"/>
                  </a:lnTo>
                  <a:lnTo>
                    <a:pt x="289" y="356"/>
                  </a:lnTo>
                  <a:lnTo>
                    <a:pt x="289" y="359"/>
                  </a:lnTo>
                  <a:lnTo>
                    <a:pt x="292" y="359"/>
                  </a:lnTo>
                  <a:lnTo>
                    <a:pt x="292" y="359"/>
                  </a:lnTo>
                  <a:lnTo>
                    <a:pt x="295" y="353"/>
                  </a:lnTo>
                  <a:lnTo>
                    <a:pt x="295" y="353"/>
                  </a:lnTo>
                  <a:lnTo>
                    <a:pt x="302" y="349"/>
                  </a:lnTo>
                  <a:lnTo>
                    <a:pt x="302" y="349"/>
                  </a:lnTo>
                  <a:lnTo>
                    <a:pt x="312" y="349"/>
                  </a:lnTo>
                  <a:lnTo>
                    <a:pt x="312" y="346"/>
                  </a:lnTo>
                  <a:lnTo>
                    <a:pt x="312" y="346"/>
                  </a:lnTo>
                  <a:lnTo>
                    <a:pt x="322" y="346"/>
                  </a:lnTo>
                  <a:lnTo>
                    <a:pt x="322" y="346"/>
                  </a:lnTo>
                  <a:lnTo>
                    <a:pt x="326" y="342"/>
                  </a:lnTo>
                  <a:lnTo>
                    <a:pt x="326" y="342"/>
                  </a:lnTo>
                  <a:lnTo>
                    <a:pt x="329" y="339"/>
                  </a:lnTo>
                  <a:lnTo>
                    <a:pt x="329" y="339"/>
                  </a:lnTo>
                  <a:lnTo>
                    <a:pt x="332" y="339"/>
                  </a:lnTo>
                  <a:lnTo>
                    <a:pt x="332" y="339"/>
                  </a:lnTo>
                  <a:lnTo>
                    <a:pt x="336" y="336"/>
                  </a:lnTo>
                  <a:lnTo>
                    <a:pt x="339" y="336"/>
                  </a:lnTo>
                  <a:lnTo>
                    <a:pt x="339" y="336"/>
                  </a:lnTo>
                  <a:lnTo>
                    <a:pt x="339" y="336"/>
                  </a:lnTo>
                  <a:lnTo>
                    <a:pt x="339" y="336"/>
                  </a:lnTo>
                  <a:lnTo>
                    <a:pt x="342" y="336"/>
                  </a:lnTo>
                  <a:lnTo>
                    <a:pt x="349" y="332"/>
                  </a:lnTo>
                  <a:lnTo>
                    <a:pt x="349" y="332"/>
                  </a:lnTo>
                  <a:lnTo>
                    <a:pt x="349" y="332"/>
                  </a:lnTo>
                  <a:lnTo>
                    <a:pt x="349" y="332"/>
                  </a:lnTo>
                  <a:lnTo>
                    <a:pt x="356" y="329"/>
                  </a:lnTo>
                  <a:lnTo>
                    <a:pt x="356" y="329"/>
                  </a:lnTo>
                  <a:lnTo>
                    <a:pt x="366" y="329"/>
                  </a:lnTo>
                  <a:lnTo>
                    <a:pt x="366" y="329"/>
                  </a:lnTo>
                  <a:lnTo>
                    <a:pt x="376" y="326"/>
                  </a:lnTo>
                  <a:lnTo>
                    <a:pt x="376" y="326"/>
                  </a:lnTo>
                  <a:lnTo>
                    <a:pt x="383" y="326"/>
                  </a:lnTo>
                  <a:lnTo>
                    <a:pt x="383" y="326"/>
                  </a:lnTo>
                  <a:lnTo>
                    <a:pt x="390" y="326"/>
                  </a:lnTo>
                  <a:lnTo>
                    <a:pt x="393" y="326"/>
                  </a:lnTo>
                  <a:lnTo>
                    <a:pt x="393" y="322"/>
                  </a:lnTo>
                  <a:lnTo>
                    <a:pt x="393" y="322"/>
                  </a:lnTo>
                  <a:lnTo>
                    <a:pt x="390" y="316"/>
                  </a:lnTo>
                  <a:lnTo>
                    <a:pt x="390" y="316"/>
                  </a:lnTo>
                  <a:lnTo>
                    <a:pt x="393" y="312"/>
                  </a:lnTo>
                  <a:lnTo>
                    <a:pt x="393" y="312"/>
                  </a:lnTo>
                  <a:lnTo>
                    <a:pt x="393" y="312"/>
                  </a:lnTo>
                  <a:lnTo>
                    <a:pt x="393" y="312"/>
                  </a:lnTo>
                  <a:lnTo>
                    <a:pt x="396" y="316"/>
                  </a:lnTo>
                  <a:lnTo>
                    <a:pt x="396" y="316"/>
                  </a:lnTo>
                  <a:lnTo>
                    <a:pt x="400" y="316"/>
                  </a:lnTo>
                  <a:lnTo>
                    <a:pt x="400" y="316"/>
                  </a:lnTo>
                  <a:lnTo>
                    <a:pt x="406" y="316"/>
                  </a:lnTo>
                  <a:lnTo>
                    <a:pt x="406" y="316"/>
                  </a:lnTo>
                  <a:lnTo>
                    <a:pt x="406" y="319"/>
                  </a:lnTo>
                  <a:lnTo>
                    <a:pt x="406" y="319"/>
                  </a:lnTo>
                  <a:lnTo>
                    <a:pt x="410" y="322"/>
                  </a:lnTo>
                  <a:lnTo>
                    <a:pt x="410" y="322"/>
                  </a:lnTo>
                  <a:lnTo>
                    <a:pt x="410" y="322"/>
                  </a:lnTo>
                  <a:lnTo>
                    <a:pt x="410" y="322"/>
                  </a:lnTo>
                  <a:lnTo>
                    <a:pt x="413" y="326"/>
                  </a:lnTo>
                  <a:lnTo>
                    <a:pt x="413" y="326"/>
                  </a:lnTo>
                  <a:lnTo>
                    <a:pt x="416" y="329"/>
                  </a:lnTo>
                  <a:lnTo>
                    <a:pt x="416" y="329"/>
                  </a:lnTo>
                  <a:lnTo>
                    <a:pt x="420" y="322"/>
                  </a:lnTo>
                  <a:lnTo>
                    <a:pt x="420" y="322"/>
                  </a:lnTo>
                  <a:lnTo>
                    <a:pt x="423" y="312"/>
                  </a:lnTo>
                  <a:lnTo>
                    <a:pt x="423" y="312"/>
                  </a:lnTo>
                  <a:lnTo>
                    <a:pt x="426" y="309"/>
                  </a:lnTo>
                  <a:lnTo>
                    <a:pt x="426" y="309"/>
                  </a:lnTo>
                  <a:lnTo>
                    <a:pt x="430" y="302"/>
                  </a:lnTo>
                  <a:lnTo>
                    <a:pt x="430" y="302"/>
                  </a:lnTo>
                  <a:lnTo>
                    <a:pt x="430" y="295"/>
                  </a:lnTo>
                  <a:lnTo>
                    <a:pt x="430" y="292"/>
                  </a:lnTo>
                  <a:lnTo>
                    <a:pt x="430" y="292"/>
                  </a:lnTo>
                  <a:close/>
                  <a:moveTo>
                    <a:pt x="191" y="94"/>
                  </a:moveTo>
                  <a:lnTo>
                    <a:pt x="191" y="94"/>
                  </a:lnTo>
                  <a:lnTo>
                    <a:pt x="195" y="90"/>
                  </a:lnTo>
                  <a:lnTo>
                    <a:pt x="195" y="87"/>
                  </a:lnTo>
                  <a:lnTo>
                    <a:pt x="195" y="87"/>
                  </a:lnTo>
                  <a:lnTo>
                    <a:pt x="198" y="97"/>
                  </a:lnTo>
                  <a:lnTo>
                    <a:pt x="195" y="101"/>
                  </a:lnTo>
                  <a:lnTo>
                    <a:pt x="195" y="101"/>
                  </a:lnTo>
                  <a:lnTo>
                    <a:pt x="191" y="94"/>
                  </a:lnTo>
                  <a:lnTo>
                    <a:pt x="191" y="94"/>
                  </a:lnTo>
                  <a:close/>
                  <a:moveTo>
                    <a:pt x="383" y="94"/>
                  </a:moveTo>
                  <a:lnTo>
                    <a:pt x="383" y="87"/>
                  </a:lnTo>
                  <a:lnTo>
                    <a:pt x="390" y="87"/>
                  </a:lnTo>
                  <a:lnTo>
                    <a:pt x="393" y="94"/>
                  </a:lnTo>
                  <a:lnTo>
                    <a:pt x="390" y="94"/>
                  </a:lnTo>
                  <a:lnTo>
                    <a:pt x="383" y="94"/>
                  </a:lnTo>
                  <a:close/>
                </a:path>
              </a:pathLst>
            </a:custGeom>
            <a:solidFill>
              <a:srgbClr val="C0C0C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EYInterstate" pitchFamily="2" charset="0"/>
                <a:cs typeface="Arial" charset="0"/>
              </a:endParaRPr>
            </a:p>
          </p:txBody>
        </p:sp>
        <p:sp>
          <p:nvSpPr>
            <p:cNvPr id="43" name="Freeform 58"/>
            <p:cNvSpPr>
              <a:spLocks noEditPoints="1"/>
            </p:cNvSpPr>
            <p:nvPr/>
          </p:nvSpPr>
          <p:spPr bwMode="auto">
            <a:xfrm>
              <a:off x="2163" y="2491"/>
              <a:ext cx="624" cy="716"/>
            </a:xfrm>
            <a:custGeom>
              <a:avLst/>
              <a:gdLst/>
              <a:ahLst/>
              <a:cxnLst>
                <a:cxn ang="0">
                  <a:pos x="494" y="380"/>
                </a:cxn>
                <a:cxn ang="0">
                  <a:pos x="501" y="349"/>
                </a:cxn>
                <a:cxn ang="0">
                  <a:pos x="535" y="326"/>
                </a:cxn>
                <a:cxn ang="0">
                  <a:pos x="555" y="309"/>
                </a:cxn>
                <a:cxn ang="0">
                  <a:pos x="572" y="309"/>
                </a:cxn>
                <a:cxn ang="0">
                  <a:pos x="578" y="286"/>
                </a:cxn>
                <a:cxn ang="0">
                  <a:pos x="599" y="238"/>
                </a:cxn>
                <a:cxn ang="0">
                  <a:pos x="605" y="208"/>
                </a:cxn>
                <a:cxn ang="0">
                  <a:pos x="588" y="188"/>
                </a:cxn>
                <a:cxn ang="0">
                  <a:pos x="568" y="178"/>
                </a:cxn>
                <a:cxn ang="0">
                  <a:pos x="548" y="165"/>
                </a:cxn>
                <a:cxn ang="0">
                  <a:pos x="508" y="154"/>
                </a:cxn>
                <a:cxn ang="0">
                  <a:pos x="481" y="117"/>
                </a:cxn>
                <a:cxn ang="0">
                  <a:pos x="467" y="91"/>
                </a:cxn>
                <a:cxn ang="0">
                  <a:pos x="437" y="77"/>
                </a:cxn>
                <a:cxn ang="0">
                  <a:pos x="407" y="40"/>
                </a:cxn>
                <a:cxn ang="0">
                  <a:pos x="387" y="20"/>
                </a:cxn>
                <a:cxn ang="0">
                  <a:pos x="346" y="17"/>
                </a:cxn>
                <a:cxn ang="0">
                  <a:pos x="259" y="70"/>
                </a:cxn>
                <a:cxn ang="0">
                  <a:pos x="249" y="104"/>
                </a:cxn>
                <a:cxn ang="0">
                  <a:pos x="212" y="87"/>
                </a:cxn>
                <a:cxn ang="0">
                  <a:pos x="182" y="64"/>
                </a:cxn>
                <a:cxn ang="0">
                  <a:pos x="158" y="44"/>
                </a:cxn>
                <a:cxn ang="0">
                  <a:pos x="162" y="84"/>
                </a:cxn>
                <a:cxn ang="0">
                  <a:pos x="168" y="128"/>
                </a:cxn>
                <a:cxn ang="0">
                  <a:pos x="115" y="111"/>
                </a:cxn>
                <a:cxn ang="0">
                  <a:pos x="57" y="87"/>
                </a:cxn>
                <a:cxn ang="0">
                  <a:pos x="20" y="111"/>
                </a:cxn>
                <a:cxn ang="0">
                  <a:pos x="10" y="138"/>
                </a:cxn>
                <a:cxn ang="0">
                  <a:pos x="34" y="154"/>
                </a:cxn>
                <a:cxn ang="0">
                  <a:pos x="57" y="178"/>
                </a:cxn>
                <a:cxn ang="0">
                  <a:pos x="88" y="188"/>
                </a:cxn>
                <a:cxn ang="0">
                  <a:pos x="108" y="208"/>
                </a:cxn>
                <a:cxn ang="0">
                  <a:pos x="101" y="259"/>
                </a:cxn>
                <a:cxn ang="0">
                  <a:pos x="118" y="333"/>
                </a:cxn>
                <a:cxn ang="0">
                  <a:pos x="111" y="373"/>
                </a:cxn>
                <a:cxn ang="0">
                  <a:pos x="68" y="470"/>
                </a:cxn>
                <a:cxn ang="0">
                  <a:pos x="54" y="514"/>
                </a:cxn>
                <a:cxn ang="0">
                  <a:pos x="88" y="554"/>
                </a:cxn>
                <a:cxn ang="0">
                  <a:pos x="148" y="595"/>
                </a:cxn>
                <a:cxn ang="0">
                  <a:pos x="178" y="601"/>
                </a:cxn>
                <a:cxn ang="0">
                  <a:pos x="205" y="628"/>
                </a:cxn>
                <a:cxn ang="0">
                  <a:pos x="273" y="608"/>
                </a:cxn>
                <a:cxn ang="0">
                  <a:pos x="316" y="558"/>
                </a:cxn>
                <a:cxn ang="0">
                  <a:pos x="370" y="568"/>
                </a:cxn>
                <a:cxn ang="0">
                  <a:pos x="407" y="585"/>
                </a:cxn>
                <a:cxn ang="0">
                  <a:pos x="461" y="612"/>
                </a:cxn>
                <a:cxn ang="0">
                  <a:pos x="498" y="591"/>
                </a:cxn>
                <a:cxn ang="0">
                  <a:pos x="535" y="564"/>
                </a:cxn>
                <a:cxn ang="0">
                  <a:pos x="525" y="534"/>
                </a:cxn>
                <a:cxn ang="0">
                  <a:pos x="518" y="487"/>
                </a:cxn>
                <a:cxn ang="0">
                  <a:pos x="494" y="460"/>
                </a:cxn>
                <a:cxn ang="0">
                  <a:pos x="525" y="437"/>
                </a:cxn>
                <a:cxn ang="0">
                  <a:pos x="521" y="410"/>
                </a:cxn>
                <a:cxn ang="0">
                  <a:pos x="518" y="380"/>
                </a:cxn>
                <a:cxn ang="0">
                  <a:pos x="572" y="682"/>
                </a:cxn>
                <a:cxn ang="0">
                  <a:pos x="568" y="712"/>
                </a:cxn>
                <a:cxn ang="0">
                  <a:pos x="568" y="746"/>
                </a:cxn>
                <a:cxn ang="0">
                  <a:pos x="612" y="716"/>
                </a:cxn>
                <a:cxn ang="0">
                  <a:pos x="88" y="208"/>
                </a:cxn>
                <a:cxn ang="0">
                  <a:pos x="17" y="104"/>
                </a:cxn>
                <a:cxn ang="0">
                  <a:pos x="20" y="94"/>
                </a:cxn>
              </a:cxnLst>
              <a:rect l="0" t="0" r="r" b="b"/>
              <a:pathLst>
                <a:path w="622" h="763">
                  <a:moveTo>
                    <a:pt x="504" y="373"/>
                  </a:moveTo>
                  <a:lnTo>
                    <a:pt x="504" y="373"/>
                  </a:lnTo>
                  <a:lnTo>
                    <a:pt x="501" y="376"/>
                  </a:lnTo>
                  <a:lnTo>
                    <a:pt x="501" y="376"/>
                  </a:lnTo>
                  <a:lnTo>
                    <a:pt x="501" y="383"/>
                  </a:lnTo>
                  <a:lnTo>
                    <a:pt x="501" y="383"/>
                  </a:lnTo>
                  <a:lnTo>
                    <a:pt x="494" y="383"/>
                  </a:lnTo>
                  <a:lnTo>
                    <a:pt x="494" y="383"/>
                  </a:lnTo>
                  <a:lnTo>
                    <a:pt x="491" y="383"/>
                  </a:lnTo>
                  <a:lnTo>
                    <a:pt x="491" y="383"/>
                  </a:lnTo>
                  <a:lnTo>
                    <a:pt x="491" y="383"/>
                  </a:lnTo>
                  <a:lnTo>
                    <a:pt x="491" y="383"/>
                  </a:lnTo>
                  <a:lnTo>
                    <a:pt x="491" y="380"/>
                  </a:lnTo>
                  <a:lnTo>
                    <a:pt x="494" y="380"/>
                  </a:lnTo>
                  <a:lnTo>
                    <a:pt x="494" y="380"/>
                  </a:lnTo>
                  <a:lnTo>
                    <a:pt x="494" y="373"/>
                  </a:lnTo>
                  <a:lnTo>
                    <a:pt x="494" y="373"/>
                  </a:lnTo>
                  <a:lnTo>
                    <a:pt x="498" y="370"/>
                  </a:lnTo>
                  <a:lnTo>
                    <a:pt x="498" y="370"/>
                  </a:lnTo>
                  <a:lnTo>
                    <a:pt x="494" y="366"/>
                  </a:lnTo>
                  <a:lnTo>
                    <a:pt x="494" y="363"/>
                  </a:lnTo>
                  <a:lnTo>
                    <a:pt x="494" y="363"/>
                  </a:lnTo>
                  <a:lnTo>
                    <a:pt x="498" y="359"/>
                  </a:lnTo>
                  <a:lnTo>
                    <a:pt x="498" y="359"/>
                  </a:lnTo>
                  <a:lnTo>
                    <a:pt x="501" y="356"/>
                  </a:lnTo>
                  <a:lnTo>
                    <a:pt x="501" y="356"/>
                  </a:lnTo>
                  <a:lnTo>
                    <a:pt x="504" y="353"/>
                  </a:lnTo>
                  <a:lnTo>
                    <a:pt x="504" y="353"/>
                  </a:lnTo>
                  <a:lnTo>
                    <a:pt x="501" y="349"/>
                  </a:lnTo>
                  <a:lnTo>
                    <a:pt x="501" y="349"/>
                  </a:lnTo>
                  <a:lnTo>
                    <a:pt x="508" y="346"/>
                  </a:lnTo>
                  <a:lnTo>
                    <a:pt x="508" y="346"/>
                  </a:lnTo>
                  <a:lnTo>
                    <a:pt x="511" y="343"/>
                  </a:lnTo>
                  <a:lnTo>
                    <a:pt x="511" y="343"/>
                  </a:lnTo>
                  <a:lnTo>
                    <a:pt x="515" y="339"/>
                  </a:lnTo>
                  <a:lnTo>
                    <a:pt x="515" y="339"/>
                  </a:lnTo>
                  <a:lnTo>
                    <a:pt x="515" y="336"/>
                  </a:lnTo>
                  <a:lnTo>
                    <a:pt x="515" y="336"/>
                  </a:lnTo>
                  <a:lnTo>
                    <a:pt x="518" y="333"/>
                  </a:lnTo>
                  <a:lnTo>
                    <a:pt x="518" y="333"/>
                  </a:lnTo>
                  <a:lnTo>
                    <a:pt x="521" y="333"/>
                  </a:lnTo>
                  <a:lnTo>
                    <a:pt x="521" y="333"/>
                  </a:lnTo>
                  <a:lnTo>
                    <a:pt x="531" y="329"/>
                  </a:lnTo>
                  <a:lnTo>
                    <a:pt x="531" y="329"/>
                  </a:lnTo>
                  <a:lnTo>
                    <a:pt x="535" y="326"/>
                  </a:lnTo>
                  <a:lnTo>
                    <a:pt x="535" y="326"/>
                  </a:lnTo>
                  <a:lnTo>
                    <a:pt x="535" y="326"/>
                  </a:lnTo>
                  <a:lnTo>
                    <a:pt x="535" y="326"/>
                  </a:lnTo>
                  <a:lnTo>
                    <a:pt x="538" y="322"/>
                  </a:lnTo>
                  <a:lnTo>
                    <a:pt x="538" y="322"/>
                  </a:lnTo>
                  <a:lnTo>
                    <a:pt x="545" y="319"/>
                  </a:lnTo>
                  <a:lnTo>
                    <a:pt x="545" y="319"/>
                  </a:lnTo>
                  <a:lnTo>
                    <a:pt x="551" y="316"/>
                  </a:lnTo>
                  <a:lnTo>
                    <a:pt x="551" y="316"/>
                  </a:lnTo>
                  <a:lnTo>
                    <a:pt x="555" y="316"/>
                  </a:lnTo>
                  <a:lnTo>
                    <a:pt x="555" y="316"/>
                  </a:lnTo>
                  <a:lnTo>
                    <a:pt x="558" y="312"/>
                  </a:lnTo>
                  <a:lnTo>
                    <a:pt x="558" y="312"/>
                  </a:lnTo>
                  <a:lnTo>
                    <a:pt x="555" y="309"/>
                  </a:lnTo>
                  <a:lnTo>
                    <a:pt x="555" y="309"/>
                  </a:lnTo>
                  <a:lnTo>
                    <a:pt x="551" y="309"/>
                  </a:lnTo>
                  <a:lnTo>
                    <a:pt x="551" y="309"/>
                  </a:lnTo>
                  <a:lnTo>
                    <a:pt x="555" y="306"/>
                  </a:lnTo>
                  <a:lnTo>
                    <a:pt x="555" y="306"/>
                  </a:lnTo>
                  <a:lnTo>
                    <a:pt x="558" y="302"/>
                  </a:lnTo>
                  <a:lnTo>
                    <a:pt x="558" y="302"/>
                  </a:lnTo>
                  <a:lnTo>
                    <a:pt x="562" y="302"/>
                  </a:lnTo>
                  <a:lnTo>
                    <a:pt x="562" y="302"/>
                  </a:lnTo>
                  <a:lnTo>
                    <a:pt x="565" y="302"/>
                  </a:lnTo>
                  <a:lnTo>
                    <a:pt x="565" y="306"/>
                  </a:lnTo>
                  <a:lnTo>
                    <a:pt x="565" y="306"/>
                  </a:lnTo>
                  <a:lnTo>
                    <a:pt x="565" y="309"/>
                  </a:lnTo>
                  <a:lnTo>
                    <a:pt x="568" y="309"/>
                  </a:lnTo>
                  <a:lnTo>
                    <a:pt x="568" y="309"/>
                  </a:lnTo>
                  <a:lnTo>
                    <a:pt x="572" y="309"/>
                  </a:lnTo>
                  <a:lnTo>
                    <a:pt x="572" y="309"/>
                  </a:lnTo>
                  <a:lnTo>
                    <a:pt x="575" y="309"/>
                  </a:lnTo>
                  <a:lnTo>
                    <a:pt x="578" y="309"/>
                  </a:lnTo>
                  <a:lnTo>
                    <a:pt x="578" y="309"/>
                  </a:lnTo>
                  <a:lnTo>
                    <a:pt x="582" y="306"/>
                  </a:lnTo>
                  <a:lnTo>
                    <a:pt x="582" y="306"/>
                  </a:lnTo>
                  <a:lnTo>
                    <a:pt x="585" y="299"/>
                  </a:lnTo>
                  <a:lnTo>
                    <a:pt x="585" y="299"/>
                  </a:lnTo>
                  <a:lnTo>
                    <a:pt x="585" y="296"/>
                  </a:lnTo>
                  <a:lnTo>
                    <a:pt x="585" y="296"/>
                  </a:lnTo>
                  <a:lnTo>
                    <a:pt x="582" y="296"/>
                  </a:lnTo>
                  <a:lnTo>
                    <a:pt x="582" y="296"/>
                  </a:lnTo>
                  <a:lnTo>
                    <a:pt x="578" y="292"/>
                  </a:lnTo>
                  <a:lnTo>
                    <a:pt x="578" y="286"/>
                  </a:lnTo>
                  <a:lnTo>
                    <a:pt x="578" y="286"/>
                  </a:lnTo>
                  <a:lnTo>
                    <a:pt x="582" y="275"/>
                  </a:lnTo>
                  <a:lnTo>
                    <a:pt x="582" y="275"/>
                  </a:lnTo>
                  <a:lnTo>
                    <a:pt x="582" y="269"/>
                  </a:lnTo>
                  <a:lnTo>
                    <a:pt x="582" y="269"/>
                  </a:lnTo>
                  <a:lnTo>
                    <a:pt x="588" y="255"/>
                  </a:lnTo>
                  <a:lnTo>
                    <a:pt x="588" y="255"/>
                  </a:lnTo>
                  <a:lnTo>
                    <a:pt x="588" y="252"/>
                  </a:lnTo>
                  <a:lnTo>
                    <a:pt x="588" y="249"/>
                  </a:lnTo>
                  <a:lnTo>
                    <a:pt x="588" y="249"/>
                  </a:lnTo>
                  <a:lnTo>
                    <a:pt x="592" y="245"/>
                  </a:lnTo>
                  <a:lnTo>
                    <a:pt x="592" y="245"/>
                  </a:lnTo>
                  <a:lnTo>
                    <a:pt x="595" y="242"/>
                  </a:lnTo>
                  <a:lnTo>
                    <a:pt x="595" y="242"/>
                  </a:lnTo>
                  <a:lnTo>
                    <a:pt x="599" y="238"/>
                  </a:lnTo>
                  <a:lnTo>
                    <a:pt x="599" y="238"/>
                  </a:lnTo>
                  <a:lnTo>
                    <a:pt x="599" y="232"/>
                  </a:lnTo>
                  <a:lnTo>
                    <a:pt x="599" y="232"/>
                  </a:lnTo>
                  <a:lnTo>
                    <a:pt x="605" y="228"/>
                  </a:lnTo>
                  <a:lnTo>
                    <a:pt x="605" y="228"/>
                  </a:lnTo>
                  <a:lnTo>
                    <a:pt x="609" y="222"/>
                  </a:lnTo>
                  <a:lnTo>
                    <a:pt x="609" y="222"/>
                  </a:lnTo>
                  <a:lnTo>
                    <a:pt x="612" y="218"/>
                  </a:lnTo>
                  <a:lnTo>
                    <a:pt x="612" y="218"/>
                  </a:lnTo>
                  <a:lnTo>
                    <a:pt x="615" y="215"/>
                  </a:lnTo>
                  <a:lnTo>
                    <a:pt x="615" y="215"/>
                  </a:lnTo>
                  <a:lnTo>
                    <a:pt x="615" y="215"/>
                  </a:lnTo>
                  <a:lnTo>
                    <a:pt x="612" y="215"/>
                  </a:lnTo>
                  <a:lnTo>
                    <a:pt x="612" y="215"/>
                  </a:lnTo>
                  <a:lnTo>
                    <a:pt x="605" y="208"/>
                  </a:lnTo>
                  <a:lnTo>
                    <a:pt x="605" y="208"/>
                  </a:lnTo>
                  <a:lnTo>
                    <a:pt x="599" y="205"/>
                  </a:lnTo>
                  <a:lnTo>
                    <a:pt x="599" y="205"/>
                  </a:lnTo>
                  <a:lnTo>
                    <a:pt x="599" y="205"/>
                  </a:lnTo>
                  <a:lnTo>
                    <a:pt x="599" y="205"/>
                  </a:lnTo>
                  <a:lnTo>
                    <a:pt x="599" y="205"/>
                  </a:lnTo>
                  <a:lnTo>
                    <a:pt x="595" y="202"/>
                  </a:lnTo>
                  <a:lnTo>
                    <a:pt x="595" y="202"/>
                  </a:lnTo>
                  <a:lnTo>
                    <a:pt x="592" y="198"/>
                  </a:lnTo>
                  <a:lnTo>
                    <a:pt x="592" y="198"/>
                  </a:lnTo>
                  <a:lnTo>
                    <a:pt x="588" y="195"/>
                  </a:lnTo>
                  <a:lnTo>
                    <a:pt x="588" y="195"/>
                  </a:lnTo>
                  <a:lnTo>
                    <a:pt x="585" y="191"/>
                  </a:lnTo>
                  <a:lnTo>
                    <a:pt x="585" y="191"/>
                  </a:lnTo>
                  <a:lnTo>
                    <a:pt x="588" y="188"/>
                  </a:lnTo>
                  <a:lnTo>
                    <a:pt x="588" y="188"/>
                  </a:lnTo>
                  <a:lnTo>
                    <a:pt x="585" y="188"/>
                  </a:lnTo>
                  <a:lnTo>
                    <a:pt x="585" y="188"/>
                  </a:lnTo>
                  <a:lnTo>
                    <a:pt x="582" y="188"/>
                  </a:lnTo>
                  <a:lnTo>
                    <a:pt x="582" y="188"/>
                  </a:lnTo>
                  <a:lnTo>
                    <a:pt x="578" y="188"/>
                  </a:lnTo>
                  <a:lnTo>
                    <a:pt x="578" y="188"/>
                  </a:lnTo>
                  <a:lnTo>
                    <a:pt x="572" y="185"/>
                  </a:lnTo>
                  <a:lnTo>
                    <a:pt x="572" y="185"/>
                  </a:lnTo>
                  <a:lnTo>
                    <a:pt x="568" y="185"/>
                  </a:lnTo>
                  <a:lnTo>
                    <a:pt x="568" y="185"/>
                  </a:lnTo>
                  <a:lnTo>
                    <a:pt x="568" y="181"/>
                  </a:lnTo>
                  <a:lnTo>
                    <a:pt x="568" y="181"/>
                  </a:lnTo>
                  <a:lnTo>
                    <a:pt x="568" y="178"/>
                  </a:lnTo>
                  <a:lnTo>
                    <a:pt x="568" y="178"/>
                  </a:lnTo>
                  <a:lnTo>
                    <a:pt x="568" y="178"/>
                  </a:lnTo>
                  <a:lnTo>
                    <a:pt x="562" y="175"/>
                  </a:lnTo>
                  <a:lnTo>
                    <a:pt x="562" y="175"/>
                  </a:lnTo>
                  <a:lnTo>
                    <a:pt x="562" y="178"/>
                  </a:lnTo>
                  <a:lnTo>
                    <a:pt x="562" y="178"/>
                  </a:lnTo>
                  <a:lnTo>
                    <a:pt x="558" y="181"/>
                  </a:lnTo>
                  <a:lnTo>
                    <a:pt x="558" y="181"/>
                  </a:lnTo>
                  <a:lnTo>
                    <a:pt x="551" y="178"/>
                  </a:lnTo>
                  <a:lnTo>
                    <a:pt x="551" y="178"/>
                  </a:lnTo>
                  <a:lnTo>
                    <a:pt x="551" y="171"/>
                  </a:lnTo>
                  <a:lnTo>
                    <a:pt x="551" y="171"/>
                  </a:lnTo>
                  <a:lnTo>
                    <a:pt x="548" y="171"/>
                  </a:lnTo>
                  <a:lnTo>
                    <a:pt x="548" y="171"/>
                  </a:lnTo>
                  <a:lnTo>
                    <a:pt x="551" y="165"/>
                  </a:lnTo>
                  <a:lnTo>
                    <a:pt x="551" y="165"/>
                  </a:lnTo>
                  <a:lnTo>
                    <a:pt x="548" y="165"/>
                  </a:lnTo>
                  <a:lnTo>
                    <a:pt x="548" y="165"/>
                  </a:lnTo>
                  <a:lnTo>
                    <a:pt x="545" y="158"/>
                  </a:lnTo>
                  <a:lnTo>
                    <a:pt x="545" y="158"/>
                  </a:lnTo>
                  <a:lnTo>
                    <a:pt x="541" y="158"/>
                  </a:lnTo>
                  <a:lnTo>
                    <a:pt x="541" y="158"/>
                  </a:lnTo>
                  <a:lnTo>
                    <a:pt x="535" y="154"/>
                  </a:lnTo>
                  <a:lnTo>
                    <a:pt x="528" y="154"/>
                  </a:lnTo>
                  <a:lnTo>
                    <a:pt x="525" y="158"/>
                  </a:lnTo>
                  <a:lnTo>
                    <a:pt x="525" y="158"/>
                  </a:lnTo>
                  <a:lnTo>
                    <a:pt x="521" y="158"/>
                  </a:lnTo>
                  <a:lnTo>
                    <a:pt x="518" y="158"/>
                  </a:lnTo>
                  <a:lnTo>
                    <a:pt x="515" y="151"/>
                  </a:lnTo>
                  <a:lnTo>
                    <a:pt x="515" y="151"/>
                  </a:lnTo>
                  <a:lnTo>
                    <a:pt x="508" y="154"/>
                  </a:lnTo>
                  <a:lnTo>
                    <a:pt x="508" y="154"/>
                  </a:lnTo>
                  <a:lnTo>
                    <a:pt x="501" y="154"/>
                  </a:lnTo>
                  <a:lnTo>
                    <a:pt x="498" y="154"/>
                  </a:lnTo>
                  <a:lnTo>
                    <a:pt x="498" y="154"/>
                  </a:lnTo>
                  <a:lnTo>
                    <a:pt x="498" y="154"/>
                  </a:lnTo>
                  <a:lnTo>
                    <a:pt x="498" y="138"/>
                  </a:lnTo>
                  <a:lnTo>
                    <a:pt x="498" y="138"/>
                  </a:lnTo>
                  <a:lnTo>
                    <a:pt x="494" y="131"/>
                  </a:lnTo>
                  <a:lnTo>
                    <a:pt x="494" y="131"/>
                  </a:lnTo>
                  <a:lnTo>
                    <a:pt x="491" y="128"/>
                  </a:lnTo>
                  <a:lnTo>
                    <a:pt x="491" y="124"/>
                  </a:lnTo>
                  <a:lnTo>
                    <a:pt x="491" y="124"/>
                  </a:lnTo>
                  <a:lnTo>
                    <a:pt x="484" y="124"/>
                  </a:lnTo>
                  <a:lnTo>
                    <a:pt x="484" y="124"/>
                  </a:lnTo>
                  <a:lnTo>
                    <a:pt x="484" y="121"/>
                  </a:lnTo>
                  <a:lnTo>
                    <a:pt x="481" y="117"/>
                  </a:lnTo>
                  <a:lnTo>
                    <a:pt x="481" y="117"/>
                  </a:lnTo>
                  <a:lnTo>
                    <a:pt x="478" y="114"/>
                  </a:lnTo>
                  <a:lnTo>
                    <a:pt x="478" y="114"/>
                  </a:lnTo>
                  <a:lnTo>
                    <a:pt x="478" y="111"/>
                  </a:lnTo>
                  <a:lnTo>
                    <a:pt x="478" y="111"/>
                  </a:lnTo>
                  <a:lnTo>
                    <a:pt x="481" y="107"/>
                  </a:lnTo>
                  <a:lnTo>
                    <a:pt x="474" y="104"/>
                  </a:lnTo>
                  <a:lnTo>
                    <a:pt x="474" y="104"/>
                  </a:lnTo>
                  <a:lnTo>
                    <a:pt x="474" y="101"/>
                  </a:lnTo>
                  <a:lnTo>
                    <a:pt x="474" y="94"/>
                  </a:lnTo>
                  <a:lnTo>
                    <a:pt x="474" y="87"/>
                  </a:lnTo>
                  <a:lnTo>
                    <a:pt x="474" y="87"/>
                  </a:lnTo>
                  <a:lnTo>
                    <a:pt x="474" y="87"/>
                  </a:lnTo>
                  <a:lnTo>
                    <a:pt x="471" y="87"/>
                  </a:lnTo>
                  <a:lnTo>
                    <a:pt x="467" y="91"/>
                  </a:lnTo>
                  <a:lnTo>
                    <a:pt x="467" y="94"/>
                  </a:lnTo>
                  <a:lnTo>
                    <a:pt x="464" y="97"/>
                  </a:lnTo>
                  <a:lnTo>
                    <a:pt x="464" y="97"/>
                  </a:lnTo>
                  <a:lnTo>
                    <a:pt x="461" y="97"/>
                  </a:lnTo>
                  <a:lnTo>
                    <a:pt x="457" y="101"/>
                  </a:lnTo>
                  <a:lnTo>
                    <a:pt x="454" y="104"/>
                  </a:lnTo>
                  <a:lnTo>
                    <a:pt x="447" y="104"/>
                  </a:lnTo>
                  <a:lnTo>
                    <a:pt x="447" y="104"/>
                  </a:lnTo>
                  <a:lnTo>
                    <a:pt x="441" y="101"/>
                  </a:lnTo>
                  <a:lnTo>
                    <a:pt x="437" y="94"/>
                  </a:lnTo>
                  <a:lnTo>
                    <a:pt x="434" y="91"/>
                  </a:lnTo>
                  <a:lnTo>
                    <a:pt x="434" y="91"/>
                  </a:lnTo>
                  <a:lnTo>
                    <a:pt x="437" y="87"/>
                  </a:lnTo>
                  <a:lnTo>
                    <a:pt x="437" y="81"/>
                  </a:lnTo>
                  <a:lnTo>
                    <a:pt x="437" y="77"/>
                  </a:lnTo>
                  <a:lnTo>
                    <a:pt x="437" y="77"/>
                  </a:lnTo>
                  <a:lnTo>
                    <a:pt x="430" y="74"/>
                  </a:lnTo>
                  <a:lnTo>
                    <a:pt x="430" y="74"/>
                  </a:lnTo>
                  <a:lnTo>
                    <a:pt x="427" y="67"/>
                  </a:lnTo>
                  <a:lnTo>
                    <a:pt x="424" y="60"/>
                  </a:lnTo>
                  <a:lnTo>
                    <a:pt x="424" y="60"/>
                  </a:lnTo>
                  <a:lnTo>
                    <a:pt x="420" y="60"/>
                  </a:lnTo>
                  <a:lnTo>
                    <a:pt x="420" y="60"/>
                  </a:lnTo>
                  <a:lnTo>
                    <a:pt x="417" y="57"/>
                  </a:lnTo>
                  <a:lnTo>
                    <a:pt x="417" y="57"/>
                  </a:lnTo>
                  <a:lnTo>
                    <a:pt x="414" y="50"/>
                  </a:lnTo>
                  <a:lnTo>
                    <a:pt x="414" y="50"/>
                  </a:lnTo>
                  <a:lnTo>
                    <a:pt x="410" y="44"/>
                  </a:lnTo>
                  <a:lnTo>
                    <a:pt x="410" y="44"/>
                  </a:lnTo>
                  <a:lnTo>
                    <a:pt x="407" y="40"/>
                  </a:lnTo>
                  <a:lnTo>
                    <a:pt x="407" y="40"/>
                  </a:lnTo>
                  <a:lnTo>
                    <a:pt x="404" y="40"/>
                  </a:lnTo>
                  <a:lnTo>
                    <a:pt x="400" y="44"/>
                  </a:lnTo>
                  <a:lnTo>
                    <a:pt x="400" y="47"/>
                  </a:lnTo>
                  <a:lnTo>
                    <a:pt x="397" y="47"/>
                  </a:lnTo>
                  <a:lnTo>
                    <a:pt x="397" y="47"/>
                  </a:lnTo>
                  <a:lnTo>
                    <a:pt x="397" y="44"/>
                  </a:lnTo>
                  <a:lnTo>
                    <a:pt x="394" y="40"/>
                  </a:lnTo>
                  <a:lnTo>
                    <a:pt x="394" y="33"/>
                  </a:lnTo>
                  <a:lnTo>
                    <a:pt x="394" y="33"/>
                  </a:lnTo>
                  <a:lnTo>
                    <a:pt x="394" y="33"/>
                  </a:lnTo>
                  <a:lnTo>
                    <a:pt x="390" y="37"/>
                  </a:lnTo>
                  <a:lnTo>
                    <a:pt x="387" y="30"/>
                  </a:lnTo>
                  <a:lnTo>
                    <a:pt x="387" y="27"/>
                  </a:lnTo>
                  <a:lnTo>
                    <a:pt x="387" y="20"/>
                  </a:lnTo>
                  <a:lnTo>
                    <a:pt x="387" y="20"/>
                  </a:lnTo>
                  <a:lnTo>
                    <a:pt x="383" y="13"/>
                  </a:lnTo>
                  <a:lnTo>
                    <a:pt x="383" y="10"/>
                  </a:lnTo>
                  <a:lnTo>
                    <a:pt x="383" y="10"/>
                  </a:lnTo>
                  <a:lnTo>
                    <a:pt x="363" y="10"/>
                  </a:lnTo>
                  <a:lnTo>
                    <a:pt x="363" y="0"/>
                  </a:lnTo>
                  <a:lnTo>
                    <a:pt x="363" y="0"/>
                  </a:lnTo>
                  <a:lnTo>
                    <a:pt x="357" y="3"/>
                  </a:lnTo>
                  <a:lnTo>
                    <a:pt x="350" y="3"/>
                  </a:lnTo>
                  <a:lnTo>
                    <a:pt x="350" y="3"/>
                  </a:lnTo>
                  <a:lnTo>
                    <a:pt x="346" y="7"/>
                  </a:lnTo>
                  <a:lnTo>
                    <a:pt x="346" y="7"/>
                  </a:lnTo>
                  <a:lnTo>
                    <a:pt x="346" y="7"/>
                  </a:lnTo>
                  <a:lnTo>
                    <a:pt x="346" y="13"/>
                  </a:lnTo>
                  <a:lnTo>
                    <a:pt x="346" y="17"/>
                  </a:lnTo>
                  <a:lnTo>
                    <a:pt x="346" y="17"/>
                  </a:lnTo>
                  <a:lnTo>
                    <a:pt x="340" y="23"/>
                  </a:lnTo>
                  <a:lnTo>
                    <a:pt x="340" y="23"/>
                  </a:lnTo>
                  <a:lnTo>
                    <a:pt x="336" y="40"/>
                  </a:lnTo>
                  <a:lnTo>
                    <a:pt x="336" y="54"/>
                  </a:lnTo>
                  <a:lnTo>
                    <a:pt x="336" y="54"/>
                  </a:lnTo>
                  <a:lnTo>
                    <a:pt x="326" y="54"/>
                  </a:lnTo>
                  <a:lnTo>
                    <a:pt x="326" y="54"/>
                  </a:lnTo>
                  <a:lnTo>
                    <a:pt x="320" y="60"/>
                  </a:lnTo>
                  <a:lnTo>
                    <a:pt x="313" y="64"/>
                  </a:lnTo>
                  <a:lnTo>
                    <a:pt x="309" y="67"/>
                  </a:lnTo>
                  <a:lnTo>
                    <a:pt x="309" y="67"/>
                  </a:lnTo>
                  <a:lnTo>
                    <a:pt x="283" y="67"/>
                  </a:lnTo>
                  <a:lnTo>
                    <a:pt x="269" y="67"/>
                  </a:lnTo>
                  <a:lnTo>
                    <a:pt x="259" y="70"/>
                  </a:lnTo>
                  <a:lnTo>
                    <a:pt x="259" y="70"/>
                  </a:lnTo>
                  <a:lnTo>
                    <a:pt x="256" y="74"/>
                  </a:lnTo>
                  <a:lnTo>
                    <a:pt x="256" y="77"/>
                  </a:lnTo>
                  <a:lnTo>
                    <a:pt x="256" y="84"/>
                  </a:lnTo>
                  <a:lnTo>
                    <a:pt x="259" y="87"/>
                  </a:lnTo>
                  <a:lnTo>
                    <a:pt x="259" y="87"/>
                  </a:lnTo>
                  <a:lnTo>
                    <a:pt x="266" y="87"/>
                  </a:lnTo>
                  <a:lnTo>
                    <a:pt x="269" y="94"/>
                  </a:lnTo>
                  <a:lnTo>
                    <a:pt x="269" y="94"/>
                  </a:lnTo>
                  <a:lnTo>
                    <a:pt x="256" y="94"/>
                  </a:lnTo>
                  <a:lnTo>
                    <a:pt x="256" y="94"/>
                  </a:lnTo>
                  <a:lnTo>
                    <a:pt x="252" y="97"/>
                  </a:lnTo>
                  <a:lnTo>
                    <a:pt x="252" y="97"/>
                  </a:lnTo>
                  <a:lnTo>
                    <a:pt x="249" y="101"/>
                  </a:lnTo>
                  <a:lnTo>
                    <a:pt x="249" y="104"/>
                  </a:lnTo>
                  <a:lnTo>
                    <a:pt x="249" y="104"/>
                  </a:lnTo>
                  <a:lnTo>
                    <a:pt x="249" y="107"/>
                  </a:lnTo>
                  <a:lnTo>
                    <a:pt x="249" y="107"/>
                  </a:lnTo>
                  <a:lnTo>
                    <a:pt x="246" y="97"/>
                  </a:lnTo>
                  <a:lnTo>
                    <a:pt x="246" y="97"/>
                  </a:lnTo>
                  <a:lnTo>
                    <a:pt x="236" y="94"/>
                  </a:lnTo>
                  <a:lnTo>
                    <a:pt x="236" y="94"/>
                  </a:lnTo>
                  <a:lnTo>
                    <a:pt x="236" y="97"/>
                  </a:lnTo>
                  <a:lnTo>
                    <a:pt x="236" y="97"/>
                  </a:lnTo>
                  <a:lnTo>
                    <a:pt x="236" y="97"/>
                  </a:lnTo>
                  <a:lnTo>
                    <a:pt x="232" y="94"/>
                  </a:lnTo>
                  <a:lnTo>
                    <a:pt x="229" y="91"/>
                  </a:lnTo>
                  <a:lnTo>
                    <a:pt x="229" y="91"/>
                  </a:lnTo>
                  <a:lnTo>
                    <a:pt x="219" y="87"/>
                  </a:lnTo>
                  <a:lnTo>
                    <a:pt x="212" y="87"/>
                  </a:lnTo>
                  <a:lnTo>
                    <a:pt x="212" y="87"/>
                  </a:lnTo>
                  <a:lnTo>
                    <a:pt x="205" y="81"/>
                  </a:lnTo>
                  <a:lnTo>
                    <a:pt x="205" y="81"/>
                  </a:lnTo>
                  <a:lnTo>
                    <a:pt x="199" y="81"/>
                  </a:lnTo>
                  <a:lnTo>
                    <a:pt x="199" y="74"/>
                  </a:lnTo>
                  <a:lnTo>
                    <a:pt x="199" y="74"/>
                  </a:lnTo>
                  <a:lnTo>
                    <a:pt x="195" y="81"/>
                  </a:lnTo>
                  <a:lnTo>
                    <a:pt x="195" y="81"/>
                  </a:lnTo>
                  <a:lnTo>
                    <a:pt x="192" y="70"/>
                  </a:lnTo>
                  <a:lnTo>
                    <a:pt x="192" y="70"/>
                  </a:lnTo>
                  <a:lnTo>
                    <a:pt x="185" y="77"/>
                  </a:lnTo>
                  <a:lnTo>
                    <a:pt x="185" y="77"/>
                  </a:lnTo>
                  <a:lnTo>
                    <a:pt x="185" y="64"/>
                  </a:lnTo>
                  <a:lnTo>
                    <a:pt x="185" y="64"/>
                  </a:lnTo>
                  <a:lnTo>
                    <a:pt x="182" y="64"/>
                  </a:lnTo>
                  <a:lnTo>
                    <a:pt x="182" y="67"/>
                  </a:lnTo>
                  <a:lnTo>
                    <a:pt x="182" y="67"/>
                  </a:lnTo>
                  <a:lnTo>
                    <a:pt x="189" y="57"/>
                  </a:lnTo>
                  <a:lnTo>
                    <a:pt x="189" y="57"/>
                  </a:lnTo>
                  <a:lnTo>
                    <a:pt x="189" y="50"/>
                  </a:lnTo>
                  <a:lnTo>
                    <a:pt x="189" y="50"/>
                  </a:lnTo>
                  <a:lnTo>
                    <a:pt x="189" y="47"/>
                  </a:lnTo>
                  <a:lnTo>
                    <a:pt x="185" y="47"/>
                  </a:lnTo>
                  <a:lnTo>
                    <a:pt x="185" y="47"/>
                  </a:lnTo>
                  <a:lnTo>
                    <a:pt x="172" y="47"/>
                  </a:lnTo>
                  <a:lnTo>
                    <a:pt x="162" y="40"/>
                  </a:lnTo>
                  <a:lnTo>
                    <a:pt x="162" y="40"/>
                  </a:lnTo>
                  <a:lnTo>
                    <a:pt x="162" y="37"/>
                  </a:lnTo>
                  <a:lnTo>
                    <a:pt x="162" y="40"/>
                  </a:lnTo>
                  <a:lnTo>
                    <a:pt x="158" y="44"/>
                  </a:lnTo>
                  <a:lnTo>
                    <a:pt x="162" y="44"/>
                  </a:lnTo>
                  <a:lnTo>
                    <a:pt x="162" y="44"/>
                  </a:lnTo>
                  <a:lnTo>
                    <a:pt x="158" y="47"/>
                  </a:lnTo>
                  <a:lnTo>
                    <a:pt x="158" y="50"/>
                  </a:lnTo>
                  <a:lnTo>
                    <a:pt x="158" y="50"/>
                  </a:lnTo>
                  <a:lnTo>
                    <a:pt x="158" y="54"/>
                  </a:lnTo>
                  <a:lnTo>
                    <a:pt x="158" y="54"/>
                  </a:lnTo>
                  <a:lnTo>
                    <a:pt x="162" y="84"/>
                  </a:lnTo>
                  <a:lnTo>
                    <a:pt x="162" y="84"/>
                  </a:lnTo>
                  <a:lnTo>
                    <a:pt x="158" y="77"/>
                  </a:lnTo>
                  <a:lnTo>
                    <a:pt x="158" y="77"/>
                  </a:lnTo>
                  <a:lnTo>
                    <a:pt x="155" y="77"/>
                  </a:lnTo>
                  <a:lnTo>
                    <a:pt x="155" y="81"/>
                  </a:lnTo>
                  <a:lnTo>
                    <a:pt x="155" y="81"/>
                  </a:lnTo>
                  <a:lnTo>
                    <a:pt x="162" y="84"/>
                  </a:lnTo>
                  <a:lnTo>
                    <a:pt x="162" y="84"/>
                  </a:lnTo>
                  <a:lnTo>
                    <a:pt x="165" y="91"/>
                  </a:lnTo>
                  <a:lnTo>
                    <a:pt x="165" y="94"/>
                  </a:lnTo>
                  <a:lnTo>
                    <a:pt x="165" y="101"/>
                  </a:lnTo>
                  <a:lnTo>
                    <a:pt x="168" y="104"/>
                  </a:lnTo>
                  <a:lnTo>
                    <a:pt x="168" y="104"/>
                  </a:lnTo>
                  <a:lnTo>
                    <a:pt x="168" y="104"/>
                  </a:lnTo>
                  <a:lnTo>
                    <a:pt x="168" y="107"/>
                  </a:lnTo>
                  <a:lnTo>
                    <a:pt x="165" y="107"/>
                  </a:lnTo>
                  <a:lnTo>
                    <a:pt x="165" y="107"/>
                  </a:lnTo>
                  <a:lnTo>
                    <a:pt x="165" y="117"/>
                  </a:lnTo>
                  <a:lnTo>
                    <a:pt x="165" y="124"/>
                  </a:lnTo>
                  <a:lnTo>
                    <a:pt x="168" y="124"/>
                  </a:lnTo>
                  <a:lnTo>
                    <a:pt x="168" y="124"/>
                  </a:lnTo>
                  <a:lnTo>
                    <a:pt x="168" y="128"/>
                  </a:lnTo>
                  <a:lnTo>
                    <a:pt x="165" y="131"/>
                  </a:lnTo>
                  <a:lnTo>
                    <a:pt x="165" y="131"/>
                  </a:lnTo>
                  <a:lnTo>
                    <a:pt x="158" y="124"/>
                  </a:lnTo>
                  <a:lnTo>
                    <a:pt x="158" y="124"/>
                  </a:lnTo>
                  <a:lnTo>
                    <a:pt x="152" y="124"/>
                  </a:lnTo>
                  <a:lnTo>
                    <a:pt x="141" y="111"/>
                  </a:lnTo>
                  <a:lnTo>
                    <a:pt x="141" y="111"/>
                  </a:lnTo>
                  <a:lnTo>
                    <a:pt x="131" y="114"/>
                  </a:lnTo>
                  <a:lnTo>
                    <a:pt x="121" y="111"/>
                  </a:lnTo>
                  <a:lnTo>
                    <a:pt x="121" y="111"/>
                  </a:lnTo>
                  <a:lnTo>
                    <a:pt x="118" y="111"/>
                  </a:lnTo>
                  <a:lnTo>
                    <a:pt x="118" y="107"/>
                  </a:lnTo>
                  <a:lnTo>
                    <a:pt x="118" y="107"/>
                  </a:lnTo>
                  <a:lnTo>
                    <a:pt x="115" y="107"/>
                  </a:lnTo>
                  <a:lnTo>
                    <a:pt x="115" y="111"/>
                  </a:lnTo>
                  <a:lnTo>
                    <a:pt x="115" y="111"/>
                  </a:lnTo>
                  <a:lnTo>
                    <a:pt x="111" y="111"/>
                  </a:lnTo>
                  <a:lnTo>
                    <a:pt x="111" y="114"/>
                  </a:lnTo>
                  <a:lnTo>
                    <a:pt x="111" y="114"/>
                  </a:lnTo>
                  <a:lnTo>
                    <a:pt x="101" y="114"/>
                  </a:lnTo>
                  <a:lnTo>
                    <a:pt x="101" y="114"/>
                  </a:lnTo>
                  <a:lnTo>
                    <a:pt x="94" y="101"/>
                  </a:lnTo>
                  <a:lnTo>
                    <a:pt x="91" y="84"/>
                  </a:lnTo>
                  <a:lnTo>
                    <a:pt x="91" y="84"/>
                  </a:lnTo>
                  <a:lnTo>
                    <a:pt x="64" y="81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1" y="84"/>
                  </a:lnTo>
                  <a:lnTo>
                    <a:pt x="57" y="87"/>
                  </a:lnTo>
                  <a:lnTo>
                    <a:pt x="57" y="87"/>
                  </a:lnTo>
                  <a:lnTo>
                    <a:pt x="44" y="84"/>
                  </a:lnTo>
                  <a:lnTo>
                    <a:pt x="44" y="84"/>
                  </a:lnTo>
                  <a:lnTo>
                    <a:pt x="44" y="77"/>
                  </a:lnTo>
                  <a:lnTo>
                    <a:pt x="44" y="77"/>
                  </a:lnTo>
                  <a:lnTo>
                    <a:pt x="34" y="77"/>
                  </a:lnTo>
                  <a:lnTo>
                    <a:pt x="24" y="77"/>
                  </a:lnTo>
                  <a:lnTo>
                    <a:pt x="4" y="81"/>
                  </a:lnTo>
                  <a:lnTo>
                    <a:pt x="4" y="94"/>
                  </a:lnTo>
                  <a:lnTo>
                    <a:pt x="4" y="94"/>
                  </a:lnTo>
                  <a:lnTo>
                    <a:pt x="14" y="97"/>
                  </a:lnTo>
                  <a:lnTo>
                    <a:pt x="17" y="101"/>
                  </a:lnTo>
                  <a:lnTo>
                    <a:pt x="7" y="101"/>
                  </a:lnTo>
                  <a:lnTo>
                    <a:pt x="10" y="107"/>
                  </a:lnTo>
                  <a:lnTo>
                    <a:pt x="10" y="107"/>
                  </a:lnTo>
                  <a:lnTo>
                    <a:pt x="20" y="111"/>
                  </a:lnTo>
                  <a:lnTo>
                    <a:pt x="20" y="111"/>
                  </a:lnTo>
                  <a:lnTo>
                    <a:pt x="20" y="117"/>
                  </a:lnTo>
                  <a:lnTo>
                    <a:pt x="20" y="117"/>
                  </a:lnTo>
                  <a:lnTo>
                    <a:pt x="7" y="117"/>
                  </a:lnTo>
                  <a:lnTo>
                    <a:pt x="7" y="117"/>
                  </a:lnTo>
                  <a:lnTo>
                    <a:pt x="7" y="114"/>
                  </a:lnTo>
                  <a:lnTo>
                    <a:pt x="4" y="114"/>
                  </a:lnTo>
                  <a:lnTo>
                    <a:pt x="0" y="117"/>
                  </a:lnTo>
                  <a:lnTo>
                    <a:pt x="0" y="117"/>
                  </a:lnTo>
                  <a:lnTo>
                    <a:pt x="7" y="121"/>
                  </a:lnTo>
                  <a:lnTo>
                    <a:pt x="10" y="124"/>
                  </a:lnTo>
                  <a:lnTo>
                    <a:pt x="10" y="124"/>
                  </a:lnTo>
                  <a:lnTo>
                    <a:pt x="10" y="131"/>
                  </a:lnTo>
                  <a:lnTo>
                    <a:pt x="10" y="134"/>
                  </a:lnTo>
                  <a:lnTo>
                    <a:pt x="10" y="138"/>
                  </a:lnTo>
                  <a:lnTo>
                    <a:pt x="14" y="141"/>
                  </a:lnTo>
                  <a:lnTo>
                    <a:pt x="14" y="141"/>
                  </a:lnTo>
                  <a:lnTo>
                    <a:pt x="17" y="141"/>
                  </a:lnTo>
                  <a:lnTo>
                    <a:pt x="20" y="138"/>
                  </a:lnTo>
                  <a:lnTo>
                    <a:pt x="20" y="138"/>
                  </a:lnTo>
                  <a:lnTo>
                    <a:pt x="27" y="134"/>
                  </a:lnTo>
                  <a:lnTo>
                    <a:pt x="27" y="134"/>
                  </a:lnTo>
                  <a:lnTo>
                    <a:pt x="27" y="134"/>
                  </a:lnTo>
                  <a:lnTo>
                    <a:pt x="27" y="141"/>
                  </a:lnTo>
                  <a:lnTo>
                    <a:pt x="27" y="141"/>
                  </a:lnTo>
                  <a:lnTo>
                    <a:pt x="37" y="148"/>
                  </a:lnTo>
                  <a:lnTo>
                    <a:pt x="37" y="151"/>
                  </a:lnTo>
                  <a:lnTo>
                    <a:pt x="34" y="151"/>
                  </a:lnTo>
                  <a:lnTo>
                    <a:pt x="34" y="154"/>
                  </a:lnTo>
                  <a:lnTo>
                    <a:pt x="34" y="154"/>
                  </a:lnTo>
                  <a:lnTo>
                    <a:pt x="37" y="154"/>
                  </a:lnTo>
                  <a:lnTo>
                    <a:pt x="41" y="154"/>
                  </a:lnTo>
                  <a:lnTo>
                    <a:pt x="44" y="154"/>
                  </a:lnTo>
                  <a:lnTo>
                    <a:pt x="41" y="161"/>
                  </a:lnTo>
                  <a:lnTo>
                    <a:pt x="41" y="161"/>
                  </a:lnTo>
                  <a:lnTo>
                    <a:pt x="47" y="161"/>
                  </a:lnTo>
                  <a:lnTo>
                    <a:pt x="47" y="161"/>
                  </a:lnTo>
                  <a:lnTo>
                    <a:pt x="47" y="168"/>
                  </a:lnTo>
                  <a:lnTo>
                    <a:pt x="47" y="168"/>
                  </a:lnTo>
                  <a:lnTo>
                    <a:pt x="51" y="168"/>
                  </a:lnTo>
                  <a:lnTo>
                    <a:pt x="57" y="168"/>
                  </a:lnTo>
                  <a:lnTo>
                    <a:pt x="57" y="168"/>
                  </a:lnTo>
                  <a:lnTo>
                    <a:pt x="61" y="175"/>
                  </a:lnTo>
                  <a:lnTo>
                    <a:pt x="61" y="175"/>
                  </a:lnTo>
                  <a:lnTo>
                    <a:pt x="57" y="178"/>
                  </a:lnTo>
                  <a:lnTo>
                    <a:pt x="57" y="181"/>
                  </a:lnTo>
                  <a:lnTo>
                    <a:pt x="64" y="185"/>
                  </a:lnTo>
                  <a:lnTo>
                    <a:pt x="64" y="185"/>
                  </a:lnTo>
                  <a:lnTo>
                    <a:pt x="68" y="181"/>
                  </a:lnTo>
                  <a:lnTo>
                    <a:pt x="64" y="178"/>
                  </a:lnTo>
                  <a:lnTo>
                    <a:pt x="68" y="175"/>
                  </a:lnTo>
                  <a:lnTo>
                    <a:pt x="74" y="175"/>
                  </a:lnTo>
                  <a:lnTo>
                    <a:pt x="74" y="175"/>
                  </a:lnTo>
                  <a:lnTo>
                    <a:pt x="78" y="178"/>
                  </a:lnTo>
                  <a:lnTo>
                    <a:pt x="78" y="181"/>
                  </a:lnTo>
                  <a:lnTo>
                    <a:pt x="78" y="181"/>
                  </a:lnTo>
                  <a:lnTo>
                    <a:pt x="71" y="181"/>
                  </a:lnTo>
                  <a:lnTo>
                    <a:pt x="71" y="185"/>
                  </a:lnTo>
                  <a:lnTo>
                    <a:pt x="71" y="185"/>
                  </a:lnTo>
                  <a:lnTo>
                    <a:pt x="88" y="188"/>
                  </a:lnTo>
                  <a:lnTo>
                    <a:pt x="88" y="188"/>
                  </a:lnTo>
                  <a:lnTo>
                    <a:pt x="88" y="191"/>
                  </a:lnTo>
                  <a:lnTo>
                    <a:pt x="88" y="195"/>
                  </a:lnTo>
                  <a:lnTo>
                    <a:pt x="94" y="195"/>
                  </a:lnTo>
                  <a:lnTo>
                    <a:pt x="94" y="198"/>
                  </a:lnTo>
                  <a:lnTo>
                    <a:pt x="94" y="198"/>
                  </a:lnTo>
                  <a:lnTo>
                    <a:pt x="88" y="198"/>
                  </a:lnTo>
                  <a:lnTo>
                    <a:pt x="88" y="198"/>
                  </a:lnTo>
                  <a:lnTo>
                    <a:pt x="88" y="205"/>
                  </a:lnTo>
                  <a:lnTo>
                    <a:pt x="88" y="205"/>
                  </a:lnTo>
                  <a:lnTo>
                    <a:pt x="88" y="208"/>
                  </a:lnTo>
                  <a:lnTo>
                    <a:pt x="91" y="208"/>
                  </a:lnTo>
                  <a:lnTo>
                    <a:pt x="91" y="208"/>
                  </a:lnTo>
                  <a:lnTo>
                    <a:pt x="108" y="208"/>
                  </a:lnTo>
                  <a:lnTo>
                    <a:pt x="108" y="208"/>
                  </a:lnTo>
                  <a:lnTo>
                    <a:pt x="98" y="212"/>
                  </a:lnTo>
                  <a:lnTo>
                    <a:pt x="98" y="212"/>
                  </a:lnTo>
                  <a:lnTo>
                    <a:pt x="94" y="218"/>
                  </a:lnTo>
                  <a:lnTo>
                    <a:pt x="94" y="218"/>
                  </a:lnTo>
                  <a:lnTo>
                    <a:pt x="98" y="222"/>
                  </a:lnTo>
                  <a:lnTo>
                    <a:pt x="101" y="228"/>
                  </a:lnTo>
                  <a:lnTo>
                    <a:pt x="101" y="228"/>
                  </a:lnTo>
                  <a:lnTo>
                    <a:pt x="111" y="228"/>
                  </a:lnTo>
                  <a:lnTo>
                    <a:pt x="111" y="228"/>
                  </a:lnTo>
                  <a:lnTo>
                    <a:pt x="111" y="232"/>
                  </a:lnTo>
                  <a:lnTo>
                    <a:pt x="111" y="232"/>
                  </a:lnTo>
                  <a:lnTo>
                    <a:pt x="104" y="238"/>
                  </a:lnTo>
                  <a:lnTo>
                    <a:pt x="98" y="242"/>
                  </a:lnTo>
                  <a:lnTo>
                    <a:pt x="98" y="242"/>
                  </a:lnTo>
                  <a:lnTo>
                    <a:pt x="101" y="259"/>
                  </a:lnTo>
                  <a:lnTo>
                    <a:pt x="108" y="275"/>
                  </a:lnTo>
                  <a:lnTo>
                    <a:pt x="108" y="275"/>
                  </a:lnTo>
                  <a:lnTo>
                    <a:pt x="121" y="286"/>
                  </a:lnTo>
                  <a:lnTo>
                    <a:pt x="121" y="286"/>
                  </a:lnTo>
                  <a:lnTo>
                    <a:pt x="121" y="292"/>
                  </a:lnTo>
                  <a:lnTo>
                    <a:pt x="121" y="292"/>
                  </a:lnTo>
                  <a:lnTo>
                    <a:pt x="135" y="296"/>
                  </a:lnTo>
                  <a:lnTo>
                    <a:pt x="135" y="299"/>
                  </a:lnTo>
                  <a:lnTo>
                    <a:pt x="135" y="299"/>
                  </a:lnTo>
                  <a:lnTo>
                    <a:pt x="128" y="299"/>
                  </a:lnTo>
                  <a:lnTo>
                    <a:pt x="128" y="299"/>
                  </a:lnTo>
                  <a:lnTo>
                    <a:pt x="128" y="329"/>
                  </a:lnTo>
                  <a:lnTo>
                    <a:pt x="128" y="329"/>
                  </a:lnTo>
                  <a:lnTo>
                    <a:pt x="118" y="333"/>
                  </a:lnTo>
                  <a:lnTo>
                    <a:pt x="118" y="333"/>
                  </a:lnTo>
                  <a:lnTo>
                    <a:pt x="115" y="336"/>
                  </a:lnTo>
                  <a:lnTo>
                    <a:pt x="115" y="336"/>
                  </a:lnTo>
                  <a:lnTo>
                    <a:pt x="128" y="356"/>
                  </a:lnTo>
                  <a:lnTo>
                    <a:pt x="131" y="370"/>
                  </a:lnTo>
                  <a:lnTo>
                    <a:pt x="135" y="383"/>
                  </a:lnTo>
                  <a:lnTo>
                    <a:pt x="135" y="383"/>
                  </a:lnTo>
                  <a:lnTo>
                    <a:pt x="128" y="370"/>
                  </a:lnTo>
                  <a:lnTo>
                    <a:pt x="128" y="370"/>
                  </a:lnTo>
                  <a:lnTo>
                    <a:pt x="125" y="370"/>
                  </a:lnTo>
                  <a:lnTo>
                    <a:pt x="125" y="370"/>
                  </a:lnTo>
                  <a:lnTo>
                    <a:pt x="121" y="356"/>
                  </a:lnTo>
                  <a:lnTo>
                    <a:pt x="121" y="356"/>
                  </a:lnTo>
                  <a:lnTo>
                    <a:pt x="115" y="359"/>
                  </a:lnTo>
                  <a:lnTo>
                    <a:pt x="115" y="359"/>
                  </a:lnTo>
                  <a:lnTo>
                    <a:pt x="111" y="373"/>
                  </a:lnTo>
                  <a:lnTo>
                    <a:pt x="111" y="373"/>
                  </a:lnTo>
                  <a:lnTo>
                    <a:pt x="108" y="373"/>
                  </a:lnTo>
                  <a:lnTo>
                    <a:pt x="108" y="373"/>
                  </a:lnTo>
                  <a:lnTo>
                    <a:pt x="101" y="390"/>
                  </a:lnTo>
                  <a:lnTo>
                    <a:pt x="98" y="407"/>
                  </a:lnTo>
                  <a:lnTo>
                    <a:pt x="98" y="407"/>
                  </a:lnTo>
                  <a:lnTo>
                    <a:pt x="108" y="410"/>
                  </a:lnTo>
                  <a:lnTo>
                    <a:pt x="108" y="410"/>
                  </a:lnTo>
                  <a:lnTo>
                    <a:pt x="108" y="417"/>
                  </a:lnTo>
                  <a:lnTo>
                    <a:pt x="108" y="417"/>
                  </a:lnTo>
                  <a:lnTo>
                    <a:pt x="98" y="413"/>
                  </a:lnTo>
                  <a:lnTo>
                    <a:pt x="98" y="413"/>
                  </a:lnTo>
                  <a:lnTo>
                    <a:pt x="84" y="443"/>
                  </a:lnTo>
                  <a:lnTo>
                    <a:pt x="78" y="457"/>
                  </a:lnTo>
                  <a:lnTo>
                    <a:pt x="68" y="470"/>
                  </a:lnTo>
                  <a:lnTo>
                    <a:pt x="68" y="470"/>
                  </a:lnTo>
                  <a:lnTo>
                    <a:pt x="47" y="491"/>
                  </a:lnTo>
                  <a:lnTo>
                    <a:pt x="47" y="491"/>
                  </a:lnTo>
                  <a:lnTo>
                    <a:pt x="41" y="491"/>
                  </a:lnTo>
                  <a:lnTo>
                    <a:pt x="41" y="491"/>
                  </a:lnTo>
                  <a:lnTo>
                    <a:pt x="44" y="497"/>
                  </a:lnTo>
                  <a:lnTo>
                    <a:pt x="51" y="504"/>
                  </a:lnTo>
                  <a:lnTo>
                    <a:pt x="51" y="504"/>
                  </a:lnTo>
                  <a:lnTo>
                    <a:pt x="51" y="504"/>
                  </a:lnTo>
                  <a:lnTo>
                    <a:pt x="54" y="504"/>
                  </a:lnTo>
                  <a:lnTo>
                    <a:pt x="57" y="507"/>
                  </a:lnTo>
                  <a:lnTo>
                    <a:pt x="57" y="507"/>
                  </a:lnTo>
                  <a:lnTo>
                    <a:pt x="57" y="511"/>
                  </a:lnTo>
                  <a:lnTo>
                    <a:pt x="54" y="514"/>
                  </a:lnTo>
                  <a:lnTo>
                    <a:pt x="54" y="514"/>
                  </a:lnTo>
                  <a:lnTo>
                    <a:pt x="54" y="521"/>
                  </a:lnTo>
                  <a:lnTo>
                    <a:pt x="54" y="521"/>
                  </a:lnTo>
                  <a:lnTo>
                    <a:pt x="57" y="521"/>
                  </a:lnTo>
                  <a:lnTo>
                    <a:pt x="61" y="524"/>
                  </a:lnTo>
                  <a:lnTo>
                    <a:pt x="61" y="524"/>
                  </a:lnTo>
                  <a:lnTo>
                    <a:pt x="61" y="531"/>
                  </a:lnTo>
                  <a:lnTo>
                    <a:pt x="61" y="531"/>
                  </a:lnTo>
                  <a:lnTo>
                    <a:pt x="64" y="534"/>
                  </a:lnTo>
                  <a:lnTo>
                    <a:pt x="68" y="534"/>
                  </a:lnTo>
                  <a:lnTo>
                    <a:pt x="78" y="538"/>
                  </a:lnTo>
                  <a:lnTo>
                    <a:pt x="78" y="538"/>
                  </a:lnTo>
                  <a:lnTo>
                    <a:pt x="81" y="544"/>
                  </a:lnTo>
                  <a:lnTo>
                    <a:pt x="84" y="551"/>
                  </a:lnTo>
                  <a:lnTo>
                    <a:pt x="84" y="551"/>
                  </a:lnTo>
                  <a:lnTo>
                    <a:pt x="88" y="554"/>
                  </a:lnTo>
                  <a:lnTo>
                    <a:pt x="94" y="554"/>
                  </a:lnTo>
                  <a:lnTo>
                    <a:pt x="94" y="554"/>
                  </a:lnTo>
                  <a:lnTo>
                    <a:pt x="101" y="561"/>
                  </a:lnTo>
                  <a:lnTo>
                    <a:pt x="108" y="568"/>
                  </a:lnTo>
                  <a:lnTo>
                    <a:pt x="108" y="568"/>
                  </a:lnTo>
                  <a:lnTo>
                    <a:pt x="118" y="578"/>
                  </a:lnTo>
                  <a:lnTo>
                    <a:pt x="118" y="578"/>
                  </a:lnTo>
                  <a:lnTo>
                    <a:pt x="125" y="585"/>
                  </a:lnTo>
                  <a:lnTo>
                    <a:pt x="125" y="585"/>
                  </a:lnTo>
                  <a:lnTo>
                    <a:pt x="138" y="588"/>
                  </a:lnTo>
                  <a:lnTo>
                    <a:pt x="138" y="588"/>
                  </a:lnTo>
                  <a:lnTo>
                    <a:pt x="141" y="591"/>
                  </a:lnTo>
                  <a:lnTo>
                    <a:pt x="145" y="595"/>
                  </a:lnTo>
                  <a:lnTo>
                    <a:pt x="148" y="595"/>
                  </a:lnTo>
                  <a:lnTo>
                    <a:pt x="148" y="595"/>
                  </a:lnTo>
                  <a:lnTo>
                    <a:pt x="148" y="591"/>
                  </a:lnTo>
                  <a:lnTo>
                    <a:pt x="148" y="588"/>
                  </a:lnTo>
                  <a:lnTo>
                    <a:pt x="148" y="585"/>
                  </a:lnTo>
                  <a:lnTo>
                    <a:pt x="148" y="585"/>
                  </a:lnTo>
                  <a:lnTo>
                    <a:pt x="148" y="585"/>
                  </a:lnTo>
                  <a:lnTo>
                    <a:pt x="155" y="585"/>
                  </a:lnTo>
                  <a:lnTo>
                    <a:pt x="162" y="588"/>
                  </a:lnTo>
                  <a:lnTo>
                    <a:pt x="162" y="588"/>
                  </a:lnTo>
                  <a:lnTo>
                    <a:pt x="168" y="598"/>
                  </a:lnTo>
                  <a:lnTo>
                    <a:pt x="168" y="598"/>
                  </a:lnTo>
                  <a:lnTo>
                    <a:pt x="172" y="601"/>
                  </a:lnTo>
                  <a:lnTo>
                    <a:pt x="168" y="605"/>
                  </a:lnTo>
                  <a:lnTo>
                    <a:pt x="168" y="605"/>
                  </a:lnTo>
                  <a:lnTo>
                    <a:pt x="178" y="601"/>
                  </a:lnTo>
                  <a:lnTo>
                    <a:pt x="178" y="601"/>
                  </a:lnTo>
                  <a:lnTo>
                    <a:pt x="185" y="601"/>
                  </a:lnTo>
                  <a:lnTo>
                    <a:pt x="189" y="605"/>
                  </a:lnTo>
                  <a:lnTo>
                    <a:pt x="189" y="605"/>
                  </a:lnTo>
                  <a:lnTo>
                    <a:pt x="189" y="612"/>
                  </a:lnTo>
                  <a:lnTo>
                    <a:pt x="189" y="612"/>
                  </a:lnTo>
                  <a:lnTo>
                    <a:pt x="189" y="618"/>
                  </a:lnTo>
                  <a:lnTo>
                    <a:pt x="189" y="618"/>
                  </a:lnTo>
                  <a:lnTo>
                    <a:pt x="195" y="622"/>
                  </a:lnTo>
                  <a:lnTo>
                    <a:pt x="195" y="622"/>
                  </a:lnTo>
                  <a:lnTo>
                    <a:pt x="199" y="618"/>
                  </a:lnTo>
                  <a:lnTo>
                    <a:pt x="202" y="618"/>
                  </a:lnTo>
                  <a:lnTo>
                    <a:pt x="202" y="618"/>
                  </a:lnTo>
                  <a:lnTo>
                    <a:pt x="202" y="625"/>
                  </a:lnTo>
                  <a:lnTo>
                    <a:pt x="205" y="628"/>
                  </a:lnTo>
                  <a:lnTo>
                    <a:pt x="205" y="628"/>
                  </a:lnTo>
                  <a:lnTo>
                    <a:pt x="212" y="628"/>
                  </a:lnTo>
                  <a:lnTo>
                    <a:pt x="215" y="628"/>
                  </a:lnTo>
                  <a:lnTo>
                    <a:pt x="219" y="628"/>
                  </a:lnTo>
                  <a:lnTo>
                    <a:pt x="219" y="628"/>
                  </a:lnTo>
                  <a:lnTo>
                    <a:pt x="222" y="632"/>
                  </a:lnTo>
                  <a:lnTo>
                    <a:pt x="225" y="632"/>
                  </a:lnTo>
                  <a:lnTo>
                    <a:pt x="232" y="632"/>
                  </a:lnTo>
                  <a:lnTo>
                    <a:pt x="232" y="632"/>
                  </a:lnTo>
                  <a:lnTo>
                    <a:pt x="246" y="628"/>
                  </a:lnTo>
                  <a:lnTo>
                    <a:pt x="246" y="628"/>
                  </a:lnTo>
                  <a:lnTo>
                    <a:pt x="259" y="622"/>
                  </a:lnTo>
                  <a:lnTo>
                    <a:pt x="259" y="622"/>
                  </a:lnTo>
                  <a:lnTo>
                    <a:pt x="273" y="622"/>
                  </a:lnTo>
                  <a:lnTo>
                    <a:pt x="273" y="622"/>
                  </a:lnTo>
                  <a:lnTo>
                    <a:pt x="273" y="608"/>
                  </a:lnTo>
                  <a:lnTo>
                    <a:pt x="273" y="595"/>
                  </a:lnTo>
                  <a:lnTo>
                    <a:pt x="273" y="595"/>
                  </a:lnTo>
                  <a:lnTo>
                    <a:pt x="269" y="591"/>
                  </a:lnTo>
                  <a:lnTo>
                    <a:pt x="269" y="591"/>
                  </a:lnTo>
                  <a:lnTo>
                    <a:pt x="273" y="585"/>
                  </a:lnTo>
                  <a:lnTo>
                    <a:pt x="273" y="585"/>
                  </a:lnTo>
                  <a:lnTo>
                    <a:pt x="279" y="585"/>
                  </a:lnTo>
                  <a:lnTo>
                    <a:pt x="279" y="585"/>
                  </a:lnTo>
                  <a:lnTo>
                    <a:pt x="286" y="575"/>
                  </a:lnTo>
                  <a:lnTo>
                    <a:pt x="289" y="568"/>
                  </a:lnTo>
                  <a:lnTo>
                    <a:pt x="289" y="568"/>
                  </a:lnTo>
                  <a:lnTo>
                    <a:pt x="299" y="564"/>
                  </a:lnTo>
                  <a:lnTo>
                    <a:pt x="309" y="564"/>
                  </a:lnTo>
                  <a:lnTo>
                    <a:pt x="313" y="558"/>
                  </a:lnTo>
                  <a:lnTo>
                    <a:pt x="316" y="558"/>
                  </a:lnTo>
                  <a:lnTo>
                    <a:pt x="320" y="568"/>
                  </a:lnTo>
                  <a:lnTo>
                    <a:pt x="320" y="568"/>
                  </a:lnTo>
                  <a:lnTo>
                    <a:pt x="330" y="561"/>
                  </a:lnTo>
                  <a:lnTo>
                    <a:pt x="330" y="561"/>
                  </a:lnTo>
                  <a:lnTo>
                    <a:pt x="336" y="561"/>
                  </a:lnTo>
                  <a:lnTo>
                    <a:pt x="336" y="561"/>
                  </a:lnTo>
                  <a:lnTo>
                    <a:pt x="336" y="558"/>
                  </a:lnTo>
                  <a:lnTo>
                    <a:pt x="336" y="554"/>
                  </a:lnTo>
                  <a:lnTo>
                    <a:pt x="340" y="551"/>
                  </a:lnTo>
                  <a:lnTo>
                    <a:pt x="346" y="554"/>
                  </a:lnTo>
                  <a:lnTo>
                    <a:pt x="346" y="561"/>
                  </a:lnTo>
                  <a:lnTo>
                    <a:pt x="346" y="561"/>
                  </a:lnTo>
                  <a:lnTo>
                    <a:pt x="360" y="568"/>
                  </a:lnTo>
                  <a:lnTo>
                    <a:pt x="360" y="568"/>
                  </a:lnTo>
                  <a:lnTo>
                    <a:pt x="370" y="568"/>
                  </a:lnTo>
                  <a:lnTo>
                    <a:pt x="367" y="575"/>
                  </a:lnTo>
                  <a:lnTo>
                    <a:pt x="367" y="575"/>
                  </a:lnTo>
                  <a:lnTo>
                    <a:pt x="373" y="578"/>
                  </a:lnTo>
                  <a:lnTo>
                    <a:pt x="373" y="578"/>
                  </a:lnTo>
                  <a:lnTo>
                    <a:pt x="380" y="578"/>
                  </a:lnTo>
                  <a:lnTo>
                    <a:pt x="380" y="578"/>
                  </a:lnTo>
                  <a:lnTo>
                    <a:pt x="383" y="575"/>
                  </a:lnTo>
                  <a:lnTo>
                    <a:pt x="387" y="575"/>
                  </a:lnTo>
                  <a:lnTo>
                    <a:pt x="390" y="578"/>
                  </a:lnTo>
                  <a:lnTo>
                    <a:pt x="390" y="578"/>
                  </a:lnTo>
                  <a:lnTo>
                    <a:pt x="390" y="578"/>
                  </a:lnTo>
                  <a:lnTo>
                    <a:pt x="394" y="581"/>
                  </a:lnTo>
                  <a:lnTo>
                    <a:pt x="394" y="581"/>
                  </a:lnTo>
                  <a:lnTo>
                    <a:pt x="400" y="585"/>
                  </a:lnTo>
                  <a:lnTo>
                    <a:pt x="407" y="585"/>
                  </a:lnTo>
                  <a:lnTo>
                    <a:pt x="407" y="585"/>
                  </a:lnTo>
                  <a:lnTo>
                    <a:pt x="404" y="588"/>
                  </a:lnTo>
                  <a:lnTo>
                    <a:pt x="404" y="591"/>
                  </a:lnTo>
                  <a:lnTo>
                    <a:pt x="404" y="591"/>
                  </a:lnTo>
                  <a:lnTo>
                    <a:pt x="414" y="595"/>
                  </a:lnTo>
                  <a:lnTo>
                    <a:pt x="414" y="598"/>
                  </a:lnTo>
                  <a:lnTo>
                    <a:pt x="414" y="598"/>
                  </a:lnTo>
                  <a:lnTo>
                    <a:pt x="420" y="598"/>
                  </a:lnTo>
                  <a:lnTo>
                    <a:pt x="420" y="598"/>
                  </a:lnTo>
                  <a:lnTo>
                    <a:pt x="424" y="601"/>
                  </a:lnTo>
                  <a:lnTo>
                    <a:pt x="424" y="605"/>
                  </a:lnTo>
                  <a:lnTo>
                    <a:pt x="424" y="608"/>
                  </a:lnTo>
                  <a:lnTo>
                    <a:pt x="424" y="608"/>
                  </a:lnTo>
                  <a:lnTo>
                    <a:pt x="461" y="612"/>
                  </a:lnTo>
                  <a:lnTo>
                    <a:pt x="461" y="612"/>
                  </a:lnTo>
                  <a:lnTo>
                    <a:pt x="461" y="608"/>
                  </a:lnTo>
                  <a:lnTo>
                    <a:pt x="464" y="608"/>
                  </a:lnTo>
                  <a:lnTo>
                    <a:pt x="464" y="608"/>
                  </a:lnTo>
                  <a:lnTo>
                    <a:pt x="467" y="608"/>
                  </a:lnTo>
                  <a:lnTo>
                    <a:pt x="474" y="608"/>
                  </a:lnTo>
                  <a:lnTo>
                    <a:pt x="474" y="608"/>
                  </a:lnTo>
                  <a:lnTo>
                    <a:pt x="481" y="601"/>
                  </a:lnTo>
                  <a:lnTo>
                    <a:pt x="481" y="601"/>
                  </a:lnTo>
                  <a:lnTo>
                    <a:pt x="478" y="601"/>
                  </a:lnTo>
                  <a:lnTo>
                    <a:pt x="474" y="598"/>
                  </a:lnTo>
                  <a:lnTo>
                    <a:pt x="474" y="598"/>
                  </a:lnTo>
                  <a:lnTo>
                    <a:pt x="481" y="595"/>
                  </a:lnTo>
                  <a:lnTo>
                    <a:pt x="488" y="591"/>
                  </a:lnTo>
                  <a:lnTo>
                    <a:pt x="498" y="591"/>
                  </a:lnTo>
                  <a:lnTo>
                    <a:pt x="498" y="591"/>
                  </a:lnTo>
                  <a:lnTo>
                    <a:pt x="501" y="585"/>
                  </a:lnTo>
                  <a:lnTo>
                    <a:pt x="501" y="585"/>
                  </a:lnTo>
                  <a:lnTo>
                    <a:pt x="515" y="581"/>
                  </a:lnTo>
                  <a:lnTo>
                    <a:pt x="511" y="571"/>
                  </a:lnTo>
                  <a:lnTo>
                    <a:pt x="518" y="571"/>
                  </a:lnTo>
                  <a:lnTo>
                    <a:pt x="518" y="571"/>
                  </a:lnTo>
                  <a:lnTo>
                    <a:pt x="521" y="575"/>
                  </a:lnTo>
                  <a:lnTo>
                    <a:pt x="521" y="575"/>
                  </a:lnTo>
                  <a:lnTo>
                    <a:pt x="528" y="575"/>
                  </a:lnTo>
                  <a:lnTo>
                    <a:pt x="528" y="575"/>
                  </a:lnTo>
                  <a:lnTo>
                    <a:pt x="528" y="571"/>
                  </a:lnTo>
                  <a:lnTo>
                    <a:pt x="528" y="571"/>
                  </a:lnTo>
                  <a:lnTo>
                    <a:pt x="531" y="568"/>
                  </a:lnTo>
                  <a:lnTo>
                    <a:pt x="535" y="564"/>
                  </a:lnTo>
                  <a:lnTo>
                    <a:pt x="535" y="564"/>
                  </a:lnTo>
                  <a:lnTo>
                    <a:pt x="538" y="558"/>
                  </a:lnTo>
                  <a:lnTo>
                    <a:pt x="538" y="558"/>
                  </a:lnTo>
                  <a:lnTo>
                    <a:pt x="541" y="554"/>
                  </a:lnTo>
                  <a:lnTo>
                    <a:pt x="541" y="554"/>
                  </a:lnTo>
                  <a:lnTo>
                    <a:pt x="545" y="548"/>
                  </a:lnTo>
                  <a:lnTo>
                    <a:pt x="545" y="548"/>
                  </a:lnTo>
                  <a:lnTo>
                    <a:pt x="541" y="544"/>
                  </a:lnTo>
                  <a:lnTo>
                    <a:pt x="541" y="544"/>
                  </a:lnTo>
                  <a:lnTo>
                    <a:pt x="541" y="541"/>
                  </a:lnTo>
                  <a:lnTo>
                    <a:pt x="541" y="541"/>
                  </a:lnTo>
                  <a:lnTo>
                    <a:pt x="538" y="538"/>
                  </a:lnTo>
                  <a:lnTo>
                    <a:pt x="535" y="541"/>
                  </a:lnTo>
                  <a:lnTo>
                    <a:pt x="535" y="541"/>
                  </a:lnTo>
                  <a:lnTo>
                    <a:pt x="528" y="538"/>
                  </a:lnTo>
                  <a:lnTo>
                    <a:pt x="525" y="534"/>
                  </a:lnTo>
                  <a:lnTo>
                    <a:pt x="525" y="534"/>
                  </a:lnTo>
                  <a:lnTo>
                    <a:pt x="518" y="527"/>
                  </a:lnTo>
                  <a:lnTo>
                    <a:pt x="518" y="527"/>
                  </a:lnTo>
                  <a:lnTo>
                    <a:pt x="508" y="517"/>
                  </a:lnTo>
                  <a:lnTo>
                    <a:pt x="508" y="517"/>
                  </a:lnTo>
                  <a:lnTo>
                    <a:pt x="504" y="511"/>
                  </a:lnTo>
                  <a:lnTo>
                    <a:pt x="501" y="507"/>
                  </a:lnTo>
                  <a:lnTo>
                    <a:pt x="504" y="507"/>
                  </a:lnTo>
                  <a:lnTo>
                    <a:pt x="504" y="507"/>
                  </a:lnTo>
                  <a:lnTo>
                    <a:pt x="508" y="504"/>
                  </a:lnTo>
                  <a:lnTo>
                    <a:pt x="511" y="501"/>
                  </a:lnTo>
                  <a:lnTo>
                    <a:pt x="511" y="501"/>
                  </a:lnTo>
                  <a:lnTo>
                    <a:pt x="515" y="494"/>
                  </a:lnTo>
                  <a:lnTo>
                    <a:pt x="518" y="487"/>
                  </a:lnTo>
                  <a:lnTo>
                    <a:pt x="518" y="487"/>
                  </a:lnTo>
                  <a:lnTo>
                    <a:pt x="518" y="484"/>
                  </a:lnTo>
                  <a:lnTo>
                    <a:pt x="515" y="477"/>
                  </a:lnTo>
                  <a:lnTo>
                    <a:pt x="515" y="477"/>
                  </a:lnTo>
                  <a:lnTo>
                    <a:pt x="515" y="474"/>
                  </a:lnTo>
                  <a:lnTo>
                    <a:pt x="511" y="474"/>
                  </a:lnTo>
                  <a:lnTo>
                    <a:pt x="511" y="474"/>
                  </a:lnTo>
                  <a:lnTo>
                    <a:pt x="508" y="477"/>
                  </a:lnTo>
                  <a:lnTo>
                    <a:pt x="504" y="477"/>
                  </a:lnTo>
                  <a:lnTo>
                    <a:pt x="504" y="477"/>
                  </a:lnTo>
                  <a:lnTo>
                    <a:pt x="504" y="474"/>
                  </a:lnTo>
                  <a:lnTo>
                    <a:pt x="504" y="470"/>
                  </a:lnTo>
                  <a:lnTo>
                    <a:pt x="504" y="470"/>
                  </a:lnTo>
                  <a:lnTo>
                    <a:pt x="498" y="464"/>
                  </a:lnTo>
                  <a:lnTo>
                    <a:pt x="498" y="464"/>
                  </a:lnTo>
                  <a:lnTo>
                    <a:pt x="494" y="460"/>
                  </a:lnTo>
                  <a:lnTo>
                    <a:pt x="494" y="460"/>
                  </a:lnTo>
                  <a:lnTo>
                    <a:pt x="494" y="460"/>
                  </a:lnTo>
                  <a:lnTo>
                    <a:pt x="494" y="457"/>
                  </a:lnTo>
                  <a:lnTo>
                    <a:pt x="498" y="457"/>
                  </a:lnTo>
                  <a:lnTo>
                    <a:pt x="498" y="457"/>
                  </a:lnTo>
                  <a:lnTo>
                    <a:pt x="504" y="454"/>
                  </a:lnTo>
                  <a:lnTo>
                    <a:pt x="508" y="454"/>
                  </a:lnTo>
                  <a:lnTo>
                    <a:pt x="508" y="454"/>
                  </a:lnTo>
                  <a:lnTo>
                    <a:pt x="518" y="447"/>
                  </a:lnTo>
                  <a:lnTo>
                    <a:pt x="518" y="447"/>
                  </a:lnTo>
                  <a:lnTo>
                    <a:pt x="521" y="447"/>
                  </a:lnTo>
                  <a:lnTo>
                    <a:pt x="525" y="443"/>
                  </a:lnTo>
                  <a:lnTo>
                    <a:pt x="525" y="443"/>
                  </a:lnTo>
                  <a:lnTo>
                    <a:pt x="525" y="440"/>
                  </a:lnTo>
                  <a:lnTo>
                    <a:pt x="525" y="437"/>
                  </a:lnTo>
                  <a:lnTo>
                    <a:pt x="525" y="437"/>
                  </a:lnTo>
                  <a:lnTo>
                    <a:pt x="521" y="437"/>
                  </a:lnTo>
                  <a:lnTo>
                    <a:pt x="518" y="433"/>
                  </a:lnTo>
                  <a:lnTo>
                    <a:pt x="518" y="433"/>
                  </a:lnTo>
                  <a:lnTo>
                    <a:pt x="518" y="430"/>
                  </a:lnTo>
                  <a:lnTo>
                    <a:pt x="521" y="427"/>
                  </a:lnTo>
                  <a:lnTo>
                    <a:pt x="521" y="427"/>
                  </a:lnTo>
                  <a:lnTo>
                    <a:pt x="521" y="420"/>
                  </a:lnTo>
                  <a:lnTo>
                    <a:pt x="521" y="420"/>
                  </a:lnTo>
                  <a:lnTo>
                    <a:pt x="525" y="417"/>
                  </a:lnTo>
                  <a:lnTo>
                    <a:pt x="525" y="413"/>
                  </a:lnTo>
                  <a:lnTo>
                    <a:pt x="525" y="413"/>
                  </a:lnTo>
                  <a:lnTo>
                    <a:pt x="521" y="413"/>
                  </a:lnTo>
                  <a:lnTo>
                    <a:pt x="521" y="413"/>
                  </a:lnTo>
                  <a:lnTo>
                    <a:pt x="521" y="410"/>
                  </a:lnTo>
                  <a:lnTo>
                    <a:pt x="521" y="407"/>
                  </a:lnTo>
                  <a:lnTo>
                    <a:pt x="521" y="407"/>
                  </a:lnTo>
                  <a:lnTo>
                    <a:pt x="525" y="400"/>
                  </a:lnTo>
                  <a:lnTo>
                    <a:pt x="525" y="400"/>
                  </a:lnTo>
                  <a:lnTo>
                    <a:pt x="521" y="393"/>
                  </a:lnTo>
                  <a:lnTo>
                    <a:pt x="521" y="393"/>
                  </a:lnTo>
                  <a:lnTo>
                    <a:pt x="518" y="390"/>
                  </a:lnTo>
                  <a:lnTo>
                    <a:pt x="518" y="390"/>
                  </a:lnTo>
                  <a:lnTo>
                    <a:pt x="518" y="386"/>
                  </a:lnTo>
                  <a:lnTo>
                    <a:pt x="518" y="386"/>
                  </a:lnTo>
                  <a:lnTo>
                    <a:pt x="518" y="386"/>
                  </a:lnTo>
                  <a:lnTo>
                    <a:pt x="515" y="383"/>
                  </a:lnTo>
                  <a:lnTo>
                    <a:pt x="515" y="383"/>
                  </a:lnTo>
                  <a:lnTo>
                    <a:pt x="518" y="380"/>
                  </a:lnTo>
                  <a:lnTo>
                    <a:pt x="518" y="380"/>
                  </a:lnTo>
                  <a:lnTo>
                    <a:pt x="518" y="373"/>
                  </a:lnTo>
                  <a:lnTo>
                    <a:pt x="504" y="373"/>
                  </a:lnTo>
                  <a:close/>
                  <a:moveTo>
                    <a:pt x="609" y="665"/>
                  </a:moveTo>
                  <a:lnTo>
                    <a:pt x="609" y="665"/>
                  </a:lnTo>
                  <a:lnTo>
                    <a:pt x="605" y="665"/>
                  </a:lnTo>
                  <a:lnTo>
                    <a:pt x="605" y="665"/>
                  </a:lnTo>
                  <a:lnTo>
                    <a:pt x="599" y="665"/>
                  </a:lnTo>
                  <a:lnTo>
                    <a:pt x="599" y="665"/>
                  </a:lnTo>
                  <a:lnTo>
                    <a:pt x="588" y="672"/>
                  </a:lnTo>
                  <a:lnTo>
                    <a:pt x="588" y="672"/>
                  </a:lnTo>
                  <a:lnTo>
                    <a:pt x="582" y="672"/>
                  </a:lnTo>
                  <a:lnTo>
                    <a:pt x="575" y="672"/>
                  </a:lnTo>
                  <a:lnTo>
                    <a:pt x="575" y="672"/>
                  </a:lnTo>
                  <a:lnTo>
                    <a:pt x="575" y="675"/>
                  </a:lnTo>
                  <a:lnTo>
                    <a:pt x="572" y="682"/>
                  </a:lnTo>
                  <a:lnTo>
                    <a:pt x="572" y="682"/>
                  </a:lnTo>
                  <a:lnTo>
                    <a:pt x="562" y="685"/>
                  </a:lnTo>
                  <a:lnTo>
                    <a:pt x="562" y="685"/>
                  </a:lnTo>
                  <a:lnTo>
                    <a:pt x="568" y="692"/>
                  </a:lnTo>
                  <a:lnTo>
                    <a:pt x="568" y="692"/>
                  </a:lnTo>
                  <a:lnTo>
                    <a:pt x="568" y="689"/>
                  </a:lnTo>
                  <a:lnTo>
                    <a:pt x="568" y="692"/>
                  </a:lnTo>
                  <a:lnTo>
                    <a:pt x="568" y="692"/>
                  </a:lnTo>
                  <a:lnTo>
                    <a:pt x="565" y="696"/>
                  </a:lnTo>
                  <a:lnTo>
                    <a:pt x="565" y="696"/>
                  </a:lnTo>
                  <a:lnTo>
                    <a:pt x="568" y="702"/>
                  </a:lnTo>
                  <a:lnTo>
                    <a:pt x="568" y="702"/>
                  </a:lnTo>
                  <a:lnTo>
                    <a:pt x="565" y="706"/>
                  </a:lnTo>
                  <a:lnTo>
                    <a:pt x="568" y="706"/>
                  </a:lnTo>
                  <a:lnTo>
                    <a:pt x="568" y="712"/>
                  </a:lnTo>
                  <a:lnTo>
                    <a:pt x="568" y="712"/>
                  </a:lnTo>
                  <a:lnTo>
                    <a:pt x="565" y="712"/>
                  </a:lnTo>
                  <a:lnTo>
                    <a:pt x="565" y="716"/>
                  </a:lnTo>
                  <a:lnTo>
                    <a:pt x="565" y="719"/>
                  </a:lnTo>
                  <a:lnTo>
                    <a:pt x="565" y="719"/>
                  </a:lnTo>
                  <a:lnTo>
                    <a:pt x="572" y="719"/>
                  </a:lnTo>
                  <a:lnTo>
                    <a:pt x="572" y="719"/>
                  </a:lnTo>
                  <a:lnTo>
                    <a:pt x="572" y="726"/>
                  </a:lnTo>
                  <a:lnTo>
                    <a:pt x="572" y="726"/>
                  </a:lnTo>
                  <a:lnTo>
                    <a:pt x="568" y="732"/>
                  </a:lnTo>
                  <a:lnTo>
                    <a:pt x="568" y="732"/>
                  </a:lnTo>
                  <a:lnTo>
                    <a:pt x="572" y="739"/>
                  </a:lnTo>
                  <a:lnTo>
                    <a:pt x="572" y="739"/>
                  </a:lnTo>
                  <a:lnTo>
                    <a:pt x="568" y="743"/>
                  </a:lnTo>
                  <a:lnTo>
                    <a:pt x="568" y="746"/>
                  </a:lnTo>
                  <a:lnTo>
                    <a:pt x="575" y="753"/>
                  </a:lnTo>
                  <a:lnTo>
                    <a:pt x="575" y="753"/>
                  </a:lnTo>
                  <a:lnTo>
                    <a:pt x="585" y="756"/>
                  </a:lnTo>
                  <a:lnTo>
                    <a:pt x="585" y="756"/>
                  </a:lnTo>
                  <a:lnTo>
                    <a:pt x="585" y="763"/>
                  </a:lnTo>
                  <a:lnTo>
                    <a:pt x="585" y="763"/>
                  </a:lnTo>
                  <a:lnTo>
                    <a:pt x="588" y="763"/>
                  </a:lnTo>
                  <a:lnTo>
                    <a:pt x="595" y="763"/>
                  </a:lnTo>
                  <a:lnTo>
                    <a:pt x="595" y="763"/>
                  </a:lnTo>
                  <a:lnTo>
                    <a:pt x="609" y="739"/>
                  </a:lnTo>
                  <a:lnTo>
                    <a:pt x="609" y="739"/>
                  </a:lnTo>
                  <a:lnTo>
                    <a:pt x="609" y="732"/>
                  </a:lnTo>
                  <a:lnTo>
                    <a:pt x="609" y="722"/>
                  </a:lnTo>
                  <a:lnTo>
                    <a:pt x="609" y="722"/>
                  </a:lnTo>
                  <a:lnTo>
                    <a:pt x="612" y="716"/>
                  </a:lnTo>
                  <a:lnTo>
                    <a:pt x="619" y="706"/>
                  </a:lnTo>
                  <a:lnTo>
                    <a:pt x="619" y="706"/>
                  </a:lnTo>
                  <a:lnTo>
                    <a:pt x="622" y="692"/>
                  </a:lnTo>
                  <a:lnTo>
                    <a:pt x="622" y="675"/>
                  </a:lnTo>
                  <a:lnTo>
                    <a:pt x="622" y="645"/>
                  </a:lnTo>
                  <a:lnTo>
                    <a:pt x="609" y="665"/>
                  </a:lnTo>
                  <a:close/>
                  <a:moveTo>
                    <a:pt x="88" y="225"/>
                  </a:moveTo>
                  <a:lnTo>
                    <a:pt x="88" y="225"/>
                  </a:lnTo>
                  <a:lnTo>
                    <a:pt x="88" y="232"/>
                  </a:lnTo>
                  <a:lnTo>
                    <a:pt x="88" y="232"/>
                  </a:lnTo>
                  <a:lnTo>
                    <a:pt x="94" y="232"/>
                  </a:lnTo>
                  <a:lnTo>
                    <a:pt x="94" y="232"/>
                  </a:lnTo>
                  <a:lnTo>
                    <a:pt x="88" y="225"/>
                  </a:lnTo>
                  <a:lnTo>
                    <a:pt x="88" y="225"/>
                  </a:lnTo>
                  <a:close/>
                  <a:moveTo>
                    <a:pt x="88" y="208"/>
                  </a:moveTo>
                  <a:lnTo>
                    <a:pt x="88" y="208"/>
                  </a:lnTo>
                  <a:lnTo>
                    <a:pt x="84" y="212"/>
                  </a:lnTo>
                  <a:lnTo>
                    <a:pt x="84" y="212"/>
                  </a:lnTo>
                  <a:lnTo>
                    <a:pt x="88" y="215"/>
                  </a:lnTo>
                  <a:lnTo>
                    <a:pt x="88" y="215"/>
                  </a:lnTo>
                  <a:lnTo>
                    <a:pt x="88" y="212"/>
                  </a:lnTo>
                  <a:lnTo>
                    <a:pt x="88" y="208"/>
                  </a:lnTo>
                  <a:lnTo>
                    <a:pt x="88" y="208"/>
                  </a:lnTo>
                  <a:close/>
                  <a:moveTo>
                    <a:pt x="20" y="104"/>
                  </a:moveTo>
                  <a:lnTo>
                    <a:pt x="20" y="104"/>
                  </a:lnTo>
                  <a:lnTo>
                    <a:pt x="24" y="104"/>
                  </a:lnTo>
                  <a:lnTo>
                    <a:pt x="24" y="104"/>
                  </a:lnTo>
                  <a:lnTo>
                    <a:pt x="27" y="104"/>
                  </a:lnTo>
                  <a:lnTo>
                    <a:pt x="17" y="104"/>
                  </a:lnTo>
                  <a:lnTo>
                    <a:pt x="17" y="104"/>
                  </a:lnTo>
                  <a:lnTo>
                    <a:pt x="17" y="104"/>
                  </a:lnTo>
                  <a:lnTo>
                    <a:pt x="17" y="101"/>
                  </a:lnTo>
                  <a:lnTo>
                    <a:pt x="17" y="101"/>
                  </a:lnTo>
                  <a:lnTo>
                    <a:pt x="20" y="104"/>
                  </a:lnTo>
                  <a:lnTo>
                    <a:pt x="20" y="104"/>
                  </a:lnTo>
                  <a:close/>
                  <a:moveTo>
                    <a:pt x="20" y="94"/>
                  </a:moveTo>
                  <a:lnTo>
                    <a:pt x="20" y="94"/>
                  </a:lnTo>
                  <a:lnTo>
                    <a:pt x="24" y="94"/>
                  </a:lnTo>
                  <a:lnTo>
                    <a:pt x="24" y="94"/>
                  </a:lnTo>
                  <a:lnTo>
                    <a:pt x="20" y="97"/>
                  </a:lnTo>
                  <a:lnTo>
                    <a:pt x="20" y="97"/>
                  </a:lnTo>
                  <a:lnTo>
                    <a:pt x="17" y="97"/>
                  </a:lnTo>
                  <a:lnTo>
                    <a:pt x="17" y="97"/>
                  </a:lnTo>
                  <a:lnTo>
                    <a:pt x="20" y="94"/>
                  </a:lnTo>
                  <a:lnTo>
                    <a:pt x="20" y="94"/>
                  </a:lnTo>
                  <a:close/>
                  <a:moveTo>
                    <a:pt x="51" y="185"/>
                  </a:moveTo>
                  <a:lnTo>
                    <a:pt x="51" y="185"/>
                  </a:lnTo>
                  <a:lnTo>
                    <a:pt x="51" y="191"/>
                  </a:lnTo>
                  <a:lnTo>
                    <a:pt x="51" y="191"/>
                  </a:lnTo>
                  <a:lnTo>
                    <a:pt x="57" y="195"/>
                  </a:lnTo>
                  <a:lnTo>
                    <a:pt x="57" y="195"/>
                  </a:lnTo>
                  <a:lnTo>
                    <a:pt x="61" y="191"/>
                  </a:lnTo>
                  <a:lnTo>
                    <a:pt x="57" y="191"/>
                  </a:lnTo>
                  <a:lnTo>
                    <a:pt x="51" y="185"/>
                  </a:lnTo>
                  <a:lnTo>
                    <a:pt x="51" y="185"/>
                  </a:lnTo>
                  <a:close/>
                </a:path>
              </a:pathLst>
            </a:custGeom>
            <a:solidFill>
              <a:srgbClr val="C0C0C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EYInterstate" pitchFamily="2" charset="0"/>
                <a:cs typeface="Arial" charset="0"/>
              </a:endParaRPr>
            </a:p>
          </p:txBody>
        </p:sp>
        <p:sp>
          <p:nvSpPr>
            <p:cNvPr id="45" name="Freeform 59"/>
            <p:cNvSpPr>
              <a:spLocks noEditPoints="1"/>
            </p:cNvSpPr>
            <p:nvPr/>
          </p:nvSpPr>
          <p:spPr bwMode="auto">
            <a:xfrm>
              <a:off x="3337" y="1244"/>
              <a:ext cx="374" cy="714"/>
            </a:xfrm>
            <a:custGeom>
              <a:avLst/>
              <a:gdLst/>
              <a:ahLst/>
              <a:cxnLst>
                <a:cxn ang="0">
                  <a:pos x="138" y="360"/>
                </a:cxn>
                <a:cxn ang="0">
                  <a:pos x="125" y="383"/>
                </a:cxn>
                <a:cxn ang="0">
                  <a:pos x="101" y="434"/>
                </a:cxn>
                <a:cxn ang="0">
                  <a:pos x="84" y="464"/>
                </a:cxn>
                <a:cxn ang="0">
                  <a:pos x="57" y="511"/>
                </a:cxn>
                <a:cxn ang="0">
                  <a:pos x="37" y="518"/>
                </a:cxn>
                <a:cxn ang="0">
                  <a:pos x="34" y="581"/>
                </a:cxn>
                <a:cxn ang="0">
                  <a:pos x="44" y="628"/>
                </a:cxn>
                <a:cxn ang="0">
                  <a:pos x="37" y="686"/>
                </a:cxn>
                <a:cxn ang="0">
                  <a:pos x="44" y="702"/>
                </a:cxn>
                <a:cxn ang="0">
                  <a:pos x="57" y="706"/>
                </a:cxn>
                <a:cxn ang="0">
                  <a:pos x="74" y="719"/>
                </a:cxn>
                <a:cxn ang="0">
                  <a:pos x="91" y="746"/>
                </a:cxn>
                <a:cxn ang="0">
                  <a:pos x="111" y="746"/>
                </a:cxn>
                <a:cxn ang="0">
                  <a:pos x="121" y="753"/>
                </a:cxn>
                <a:cxn ang="0">
                  <a:pos x="162" y="739"/>
                </a:cxn>
                <a:cxn ang="0">
                  <a:pos x="192" y="716"/>
                </a:cxn>
                <a:cxn ang="0">
                  <a:pos x="209" y="716"/>
                </a:cxn>
                <a:cxn ang="0">
                  <a:pos x="249" y="692"/>
                </a:cxn>
                <a:cxn ang="0">
                  <a:pos x="283" y="686"/>
                </a:cxn>
                <a:cxn ang="0">
                  <a:pos x="299" y="635"/>
                </a:cxn>
                <a:cxn ang="0">
                  <a:pos x="323" y="602"/>
                </a:cxn>
                <a:cxn ang="0">
                  <a:pos x="356" y="534"/>
                </a:cxn>
                <a:cxn ang="0">
                  <a:pos x="373" y="474"/>
                </a:cxn>
                <a:cxn ang="0">
                  <a:pos x="350" y="460"/>
                </a:cxn>
                <a:cxn ang="0">
                  <a:pos x="316" y="437"/>
                </a:cxn>
                <a:cxn ang="0">
                  <a:pos x="316" y="417"/>
                </a:cxn>
                <a:cxn ang="0">
                  <a:pos x="316" y="400"/>
                </a:cxn>
                <a:cxn ang="0">
                  <a:pos x="303" y="383"/>
                </a:cxn>
                <a:cxn ang="0">
                  <a:pos x="293" y="363"/>
                </a:cxn>
                <a:cxn ang="0">
                  <a:pos x="283" y="353"/>
                </a:cxn>
                <a:cxn ang="0">
                  <a:pos x="276" y="343"/>
                </a:cxn>
                <a:cxn ang="0">
                  <a:pos x="272" y="323"/>
                </a:cxn>
                <a:cxn ang="0">
                  <a:pos x="262" y="303"/>
                </a:cxn>
                <a:cxn ang="0">
                  <a:pos x="242" y="242"/>
                </a:cxn>
                <a:cxn ang="0">
                  <a:pos x="222" y="195"/>
                </a:cxn>
                <a:cxn ang="0">
                  <a:pos x="229" y="155"/>
                </a:cxn>
                <a:cxn ang="0">
                  <a:pos x="192" y="118"/>
                </a:cxn>
                <a:cxn ang="0">
                  <a:pos x="192" y="77"/>
                </a:cxn>
                <a:cxn ang="0">
                  <a:pos x="195" y="67"/>
                </a:cxn>
                <a:cxn ang="0">
                  <a:pos x="192" y="37"/>
                </a:cxn>
                <a:cxn ang="0">
                  <a:pos x="168" y="24"/>
                </a:cxn>
                <a:cxn ang="0">
                  <a:pos x="148" y="0"/>
                </a:cxn>
                <a:cxn ang="0">
                  <a:pos x="128" y="13"/>
                </a:cxn>
                <a:cxn ang="0">
                  <a:pos x="118" y="40"/>
                </a:cxn>
                <a:cxn ang="0">
                  <a:pos x="118" y="81"/>
                </a:cxn>
                <a:cxn ang="0">
                  <a:pos x="104" y="104"/>
                </a:cxn>
                <a:cxn ang="0">
                  <a:pos x="98" y="114"/>
                </a:cxn>
                <a:cxn ang="0">
                  <a:pos x="78" y="111"/>
                </a:cxn>
                <a:cxn ang="0">
                  <a:pos x="57" y="121"/>
                </a:cxn>
                <a:cxn ang="0">
                  <a:pos x="34" y="114"/>
                </a:cxn>
                <a:cxn ang="0">
                  <a:pos x="20" y="77"/>
                </a:cxn>
                <a:cxn ang="0">
                  <a:pos x="7" y="98"/>
                </a:cxn>
                <a:cxn ang="0">
                  <a:pos x="17" y="124"/>
                </a:cxn>
                <a:cxn ang="0">
                  <a:pos x="47" y="138"/>
                </a:cxn>
                <a:cxn ang="0">
                  <a:pos x="61" y="168"/>
                </a:cxn>
                <a:cxn ang="0">
                  <a:pos x="67" y="198"/>
                </a:cxn>
                <a:cxn ang="0">
                  <a:pos x="78" y="218"/>
                </a:cxn>
                <a:cxn ang="0">
                  <a:pos x="78" y="259"/>
                </a:cxn>
                <a:cxn ang="0">
                  <a:pos x="27" y="511"/>
                </a:cxn>
                <a:cxn ang="0">
                  <a:pos x="34" y="514"/>
                </a:cxn>
              </a:cxnLst>
              <a:rect l="0" t="0" r="r" b="b"/>
              <a:pathLst>
                <a:path w="373" h="763">
                  <a:moveTo>
                    <a:pt x="94" y="319"/>
                  </a:moveTo>
                  <a:lnTo>
                    <a:pt x="94" y="319"/>
                  </a:lnTo>
                  <a:lnTo>
                    <a:pt x="111" y="319"/>
                  </a:lnTo>
                  <a:lnTo>
                    <a:pt x="111" y="319"/>
                  </a:lnTo>
                  <a:lnTo>
                    <a:pt x="138" y="339"/>
                  </a:lnTo>
                  <a:lnTo>
                    <a:pt x="138" y="339"/>
                  </a:lnTo>
                  <a:lnTo>
                    <a:pt x="138" y="350"/>
                  </a:lnTo>
                  <a:lnTo>
                    <a:pt x="138" y="360"/>
                  </a:lnTo>
                  <a:lnTo>
                    <a:pt x="138" y="360"/>
                  </a:lnTo>
                  <a:lnTo>
                    <a:pt x="145" y="370"/>
                  </a:lnTo>
                  <a:lnTo>
                    <a:pt x="145" y="370"/>
                  </a:lnTo>
                  <a:lnTo>
                    <a:pt x="138" y="380"/>
                  </a:lnTo>
                  <a:lnTo>
                    <a:pt x="138" y="380"/>
                  </a:lnTo>
                  <a:lnTo>
                    <a:pt x="131" y="380"/>
                  </a:lnTo>
                  <a:lnTo>
                    <a:pt x="125" y="383"/>
                  </a:lnTo>
                  <a:lnTo>
                    <a:pt x="125" y="383"/>
                  </a:lnTo>
                  <a:lnTo>
                    <a:pt x="121" y="387"/>
                  </a:lnTo>
                  <a:lnTo>
                    <a:pt x="121" y="393"/>
                  </a:lnTo>
                  <a:lnTo>
                    <a:pt x="118" y="407"/>
                  </a:lnTo>
                  <a:lnTo>
                    <a:pt x="118" y="407"/>
                  </a:lnTo>
                  <a:lnTo>
                    <a:pt x="111" y="417"/>
                  </a:lnTo>
                  <a:lnTo>
                    <a:pt x="101" y="427"/>
                  </a:lnTo>
                  <a:lnTo>
                    <a:pt x="101" y="427"/>
                  </a:lnTo>
                  <a:lnTo>
                    <a:pt x="101" y="434"/>
                  </a:lnTo>
                  <a:lnTo>
                    <a:pt x="98" y="444"/>
                  </a:lnTo>
                  <a:lnTo>
                    <a:pt x="98" y="444"/>
                  </a:lnTo>
                  <a:lnTo>
                    <a:pt x="91" y="447"/>
                  </a:lnTo>
                  <a:lnTo>
                    <a:pt x="91" y="447"/>
                  </a:lnTo>
                  <a:lnTo>
                    <a:pt x="91" y="454"/>
                  </a:lnTo>
                  <a:lnTo>
                    <a:pt x="91" y="454"/>
                  </a:lnTo>
                  <a:lnTo>
                    <a:pt x="84" y="464"/>
                  </a:lnTo>
                  <a:lnTo>
                    <a:pt x="84" y="464"/>
                  </a:lnTo>
                  <a:lnTo>
                    <a:pt x="74" y="460"/>
                  </a:lnTo>
                  <a:lnTo>
                    <a:pt x="74" y="460"/>
                  </a:lnTo>
                  <a:lnTo>
                    <a:pt x="78" y="471"/>
                  </a:lnTo>
                  <a:lnTo>
                    <a:pt x="78" y="471"/>
                  </a:lnTo>
                  <a:lnTo>
                    <a:pt x="67" y="487"/>
                  </a:lnTo>
                  <a:lnTo>
                    <a:pt x="61" y="508"/>
                  </a:lnTo>
                  <a:lnTo>
                    <a:pt x="61" y="508"/>
                  </a:lnTo>
                  <a:lnTo>
                    <a:pt x="57" y="511"/>
                  </a:lnTo>
                  <a:lnTo>
                    <a:pt x="57" y="514"/>
                  </a:lnTo>
                  <a:lnTo>
                    <a:pt x="57" y="514"/>
                  </a:lnTo>
                  <a:lnTo>
                    <a:pt x="51" y="514"/>
                  </a:lnTo>
                  <a:lnTo>
                    <a:pt x="44" y="511"/>
                  </a:lnTo>
                  <a:lnTo>
                    <a:pt x="44" y="511"/>
                  </a:lnTo>
                  <a:lnTo>
                    <a:pt x="41" y="514"/>
                  </a:lnTo>
                  <a:lnTo>
                    <a:pt x="37" y="518"/>
                  </a:lnTo>
                  <a:lnTo>
                    <a:pt x="37" y="518"/>
                  </a:lnTo>
                  <a:lnTo>
                    <a:pt x="37" y="528"/>
                  </a:lnTo>
                  <a:lnTo>
                    <a:pt x="34" y="538"/>
                  </a:lnTo>
                  <a:lnTo>
                    <a:pt x="34" y="538"/>
                  </a:lnTo>
                  <a:lnTo>
                    <a:pt x="30" y="544"/>
                  </a:lnTo>
                  <a:lnTo>
                    <a:pt x="27" y="551"/>
                  </a:lnTo>
                  <a:lnTo>
                    <a:pt x="27" y="551"/>
                  </a:lnTo>
                  <a:lnTo>
                    <a:pt x="27" y="565"/>
                  </a:lnTo>
                  <a:lnTo>
                    <a:pt x="34" y="581"/>
                  </a:lnTo>
                  <a:lnTo>
                    <a:pt x="37" y="585"/>
                  </a:lnTo>
                  <a:lnTo>
                    <a:pt x="37" y="585"/>
                  </a:lnTo>
                  <a:lnTo>
                    <a:pt x="34" y="595"/>
                  </a:lnTo>
                  <a:lnTo>
                    <a:pt x="34" y="605"/>
                  </a:lnTo>
                  <a:lnTo>
                    <a:pt x="34" y="605"/>
                  </a:lnTo>
                  <a:lnTo>
                    <a:pt x="37" y="615"/>
                  </a:lnTo>
                  <a:lnTo>
                    <a:pt x="41" y="622"/>
                  </a:lnTo>
                  <a:lnTo>
                    <a:pt x="44" y="628"/>
                  </a:lnTo>
                  <a:lnTo>
                    <a:pt x="44" y="628"/>
                  </a:lnTo>
                  <a:lnTo>
                    <a:pt x="44" y="642"/>
                  </a:lnTo>
                  <a:lnTo>
                    <a:pt x="41" y="655"/>
                  </a:lnTo>
                  <a:lnTo>
                    <a:pt x="41" y="665"/>
                  </a:lnTo>
                  <a:lnTo>
                    <a:pt x="41" y="682"/>
                  </a:lnTo>
                  <a:lnTo>
                    <a:pt x="41" y="682"/>
                  </a:lnTo>
                  <a:lnTo>
                    <a:pt x="37" y="682"/>
                  </a:lnTo>
                  <a:lnTo>
                    <a:pt x="37" y="686"/>
                  </a:lnTo>
                  <a:lnTo>
                    <a:pt x="37" y="686"/>
                  </a:lnTo>
                  <a:lnTo>
                    <a:pt x="41" y="686"/>
                  </a:lnTo>
                  <a:lnTo>
                    <a:pt x="44" y="682"/>
                  </a:lnTo>
                  <a:lnTo>
                    <a:pt x="44" y="682"/>
                  </a:lnTo>
                  <a:lnTo>
                    <a:pt x="47" y="696"/>
                  </a:lnTo>
                  <a:lnTo>
                    <a:pt x="47" y="696"/>
                  </a:lnTo>
                  <a:lnTo>
                    <a:pt x="44" y="699"/>
                  </a:lnTo>
                  <a:lnTo>
                    <a:pt x="44" y="702"/>
                  </a:lnTo>
                  <a:lnTo>
                    <a:pt x="51" y="706"/>
                  </a:lnTo>
                  <a:lnTo>
                    <a:pt x="51" y="706"/>
                  </a:lnTo>
                  <a:lnTo>
                    <a:pt x="51" y="713"/>
                  </a:lnTo>
                  <a:lnTo>
                    <a:pt x="47" y="716"/>
                  </a:lnTo>
                  <a:lnTo>
                    <a:pt x="47" y="716"/>
                  </a:lnTo>
                  <a:lnTo>
                    <a:pt x="57" y="716"/>
                  </a:lnTo>
                  <a:lnTo>
                    <a:pt x="57" y="716"/>
                  </a:lnTo>
                  <a:lnTo>
                    <a:pt x="57" y="706"/>
                  </a:lnTo>
                  <a:lnTo>
                    <a:pt x="57" y="706"/>
                  </a:lnTo>
                  <a:lnTo>
                    <a:pt x="61" y="706"/>
                  </a:lnTo>
                  <a:lnTo>
                    <a:pt x="61" y="709"/>
                  </a:lnTo>
                  <a:lnTo>
                    <a:pt x="61" y="716"/>
                  </a:lnTo>
                  <a:lnTo>
                    <a:pt x="61" y="716"/>
                  </a:lnTo>
                  <a:lnTo>
                    <a:pt x="67" y="716"/>
                  </a:lnTo>
                  <a:lnTo>
                    <a:pt x="74" y="719"/>
                  </a:lnTo>
                  <a:lnTo>
                    <a:pt x="74" y="719"/>
                  </a:lnTo>
                  <a:lnTo>
                    <a:pt x="84" y="719"/>
                  </a:lnTo>
                  <a:lnTo>
                    <a:pt x="84" y="719"/>
                  </a:lnTo>
                  <a:lnTo>
                    <a:pt x="88" y="733"/>
                  </a:lnTo>
                  <a:lnTo>
                    <a:pt x="84" y="746"/>
                  </a:lnTo>
                  <a:lnTo>
                    <a:pt x="84" y="746"/>
                  </a:lnTo>
                  <a:lnTo>
                    <a:pt x="88" y="746"/>
                  </a:lnTo>
                  <a:lnTo>
                    <a:pt x="91" y="746"/>
                  </a:lnTo>
                  <a:lnTo>
                    <a:pt x="91" y="746"/>
                  </a:lnTo>
                  <a:lnTo>
                    <a:pt x="98" y="746"/>
                  </a:lnTo>
                  <a:lnTo>
                    <a:pt x="98" y="746"/>
                  </a:lnTo>
                  <a:lnTo>
                    <a:pt x="104" y="753"/>
                  </a:lnTo>
                  <a:lnTo>
                    <a:pt x="108" y="753"/>
                  </a:lnTo>
                  <a:lnTo>
                    <a:pt x="108" y="753"/>
                  </a:lnTo>
                  <a:lnTo>
                    <a:pt x="108" y="749"/>
                  </a:lnTo>
                  <a:lnTo>
                    <a:pt x="111" y="746"/>
                  </a:lnTo>
                  <a:lnTo>
                    <a:pt x="111" y="746"/>
                  </a:lnTo>
                  <a:lnTo>
                    <a:pt x="111" y="753"/>
                  </a:lnTo>
                  <a:lnTo>
                    <a:pt x="111" y="753"/>
                  </a:lnTo>
                  <a:lnTo>
                    <a:pt x="111" y="753"/>
                  </a:lnTo>
                  <a:lnTo>
                    <a:pt x="111" y="753"/>
                  </a:lnTo>
                  <a:lnTo>
                    <a:pt x="108" y="763"/>
                  </a:lnTo>
                  <a:lnTo>
                    <a:pt x="108" y="763"/>
                  </a:lnTo>
                  <a:lnTo>
                    <a:pt x="121" y="753"/>
                  </a:lnTo>
                  <a:lnTo>
                    <a:pt x="121" y="753"/>
                  </a:lnTo>
                  <a:lnTo>
                    <a:pt x="131" y="753"/>
                  </a:lnTo>
                  <a:lnTo>
                    <a:pt x="131" y="753"/>
                  </a:lnTo>
                  <a:lnTo>
                    <a:pt x="135" y="746"/>
                  </a:lnTo>
                  <a:lnTo>
                    <a:pt x="135" y="746"/>
                  </a:lnTo>
                  <a:lnTo>
                    <a:pt x="155" y="739"/>
                  </a:lnTo>
                  <a:lnTo>
                    <a:pt x="155" y="739"/>
                  </a:lnTo>
                  <a:lnTo>
                    <a:pt x="158" y="739"/>
                  </a:lnTo>
                  <a:lnTo>
                    <a:pt x="162" y="739"/>
                  </a:lnTo>
                  <a:lnTo>
                    <a:pt x="162" y="739"/>
                  </a:lnTo>
                  <a:lnTo>
                    <a:pt x="172" y="729"/>
                  </a:lnTo>
                  <a:lnTo>
                    <a:pt x="172" y="729"/>
                  </a:lnTo>
                  <a:lnTo>
                    <a:pt x="178" y="729"/>
                  </a:lnTo>
                  <a:lnTo>
                    <a:pt x="178" y="729"/>
                  </a:lnTo>
                  <a:lnTo>
                    <a:pt x="185" y="719"/>
                  </a:lnTo>
                  <a:lnTo>
                    <a:pt x="185" y="719"/>
                  </a:lnTo>
                  <a:lnTo>
                    <a:pt x="192" y="716"/>
                  </a:lnTo>
                  <a:lnTo>
                    <a:pt x="195" y="716"/>
                  </a:lnTo>
                  <a:lnTo>
                    <a:pt x="195" y="716"/>
                  </a:lnTo>
                  <a:lnTo>
                    <a:pt x="195" y="709"/>
                  </a:lnTo>
                  <a:lnTo>
                    <a:pt x="195" y="709"/>
                  </a:lnTo>
                  <a:lnTo>
                    <a:pt x="198" y="713"/>
                  </a:lnTo>
                  <a:lnTo>
                    <a:pt x="198" y="716"/>
                  </a:lnTo>
                  <a:lnTo>
                    <a:pt x="198" y="716"/>
                  </a:lnTo>
                  <a:lnTo>
                    <a:pt x="209" y="716"/>
                  </a:lnTo>
                  <a:lnTo>
                    <a:pt x="209" y="716"/>
                  </a:lnTo>
                  <a:lnTo>
                    <a:pt x="222" y="699"/>
                  </a:lnTo>
                  <a:lnTo>
                    <a:pt x="222" y="699"/>
                  </a:lnTo>
                  <a:lnTo>
                    <a:pt x="229" y="699"/>
                  </a:lnTo>
                  <a:lnTo>
                    <a:pt x="239" y="699"/>
                  </a:lnTo>
                  <a:lnTo>
                    <a:pt x="239" y="699"/>
                  </a:lnTo>
                  <a:lnTo>
                    <a:pt x="249" y="696"/>
                  </a:lnTo>
                  <a:lnTo>
                    <a:pt x="249" y="692"/>
                  </a:lnTo>
                  <a:lnTo>
                    <a:pt x="249" y="692"/>
                  </a:lnTo>
                  <a:lnTo>
                    <a:pt x="252" y="692"/>
                  </a:lnTo>
                  <a:lnTo>
                    <a:pt x="256" y="692"/>
                  </a:lnTo>
                  <a:lnTo>
                    <a:pt x="256" y="692"/>
                  </a:lnTo>
                  <a:lnTo>
                    <a:pt x="269" y="689"/>
                  </a:lnTo>
                  <a:lnTo>
                    <a:pt x="269" y="689"/>
                  </a:lnTo>
                  <a:lnTo>
                    <a:pt x="283" y="686"/>
                  </a:lnTo>
                  <a:lnTo>
                    <a:pt x="283" y="686"/>
                  </a:lnTo>
                  <a:lnTo>
                    <a:pt x="286" y="676"/>
                  </a:lnTo>
                  <a:lnTo>
                    <a:pt x="289" y="662"/>
                  </a:lnTo>
                  <a:lnTo>
                    <a:pt x="289" y="662"/>
                  </a:lnTo>
                  <a:lnTo>
                    <a:pt x="293" y="655"/>
                  </a:lnTo>
                  <a:lnTo>
                    <a:pt x="296" y="645"/>
                  </a:lnTo>
                  <a:lnTo>
                    <a:pt x="296" y="645"/>
                  </a:lnTo>
                  <a:lnTo>
                    <a:pt x="296" y="639"/>
                  </a:lnTo>
                  <a:lnTo>
                    <a:pt x="299" y="635"/>
                  </a:lnTo>
                  <a:lnTo>
                    <a:pt x="299" y="635"/>
                  </a:lnTo>
                  <a:lnTo>
                    <a:pt x="306" y="625"/>
                  </a:lnTo>
                  <a:lnTo>
                    <a:pt x="306" y="625"/>
                  </a:lnTo>
                  <a:lnTo>
                    <a:pt x="313" y="618"/>
                  </a:lnTo>
                  <a:lnTo>
                    <a:pt x="313" y="615"/>
                  </a:lnTo>
                  <a:lnTo>
                    <a:pt x="313" y="615"/>
                  </a:lnTo>
                  <a:lnTo>
                    <a:pt x="323" y="602"/>
                  </a:lnTo>
                  <a:lnTo>
                    <a:pt x="323" y="602"/>
                  </a:lnTo>
                  <a:lnTo>
                    <a:pt x="333" y="588"/>
                  </a:lnTo>
                  <a:lnTo>
                    <a:pt x="333" y="588"/>
                  </a:lnTo>
                  <a:lnTo>
                    <a:pt x="340" y="581"/>
                  </a:lnTo>
                  <a:lnTo>
                    <a:pt x="346" y="571"/>
                  </a:lnTo>
                  <a:lnTo>
                    <a:pt x="346" y="571"/>
                  </a:lnTo>
                  <a:lnTo>
                    <a:pt x="353" y="555"/>
                  </a:lnTo>
                  <a:lnTo>
                    <a:pt x="353" y="555"/>
                  </a:lnTo>
                  <a:lnTo>
                    <a:pt x="356" y="534"/>
                  </a:lnTo>
                  <a:lnTo>
                    <a:pt x="356" y="534"/>
                  </a:lnTo>
                  <a:lnTo>
                    <a:pt x="363" y="518"/>
                  </a:lnTo>
                  <a:lnTo>
                    <a:pt x="363" y="518"/>
                  </a:lnTo>
                  <a:lnTo>
                    <a:pt x="370" y="504"/>
                  </a:lnTo>
                  <a:lnTo>
                    <a:pt x="373" y="487"/>
                  </a:lnTo>
                  <a:lnTo>
                    <a:pt x="373" y="487"/>
                  </a:lnTo>
                  <a:lnTo>
                    <a:pt x="373" y="481"/>
                  </a:lnTo>
                  <a:lnTo>
                    <a:pt x="373" y="474"/>
                  </a:lnTo>
                  <a:lnTo>
                    <a:pt x="373" y="474"/>
                  </a:lnTo>
                  <a:lnTo>
                    <a:pt x="370" y="471"/>
                  </a:lnTo>
                  <a:lnTo>
                    <a:pt x="367" y="471"/>
                  </a:lnTo>
                  <a:lnTo>
                    <a:pt x="367" y="471"/>
                  </a:lnTo>
                  <a:lnTo>
                    <a:pt x="360" y="467"/>
                  </a:lnTo>
                  <a:lnTo>
                    <a:pt x="360" y="467"/>
                  </a:lnTo>
                  <a:lnTo>
                    <a:pt x="350" y="460"/>
                  </a:lnTo>
                  <a:lnTo>
                    <a:pt x="350" y="460"/>
                  </a:lnTo>
                  <a:lnTo>
                    <a:pt x="343" y="454"/>
                  </a:lnTo>
                  <a:lnTo>
                    <a:pt x="343" y="454"/>
                  </a:lnTo>
                  <a:lnTo>
                    <a:pt x="336" y="454"/>
                  </a:lnTo>
                  <a:lnTo>
                    <a:pt x="330" y="450"/>
                  </a:lnTo>
                  <a:lnTo>
                    <a:pt x="330" y="450"/>
                  </a:lnTo>
                  <a:lnTo>
                    <a:pt x="323" y="440"/>
                  </a:lnTo>
                  <a:lnTo>
                    <a:pt x="323" y="440"/>
                  </a:lnTo>
                  <a:lnTo>
                    <a:pt x="316" y="437"/>
                  </a:lnTo>
                  <a:lnTo>
                    <a:pt x="309" y="430"/>
                  </a:lnTo>
                  <a:lnTo>
                    <a:pt x="309" y="430"/>
                  </a:lnTo>
                  <a:lnTo>
                    <a:pt x="306" y="423"/>
                  </a:lnTo>
                  <a:lnTo>
                    <a:pt x="306" y="423"/>
                  </a:lnTo>
                  <a:lnTo>
                    <a:pt x="306" y="423"/>
                  </a:lnTo>
                  <a:lnTo>
                    <a:pt x="313" y="423"/>
                  </a:lnTo>
                  <a:lnTo>
                    <a:pt x="313" y="423"/>
                  </a:lnTo>
                  <a:lnTo>
                    <a:pt x="316" y="417"/>
                  </a:lnTo>
                  <a:lnTo>
                    <a:pt x="319" y="413"/>
                  </a:lnTo>
                  <a:lnTo>
                    <a:pt x="319" y="413"/>
                  </a:lnTo>
                  <a:lnTo>
                    <a:pt x="319" y="410"/>
                  </a:lnTo>
                  <a:lnTo>
                    <a:pt x="319" y="410"/>
                  </a:lnTo>
                  <a:lnTo>
                    <a:pt x="319" y="410"/>
                  </a:lnTo>
                  <a:lnTo>
                    <a:pt x="316" y="400"/>
                  </a:lnTo>
                  <a:lnTo>
                    <a:pt x="316" y="400"/>
                  </a:lnTo>
                  <a:lnTo>
                    <a:pt x="316" y="400"/>
                  </a:lnTo>
                  <a:lnTo>
                    <a:pt x="316" y="397"/>
                  </a:lnTo>
                  <a:lnTo>
                    <a:pt x="316" y="397"/>
                  </a:lnTo>
                  <a:lnTo>
                    <a:pt x="313" y="393"/>
                  </a:lnTo>
                  <a:lnTo>
                    <a:pt x="313" y="393"/>
                  </a:lnTo>
                  <a:lnTo>
                    <a:pt x="306" y="390"/>
                  </a:lnTo>
                  <a:lnTo>
                    <a:pt x="306" y="390"/>
                  </a:lnTo>
                  <a:lnTo>
                    <a:pt x="303" y="383"/>
                  </a:lnTo>
                  <a:lnTo>
                    <a:pt x="303" y="383"/>
                  </a:lnTo>
                  <a:lnTo>
                    <a:pt x="299" y="376"/>
                  </a:lnTo>
                  <a:lnTo>
                    <a:pt x="299" y="376"/>
                  </a:lnTo>
                  <a:lnTo>
                    <a:pt x="299" y="373"/>
                  </a:lnTo>
                  <a:lnTo>
                    <a:pt x="299" y="373"/>
                  </a:lnTo>
                  <a:lnTo>
                    <a:pt x="299" y="370"/>
                  </a:lnTo>
                  <a:lnTo>
                    <a:pt x="299" y="363"/>
                  </a:lnTo>
                  <a:lnTo>
                    <a:pt x="299" y="363"/>
                  </a:lnTo>
                  <a:lnTo>
                    <a:pt x="293" y="363"/>
                  </a:lnTo>
                  <a:lnTo>
                    <a:pt x="289" y="363"/>
                  </a:lnTo>
                  <a:lnTo>
                    <a:pt x="283" y="366"/>
                  </a:lnTo>
                  <a:lnTo>
                    <a:pt x="283" y="363"/>
                  </a:lnTo>
                  <a:lnTo>
                    <a:pt x="283" y="363"/>
                  </a:lnTo>
                  <a:lnTo>
                    <a:pt x="279" y="360"/>
                  </a:lnTo>
                  <a:lnTo>
                    <a:pt x="279" y="353"/>
                  </a:lnTo>
                  <a:lnTo>
                    <a:pt x="279" y="353"/>
                  </a:lnTo>
                  <a:lnTo>
                    <a:pt x="283" y="353"/>
                  </a:lnTo>
                  <a:lnTo>
                    <a:pt x="286" y="350"/>
                  </a:lnTo>
                  <a:lnTo>
                    <a:pt x="286" y="350"/>
                  </a:lnTo>
                  <a:lnTo>
                    <a:pt x="283" y="346"/>
                  </a:lnTo>
                  <a:lnTo>
                    <a:pt x="283" y="346"/>
                  </a:lnTo>
                  <a:lnTo>
                    <a:pt x="283" y="343"/>
                  </a:lnTo>
                  <a:lnTo>
                    <a:pt x="283" y="343"/>
                  </a:lnTo>
                  <a:lnTo>
                    <a:pt x="283" y="339"/>
                  </a:lnTo>
                  <a:lnTo>
                    <a:pt x="276" y="343"/>
                  </a:lnTo>
                  <a:lnTo>
                    <a:pt x="272" y="343"/>
                  </a:lnTo>
                  <a:lnTo>
                    <a:pt x="272" y="339"/>
                  </a:lnTo>
                  <a:lnTo>
                    <a:pt x="272" y="339"/>
                  </a:lnTo>
                  <a:lnTo>
                    <a:pt x="276" y="336"/>
                  </a:lnTo>
                  <a:lnTo>
                    <a:pt x="276" y="336"/>
                  </a:lnTo>
                  <a:lnTo>
                    <a:pt x="276" y="329"/>
                  </a:lnTo>
                  <a:lnTo>
                    <a:pt x="272" y="323"/>
                  </a:lnTo>
                  <a:lnTo>
                    <a:pt x="272" y="323"/>
                  </a:lnTo>
                  <a:lnTo>
                    <a:pt x="269" y="316"/>
                  </a:lnTo>
                  <a:lnTo>
                    <a:pt x="269" y="309"/>
                  </a:lnTo>
                  <a:lnTo>
                    <a:pt x="266" y="306"/>
                  </a:lnTo>
                  <a:lnTo>
                    <a:pt x="266" y="306"/>
                  </a:lnTo>
                  <a:lnTo>
                    <a:pt x="262" y="303"/>
                  </a:lnTo>
                  <a:lnTo>
                    <a:pt x="262" y="303"/>
                  </a:lnTo>
                  <a:lnTo>
                    <a:pt x="262" y="303"/>
                  </a:lnTo>
                  <a:lnTo>
                    <a:pt x="262" y="303"/>
                  </a:lnTo>
                  <a:lnTo>
                    <a:pt x="269" y="299"/>
                  </a:lnTo>
                  <a:lnTo>
                    <a:pt x="272" y="296"/>
                  </a:lnTo>
                  <a:lnTo>
                    <a:pt x="276" y="292"/>
                  </a:lnTo>
                  <a:lnTo>
                    <a:pt x="276" y="292"/>
                  </a:lnTo>
                  <a:lnTo>
                    <a:pt x="266" y="282"/>
                  </a:lnTo>
                  <a:lnTo>
                    <a:pt x="252" y="266"/>
                  </a:lnTo>
                  <a:lnTo>
                    <a:pt x="252" y="266"/>
                  </a:lnTo>
                  <a:lnTo>
                    <a:pt x="242" y="242"/>
                  </a:lnTo>
                  <a:lnTo>
                    <a:pt x="242" y="242"/>
                  </a:lnTo>
                  <a:lnTo>
                    <a:pt x="232" y="225"/>
                  </a:lnTo>
                  <a:lnTo>
                    <a:pt x="232" y="225"/>
                  </a:lnTo>
                  <a:lnTo>
                    <a:pt x="222" y="215"/>
                  </a:lnTo>
                  <a:lnTo>
                    <a:pt x="219" y="208"/>
                  </a:lnTo>
                  <a:lnTo>
                    <a:pt x="219" y="202"/>
                  </a:lnTo>
                  <a:lnTo>
                    <a:pt x="219" y="202"/>
                  </a:lnTo>
                  <a:lnTo>
                    <a:pt x="222" y="195"/>
                  </a:lnTo>
                  <a:lnTo>
                    <a:pt x="222" y="195"/>
                  </a:lnTo>
                  <a:lnTo>
                    <a:pt x="232" y="178"/>
                  </a:lnTo>
                  <a:lnTo>
                    <a:pt x="232" y="178"/>
                  </a:lnTo>
                  <a:lnTo>
                    <a:pt x="232" y="171"/>
                  </a:lnTo>
                  <a:lnTo>
                    <a:pt x="232" y="171"/>
                  </a:lnTo>
                  <a:lnTo>
                    <a:pt x="232" y="161"/>
                  </a:lnTo>
                  <a:lnTo>
                    <a:pt x="229" y="155"/>
                  </a:lnTo>
                  <a:lnTo>
                    <a:pt x="229" y="155"/>
                  </a:lnTo>
                  <a:lnTo>
                    <a:pt x="222" y="145"/>
                  </a:lnTo>
                  <a:lnTo>
                    <a:pt x="222" y="145"/>
                  </a:lnTo>
                  <a:lnTo>
                    <a:pt x="219" y="138"/>
                  </a:lnTo>
                  <a:lnTo>
                    <a:pt x="215" y="134"/>
                  </a:lnTo>
                  <a:lnTo>
                    <a:pt x="215" y="134"/>
                  </a:lnTo>
                  <a:lnTo>
                    <a:pt x="202" y="128"/>
                  </a:lnTo>
                  <a:lnTo>
                    <a:pt x="192" y="118"/>
                  </a:lnTo>
                  <a:lnTo>
                    <a:pt x="192" y="118"/>
                  </a:lnTo>
                  <a:lnTo>
                    <a:pt x="188" y="108"/>
                  </a:lnTo>
                  <a:lnTo>
                    <a:pt x="185" y="94"/>
                  </a:lnTo>
                  <a:lnTo>
                    <a:pt x="185" y="94"/>
                  </a:lnTo>
                  <a:lnTo>
                    <a:pt x="185" y="91"/>
                  </a:lnTo>
                  <a:lnTo>
                    <a:pt x="188" y="84"/>
                  </a:lnTo>
                  <a:lnTo>
                    <a:pt x="192" y="81"/>
                  </a:lnTo>
                  <a:lnTo>
                    <a:pt x="192" y="77"/>
                  </a:lnTo>
                  <a:lnTo>
                    <a:pt x="192" y="77"/>
                  </a:lnTo>
                  <a:lnTo>
                    <a:pt x="185" y="77"/>
                  </a:lnTo>
                  <a:lnTo>
                    <a:pt x="185" y="77"/>
                  </a:lnTo>
                  <a:lnTo>
                    <a:pt x="182" y="77"/>
                  </a:lnTo>
                  <a:lnTo>
                    <a:pt x="182" y="77"/>
                  </a:lnTo>
                  <a:lnTo>
                    <a:pt x="185" y="74"/>
                  </a:lnTo>
                  <a:lnTo>
                    <a:pt x="188" y="71"/>
                  </a:lnTo>
                  <a:lnTo>
                    <a:pt x="188" y="71"/>
                  </a:lnTo>
                  <a:lnTo>
                    <a:pt x="195" y="67"/>
                  </a:lnTo>
                  <a:lnTo>
                    <a:pt x="195" y="67"/>
                  </a:lnTo>
                  <a:lnTo>
                    <a:pt x="192" y="61"/>
                  </a:lnTo>
                  <a:lnTo>
                    <a:pt x="192" y="61"/>
                  </a:lnTo>
                  <a:lnTo>
                    <a:pt x="195" y="54"/>
                  </a:lnTo>
                  <a:lnTo>
                    <a:pt x="195" y="50"/>
                  </a:lnTo>
                  <a:lnTo>
                    <a:pt x="195" y="50"/>
                  </a:lnTo>
                  <a:lnTo>
                    <a:pt x="195" y="44"/>
                  </a:lnTo>
                  <a:lnTo>
                    <a:pt x="192" y="37"/>
                  </a:lnTo>
                  <a:lnTo>
                    <a:pt x="192" y="37"/>
                  </a:lnTo>
                  <a:lnTo>
                    <a:pt x="188" y="30"/>
                  </a:lnTo>
                  <a:lnTo>
                    <a:pt x="185" y="27"/>
                  </a:lnTo>
                  <a:lnTo>
                    <a:pt x="185" y="27"/>
                  </a:lnTo>
                  <a:lnTo>
                    <a:pt x="178" y="27"/>
                  </a:lnTo>
                  <a:lnTo>
                    <a:pt x="178" y="27"/>
                  </a:lnTo>
                  <a:lnTo>
                    <a:pt x="172" y="24"/>
                  </a:lnTo>
                  <a:lnTo>
                    <a:pt x="168" y="24"/>
                  </a:lnTo>
                  <a:lnTo>
                    <a:pt x="168" y="24"/>
                  </a:lnTo>
                  <a:lnTo>
                    <a:pt x="162" y="13"/>
                  </a:lnTo>
                  <a:lnTo>
                    <a:pt x="162" y="13"/>
                  </a:lnTo>
                  <a:lnTo>
                    <a:pt x="162" y="7"/>
                  </a:lnTo>
                  <a:lnTo>
                    <a:pt x="158" y="3"/>
                  </a:lnTo>
                  <a:lnTo>
                    <a:pt x="155" y="0"/>
                  </a:lnTo>
                  <a:lnTo>
                    <a:pt x="155" y="0"/>
                  </a:lnTo>
                  <a:lnTo>
                    <a:pt x="148" y="0"/>
                  </a:lnTo>
                  <a:lnTo>
                    <a:pt x="148" y="0"/>
                  </a:lnTo>
                  <a:lnTo>
                    <a:pt x="145" y="3"/>
                  </a:lnTo>
                  <a:lnTo>
                    <a:pt x="141" y="7"/>
                  </a:lnTo>
                  <a:lnTo>
                    <a:pt x="141" y="7"/>
                  </a:lnTo>
                  <a:lnTo>
                    <a:pt x="135" y="10"/>
                  </a:lnTo>
                  <a:lnTo>
                    <a:pt x="135" y="10"/>
                  </a:lnTo>
                  <a:lnTo>
                    <a:pt x="128" y="13"/>
                  </a:lnTo>
                  <a:lnTo>
                    <a:pt x="128" y="13"/>
                  </a:lnTo>
                  <a:lnTo>
                    <a:pt x="125" y="17"/>
                  </a:lnTo>
                  <a:lnTo>
                    <a:pt x="125" y="17"/>
                  </a:lnTo>
                  <a:lnTo>
                    <a:pt x="121" y="24"/>
                  </a:lnTo>
                  <a:lnTo>
                    <a:pt x="118" y="30"/>
                  </a:lnTo>
                  <a:lnTo>
                    <a:pt x="118" y="30"/>
                  </a:lnTo>
                  <a:lnTo>
                    <a:pt x="114" y="34"/>
                  </a:lnTo>
                  <a:lnTo>
                    <a:pt x="118" y="40"/>
                  </a:lnTo>
                  <a:lnTo>
                    <a:pt x="118" y="40"/>
                  </a:lnTo>
                  <a:lnTo>
                    <a:pt x="114" y="50"/>
                  </a:lnTo>
                  <a:lnTo>
                    <a:pt x="114" y="50"/>
                  </a:lnTo>
                  <a:lnTo>
                    <a:pt x="114" y="61"/>
                  </a:lnTo>
                  <a:lnTo>
                    <a:pt x="114" y="61"/>
                  </a:lnTo>
                  <a:lnTo>
                    <a:pt x="118" y="74"/>
                  </a:lnTo>
                  <a:lnTo>
                    <a:pt x="118" y="74"/>
                  </a:lnTo>
                  <a:lnTo>
                    <a:pt x="118" y="77"/>
                  </a:lnTo>
                  <a:lnTo>
                    <a:pt x="118" y="81"/>
                  </a:lnTo>
                  <a:lnTo>
                    <a:pt x="118" y="81"/>
                  </a:lnTo>
                  <a:lnTo>
                    <a:pt x="114" y="87"/>
                  </a:lnTo>
                  <a:lnTo>
                    <a:pt x="108" y="91"/>
                  </a:lnTo>
                  <a:lnTo>
                    <a:pt x="108" y="91"/>
                  </a:lnTo>
                  <a:lnTo>
                    <a:pt x="104" y="98"/>
                  </a:lnTo>
                  <a:lnTo>
                    <a:pt x="104" y="98"/>
                  </a:lnTo>
                  <a:lnTo>
                    <a:pt x="104" y="104"/>
                  </a:lnTo>
                  <a:lnTo>
                    <a:pt x="104" y="104"/>
                  </a:lnTo>
                  <a:lnTo>
                    <a:pt x="108" y="111"/>
                  </a:lnTo>
                  <a:lnTo>
                    <a:pt x="108" y="114"/>
                  </a:lnTo>
                  <a:lnTo>
                    <a:pt x="108" y="114"/>
                  </a:lnTo>
                  <a:lnTo>
                    <a:pt x="104" y="118"/>
                  </a:lnTo>
                  <a:lnTo>
                    <a:pt x="101" y="121"/>
                  </a:lnTo>
                  <a:lnTo>
                    <a:pt x="101" y="121"/>
                  </a:lnTo>
                  <a:lnTo>
                    <a:pt x="98" y="118"/>
                  </a:lnTo>
                  <a:lnTo>
                    <a:pt x="98" y="114"/>
                  </a:lnTo>
                  <a:lnTo>
                    <a:pt x="98" y="114"/>
                  </a:lnTo>
                  <a:lnTo>
                    <a:pt x="88" y="114"/>
                  </a:lnTo>
                  <a:lnTo>
                    <a:pt x="88" y="114"/>
                  </a:lnTo>
                  <a:lnTo>
                    <a:pt x="84" y="108"/>
                  </a:lnTo>
                  <a:lnTo>
                    <a:pt x="81" y="108"/>
                  </a:lnTo>
                  <a:lnTo>
                    <a:pt x="81" y="108"/>
                  </a:lnTo>
                  <a:lnTo>
                    <a:pt x="78" y="111"/>
                  </a:lnTo>
                  <a:lnTo>
                    <a:pt x="78" y="111"/>
                  </a:lnTo>
                  <a:lnTo>
                    <a:pt x="74" y="114"/>
                  </a:lnTo>
                  <a:lnTo>
                    <a:pt x="74" y="114"/>
                  </a:lnTo>
                  <a:lnTo>
                    <a:pt x="67" y="118"/>
                  </a:lnTo>
                  <a:lnTo>
                    <a:pt x="67" y="118"/>
                  </a:lnTo>
                  <a:lnTo>
                    <a:pt x="61" y="121"/>
                  </a:lnTo>
                  <a:lnTo>
                    <a:pt x="57" y="124"/>
                  </a:lnTo>
                  <a:lnTo>
                    <a:pt x="57" y="124"/>
                  </a:lnTo>
                  <a:lnTo>
                    <a:pt x="57" y="121"/>
                  </a:lnTo>
                  <a:lnTo>
                    <a:pt x="57" y="121"/>
                  </a:lnTo>
                  <a:lnTo>
                    <a:pt x="47" y="121"/>
                  </a:lnTo>
                  <a:lnTo>
                    <a:pt x="47" y="121"/>
                  </a:lnTo>
                  <a:lnTo>
                    <a:pt x="44" y="114"/>
                  </a:lnTo>
                  <a:lnTo>
                    <a:pt x="37" y="114"/>
                  </a:lnTo>
                  <a:lnTo>
                    <a:pt x="37" y="114"/>
                  </a:lnTo>
                  <a:lnTo>
                    <a:pt x="34" y="114"/>
                  </a:lnTo>
                  <a:lnTo>
                    <a:pt x="34" y="114"/>
                  </a:lnTo>
                  <a:lnTo>
                    <a:pt x="34" y="114"/>
                  </a:lnTo>
                  <a:lnTo>
                    <a:pt x="30" y="101"/>
                  </a:lnTo>
                  <a:lnTo>
                    <a:pt x="30" y="101"/>
                  </a:lnTo>
                  <a:lnTo>
                    <a:pt x="27" y="94"/>
                  </a:lnTo>
                  <a:lnTo>
                    <a:pt x="27" y="94"/>
                  </a:lnTo>
                  <a:lnTo>
                    <a:pt x="27" y="87"/>
                  </a:lnTo>
                  <a:lnTo>
                    <a:pt x="24" y="81"/>
                  </a:lnTo>
                  <a:lnTo>
                    <a:pt x="20" y="77"/>
                  </a:lnTo>
                  <a:lnTo>
                    <a:pt x="20" y="77"/>
                  </a:lnTo>
                  <a:lnTo>
                    <a:pt x="14" y="81"/>
                  </a:lnTo>
                  <a:lnTo>
                    <a:pt x="7" y="84"/>
                  </a:lnTo>
                  <a:lnTo>
                    <a:pt x="7" y="84"/>
                  </a:lnTo>
                  <a:lnTo>
                    <a:pt x="7" y="87"/>
                  </a:lnTo>
                  <a:lnTo>
                    <a:pt x="7" y="94"/>
                  </a:lnTo>
                  <a:lnTo>
                    <a:pt x="7" y="98"/>
                  </a:lnTo>
                  <a:lnTo>
                    <a:pt x="7" y="98"/>
                  </a:lnTo>
                  <a:lnTo>
                    <a:pt x="7" y="98"/>
                  </a:lnTo>
                  <a:lnTo>
                    <a:pt x="4" y="98"/>
                  </a:lnTo>
                  <a:lnTo>
                    <a:pt x="0" y="98"/>
                  </a:lnTo>
                  <a:lnTo>
                    <a:pt x="0" y="98"/>
                  </a:lnTo>
                  <a:lnTo>
                    <a:pt x="4" y="104"/>
                  </a:lnTo>
                  <a:lnTo>
                    <a:pt x="7" y="114"/>
                  </a:lnTo>
                  <a:lnTo>
                    <a:pt x="7" y="114"/>
                  </a:lnTo>
                  <a:lnTo>
                    <a:pt x="17" y="124"/>
                  </a:lnTo>
                  <a:lnTo>
                    <a:pt x="17" y="124"/>
                  </a:lnTo>
                  <a:lnTo>
                    <a:pt x="24" y="124"/>
                  </a:lnTo>
                  <a:lnTo>
                    <a:pt x="24" y="124"/>
                  </a:lnTo>
                  <a:lnTo>
                    <a:pt x="30" y="131"/>
                  </a:lnTo>
                  <a:lnTo>
                    <a:pt x="30" y="131"/>
                  </a:lnTo>
                  <a:lnTo>
                    <a:pt x="41" y="134"/>
                  </a:lnTo>
                  <a:lnTo>
                    <a:pt x="41" y="134"/>
                  </a:lnTo>
                  <a:lnTo>
                    <a:pt x="47" y="138"/>
                  </a:lnTo>
                  <a:lnTo>
                    <a:pt x="47" y="138"/>
                  </a:lnTo>
                  <a:lnTo>
                    <a:pt x="51" y="141"/>
                  </a:lnTo>
                  <a:lnTo>
                    <a:pt x="51" y="145"/>
                  </a:lnTo>
                  <a:lnTo>
                    <a:pt x="51" y="145"/>
                  </a:lnTo>
                  <a:lnTo>
                    <a:pt x="57" y="151"/>
                  </a:lnTo>
                  <a:lnTo>
                    <a:pt x="61" y="158"/>
                  </a:lnTo>
                  <a:lnTo>
                    <a:pt x="61" y="158"/>
                  </a:lnTo>
                  <a:lnTo>
                    <a:pt x="61" y="168"/>
                  </a:lnTo>
                  <a:lnTo>
                    <a:pt x="61" y="178"/>
                  </a:lnTo>
                  <a:lnTo>
                    <a:pt x="61" y="178"/>
                  </a:lnTo>
                  <a:lnTo>
                    <a:pt x="64" y="188"/>
                  </a:lnTo>
                  <a:lnTo>
                    <a:pt x="64" y="188"/>
                  </a:lnTo>
                  <a:lnTo>
                    <a:pt x="64" y="188"/>
                  </a:lnTo>
                  <a:lnTo>
                    <a:pt x="64" y="192"/>
                  </a:lnTo>
                  <a:lnTo>
                    <a:pt x="64" y="192"/>
                  </a:lnTo>
                  <a:lnTo>
                    <a:pt x="67" y="198"/>
                  </a:lnTo>
                  <a:lnTo>
                    <a:pt x="67" y="208"/>
                  </a:lnTo>
                  <a:lnTo>
                    <a:pt x="67" y="208"/>
                  </a:lnTo>
                  <a:lnTo>
                    <a:pt x="71" y="212"/>
                  </a:lnTo>
                  <a:lnTo>
                    <a:pt x="71" y="212"/>
                  </a:lnTo>
                  <a:lnTo>
                    <a:pt x="74" y="212"/>
                  </a:lnTo>
                  <a:lnTo>
                    <a:pt x="78" y="215"/>
                  </a:lnTo>
                  <a:lnTo>
                    <a:pt x="78" y="215"/>
                  </a:lnTo>
                  <a:lnTo>
                    <a:pt x="78" y="218"/>
                  </a:lnTo>
                  <a:lnTo>
                    <a:pt x="81" y="222"/>
                  </a:lnTo>
                  <a:lnTo>
                    <a:pt x="81" y="222"/>
                  </a:lnTo>
                  <a:lnTo>
                    <a:pt x="78" y="225"/>
                  </a:lnTo>
                  <a:lnTo>
                    <a:pt x="78" y="232"/>
                  </a:lnTo>
                  <a:lnTo>
                    <a:pt x="74" y="232"/>
                  </a:lnTo>
                  <a:lnTo>
                    <a:pt x="78" y="242"/>
                  </a:lnTo>
                  <a:lnTo>
                    <a:pt x="81" y="249"/>
                  </a:lnTo>
                  <a:lnTo>
                    <a:pt x="78" y="259"/>
                  </a:lnTo>
                  <a:lnTo>
                    <a:pt x="74" y="266"/>
                  </a:lnTo>
                  <a:lnTo>
                    <a:pt x="74" y="279"/>
                  </a:lnTo>
                  <a:lnTo>
                    <a:pt x="81" y="286"/>
                  </a:lnTo>
                  <a:lnTo>
                    <a:pt x="88" y="292"/>
                  </a:lnTo>
                  <a:lnTo>
                    <a:pt x="91" y="306"/>
                  </a:lnTo>
                  <a:lnTo>
                    <a:pt x="91" y="309"/>
                  </a:lnTo>
                  <a:lnTo>
                    <a:pt x="94" y="319"/>
                  </a:lnTo>
                  <a:close/>
                  <a:moveTo>
                    <a:pt x="27" y="511"/>
                  </a:moveTo>
                  <a:lnTo>
                    <a:pt x="27" y="511"/>
                  </a:lnTo>
                  <a:lnTo>
                    <a:pt x="24" y="514"/>
                  </a:lnTo>
                  <a:lnTo>
                    <a:pt x="24" y="514"/>
                  </a:lnTo>
                  <a:lnTo>
                    <a:pt x="27" y="518"/>
                  </a:lnTo>
                  <a:lnTo>
                    <a:pt x="27" y="518"/>
                  </a:lnTo>
                  <a:lnTo>
                    <a:pt x="27" y="518"/>
                  </a:lnTo>
                  <a:lnTo>
                    <a:pt x="34" y="518"/>
                  </a:lnTo>
                  <a:lnTo>
                    <a:pt x="34" y="514"/>
                  </a:lnTo>
                  <a:lnTo>
                    <a:pt x="27" y="511"/>
                  </a:lnTo>
                  <a:lnTo>
                    <a:pt x="27" y="511"/>
                  </a:lnTo>
                  <a:close/>
                </a:path>
              </a:pathLst>
            </a:custGeom>
            <a:solidFill>
              <a:srgbClr val="C0C0C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EYInterstate" pitchFamily="2" charset="0"/>
                <a:cs typeface="Arial" charset="0"/>
              </a:endParaRPr>
            </a:p>
          </p:txBody>
        </p:sp>
        <p:sp>
          <p:nvSpPr>
            <p:cNvPr id="46" name="Freeform 60"/>
            <p:cNvSpPr>
              <a:spLocks noEditPoints="1"/>
            </p:cNvSpPr>
            <p:nvPr/>
          </p:nvSpPr>
          <p:spPr bwMode="auto">
            <a:xfrm>
              <a:off x="3411" y="1962"/>
              <a:ext cx="233" cy="140"/>
            </a:xfrm>
            <a:custGeom>
              <a:avLst/>
              <a:gdLst/>
              <a:ahLst/>
              <a:cxnLst>
                <a:cxn ang="0">
                  <a:pos x="212" y="98"/>
                </a:cxn>
                <a:cxn ang="0">
                  <a:pos x="198" y="81"/>
                </a:cxn>
                <a:cxn ang="0">
                  <a:pos x="185" y="51"/>
                </a:cxn>
                <a:cxn ang="0">
                  <a:pos x="205" y="34"/>
                </a:cxn>
                <a:cxn ang="0">
                  <a:pos x="212" y="27"/>
                </a:cxn>
                <a:cxn ang="0">
                  <a:pos x="219" y="14"/>
                </a:cxn>
                <a:cxn ang="0">
                  <a:pos x="209" y="0"/>
                </a:cxn>
                <a:cxn ang="0">
                  <a:pos x="188" y="0"/>
                </a:cxn>
                <a:cxn ang="0">
                  <a:pos x="168" y="0"/>
                </a:cxn>
                <a:cxn ang="0">
                  <a:pos x="131" y="4"/>
                </a:cxn>
                <a:cxn ang="0">
                  <a:pos x="114" y="10"/>
                </a:cxn>
                <a:cxn ang="0">
                  <a:pos x="101" y="14"/>
                </a:cxn>
                <a:cxn ang="0">
                  <a:pos x="88" y="17"/>
                </a:cxn>
                <a:cxn ang="0">
                  <a:pos x="71" y="24"/>
                </a:cxn>
                <a:cxn ang="0">
                  <a:pos x="64" y="31"/>
                </a:cxn>
                <a:cxn ang="0">
                  <a:pos x="57" y="51"/>
                </a:cxn>
                <a:cxn ang="0">
                  <a:pos x="61" y="57"/>
                </a:cxn>
                <a:cxn ang="0">
                  <a:pos x="61" y="74"/>
                </a:cxn>
                <a:cxn ang="0">
                  <a:pos x="64" y="88"/>
                </a:cxn>
                <a:cxn ang="0">
                  <a:pos x="71" y="101"/>
                </a:cxn>
                <a:cxn ang="0">
                  <a:pos x="77" y="101"/>
                </a:cxn>
                <a:cxn ang="0">
                  <a:pos x="91" y="104"/>
                </a:cxn>
                <a:cxn ang="0">
                  <a:pos x="98" y="98"/>
                </a:cxn>
                <a:cxn ang="0">
                  <a:pos x="94" y="128"/>
                </a:cxn>
                <a:cxn ang="0">
                  <a:pos x="121" y="121"/>
                </a:cxn>
                <a:cxn ang="0">
                  <a:pos x="131" y="118"/>
                </a:cxn>
                <a:cxn ang="0">
                  <a:pos x="138" y="118"/>
                </a:cxn>
                <a:cxn ang="0">
                  <a:pos x="141" y="118"/>
                </a:cxn>
                <a:cxn ang="0">
                  <a:pos x="165" y="131"/>
                </a:cxn>
                <a:cxn ang="0">
                  <a:pos x="172" y="138"/>
                </a:cxn>
                <a:cxn ang="0">
                  <a:pos x="182" y="148"/>
                </a:cxn>
                <a:cxn ang="0">
                  <a:pos x="192" y="148"/>
                </a:cxn>
                <a:cxn ang="0">
                  <a:pos x="202" y="141"/>
                </a:cxn>
                <a:cxn ang="0">
                  <a:pos x="222" y="145"/>
                </a:cxn>
                <a:cxn ang="0">
                  <a:pos x="225" y="131"/>
                </a:cxn>
                <a:cxn ang="0">
                  <a:pos x="225" y="125"/>
                </a:cxn>
                <a:cxn ang="0">
                  <a:pos x="232" y="121"/>
                </a:cxn>
                <a:cxn ang="0">
                  <a:pos x="225" y="118"/>
                </a:cxn>
                <a:cxn ang="0">
                  <a:pos x="219" y="108"/>
                </a:cxn>
                <a:cxn ang="0">
                  <a:pos x="0" y="115"/>
                </a:cxn>
                <a:cxn ang="0">
                  <a:pos x="10" y="125"/>
                </a:cxn>
                <a:cxn ang="0">
                  <a:pos x="4" y="138"/>
                </a:cxn>
                <a:cxn ang="0">
                  <a:pos x="10" y="138"/>
                </a:cxn>
                <a:cxn ang="0">
                  <a:pos x="24" y="111"/>
                </a:cxn>
                <a:cxn ang="0">
                  <a:pos x="30" y="111"/>
                </a:cxn>
                <a:cxn ang="0">
                  <a:pos x="44" y="101"/>
                </a:cxn>
                <a:cxn ang="0">
                  <a:pos x="51" y="98"/>
                </a:cxn>
                <a:cxn ang="0">
                  <a:pos x="57" y="88"/>
                </a:cxn>
                <a:cxn ang="0">
                  <a:pos x="51" y="78"/>
                </a:cxn>
                <a:cxn ang="0">
                  <a:pos x="47" y="84"/>
                </a:cxn>
                <a:cxn ang="0">
                  <a:pos x="27" y="81"/>
                </a:cxn>
                <a:cxn ang="0">
                  <a:pos x="14" y="91"/>
                </a:cxn>
                <a:cxn ang="0">
                  <a:pos x="0" y="91"/>
                </a:cxn>
                <a:cxn ang="0">
                  <a:pos x="0" y="115"/>
                </a:cxn>
                <a:cxn ang="0">
                  <a:pos x="44" y="57"/>
                </a:cxn>
                <a:cxn ang="0">
                  <a:pos x="54" y="54"/>
                </a:cxn>
                <a:cxn ang="0">
                  <a:pos x="24" y="47"/>
                </a:cxn>
                <a:cxn ang="0">
                  <a:pos x="7" y="61"/>
                </a:cxn>
                <a:cxn ang="0">
                  <a:pos x="20" y="78"/>
                </a:cxn>
                <a:cxn ang="0">
                  <a:pos x="34" y="67"/>
                </a:cxn>
                <a:cxn ang="0">
                  <a:pos x="27" y="54"/>
                </a:cxn>
                <a:cxn ang="0">
                  <a:pos x="24" y="47"/>
                </a:cxn>
              </a:cxnLst>
              <a:rect l="0" t="0" r="r" b="b"/>
              <a:pathLst>
                <a:path w="232" h="148">
                  <a:moveTo>
                    <a:pt x="219" y="108"/>
                  </a:moveTo>
                  <a:lnTo>
                    <a:pt x="219" y="108"/>
                  </a:lnTo>
                  <a:lnTo>
                    <a:pt x="215" y="104"/>
                  </a:lnTo>
                  <a:lnTo>
                    <a:pt x="212" y="98"/>
                  </a:lnTo>
                  <a:lnTo>
                    <a:pt x="209" y="88"/>
                  </a:lnTo>
                  <a:lnTo>
                    <a:pt x="209" y="88"/>
                  </a:lnTo>
                  <a:lnTo>
                    <a:pt x="198" y="81"/>
                  </a:lnTo>
                  <a:lnTo>
                    <a:pt x="198" y="81"/>
                  </a:lnTo>
                  <a:lnTo>
                    <a:pt x="198" y="74"/>
                  </a:lnTo>
                  <a:lnTo>
                    <a:pt x="198" y="74"/>
                  </a:lnTo>
                  <a:lnTo>
                    <a:pt x="192" y="61"/>
                  </a:lnTo>
                  <a:lnTo>
                    <a:pt x="185" y="51"/>
                  </a:lnTo>
                  <a:lnTo>
                    <a:pt x="185" y="51"/>
                  </a:lnTo>
                  <a:lnTo>
                    <a:pt x="192" y="37"/>
                  </a:lnTo>
                  <a:lnTo>
                    <a:pt x="195" y="34"/>
                  </a:lnTo>
                  <a:lnTo>
                    <a:pt x="205" y="34"/>
                  </a:lnTo>
                  <a:lnTo>
                    <a:pt x="205" y="34"/>
                  </a:lnTo>
                  <a:lnTo>
                    <a:pt x="209" y="34"/>
                  </a:lnTo>
                  <a:lnTo>
                    <a:pt x="209" y="34"/>
                  </a:lnTo>
                  <a:lnTo>
                    <a:pt x="212" y="27"/>
                  </a:lnTo>
                  <a:lnTo>
                    <a:pt x="212" y="27"/>
                  </a:lnTo>
                  <a:lnTo>
                    <a:pt x="215" y="20"/>
                  </a:lnTo>
                  <a:lnTo>
                    <a:pt x="215" y="20"/>
                  </a:lnTo>
                  <a:lnTo>
                    <a:pt x="219" y="14"/>
                  </a:lnTo>
                  <a:lnTo>
                    <a:pt x="219" y="14"/>
                  </a:lnTo>
                  <a:lnTo>
                    <a:pt x="215" y="7"/>
                  </a:lnTo>
                  <a:lnTo>
                    <a:pt x="215" y="7"/>
                  </a:lnTo>
                  <a:lnTo>
                    <a:pt x="209" y="0"/>
                  </a:lnTo>
                  <a:lnTo>
                    <a:pt x="209" y="0"/>
                  </a:lnTo>
                  <a:lnTo>
                    <a:pt x="202" y="0"/>
                  </a:lnTo>
                  <a:lnTo>
                    <a:pt x="188" y="0"/>
                  </a:lnTo>
                  <a:lnTo>
                    <a:pt x="188" y="0"/>
                  </a:lnTo>
                  <a:lnTo>
                    <a:pt x="185" y="4"/>
                  </a:lnTo>
                  <a:lnTo>
                    <a:pt x="182" y="4"/>
                  </a:lnTo>
                  <a:lnTo>
                    <a:pt x="182" y="4"/>
                  </a:lnTo>
                  <a:lnTo>
                    <a:pt x="168" y="0"/>
                  </a:lnTo>
                  <a:lnTo>
                    <a:pt x="168" y="0"/>
                  </a:lnTo>
                  <a:lnTo>
                    <a:pt x="135" y="0"/>
                  </a:lnTo>
                  <a:lnTo>
                    <a:pt x="135" y="0"/>
                  </a:lnTo>
                  <a:lnTo>
                    <a:pt x="131" y="4"/>
                  </a:lnTo>
                  <a:lnTo>
                    <a:pt x="128" y="10"/>
                  </a:lnTo>
                  <a:lnTo>
                    <a:pt x="128" y="10"/>
                  </a:lnTo>
                  <a:lnTo>
                    <a:pt x="121" y="10"/>
                  </a:lnTo>
                  <a:lnTo>
                    <a:pt x="114" y="10"/>
                  </a:lnTo>
                  <a:lnTo>
                    <a:pt x="111" y="7"/>
                  </a:lnTo>
                  <a:lnTo>
                    <a:pt x="104" y="10"/>
                  </a:lnTo>
                  <a:lnTo>
                    <a:pt x="104" y="10"/>
                  </a:lnTo>
                  <a:lnTo>
                    <a:pt x="101" y="14"/>
                  </a:lnTo>
                  <a:lnTo>
                    <a:pt x="101" y="14"/>
                  </a:lnTo>
                  <a:lnTo>
                    <a:pt x="94" y="17"/>
                  </a:lnTo>
                  <a:lnTo>
                    <a:pt x="88" y="17"/>
                  </a:lnTo>
                  <a:lnTo>
                    <a:pt x="88" y="17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77" y="24"/>
                  </a:lnTo>
                  <a:lnTo>
                    <a:pt x="71" y="24"/>
                  </a:lnTo>
                  <a:lnTo>
                    <a:pt x="71" y="24"/>
                  </a:lnTo>
                  <a:lnTo>
                    <a:pt x="71" y="31"/>
                  </a:lnTo>
                  <a:lnTo>
                    <a:pt x="71" y="31"/>
                  </a:lnTo>
                  <a:lnTo>
                    <a:pt x="64" y="31"/>
                  </a:lnTo>
                  <a:lnTo>
                    <a:pt x="64" y="34"/>
                  </a:lnTo>
                  <a:lnTo>
                    <a:pt x="64" y="34"/>
                  </a:lnTo>
                  <a:lnTo>
                    <a:pt x="57" y="41"/>
                  </a:lnTo>
                  <a:lnTo>
                    <a:pt x="57" y="51"/>
                  </a:lnTo>
                  <a:lnTo>
                    <a:pt x="57" y="51"/>
                  </a:lnTo>
                  <a:lnTo>
                    <a:pt x="61" y="54"/>
                  </a:lnTo>
                  <a:lnTo>
                    <a:pt x="61" y="57"/>
                  </a:lnTo>
                  <a:lnTo>
                    <a:pt x="61" y="57"/>
                  </a:lnTo>
                  <a:lnTo>
                    <a:pt x="61" y="67"/>
                  </a:lnTo>
                  <a:lnTo>
                    <a:pt x="64" y="67"/>
                  </a:lnTo>
                  <a:lnTo>
                    <a:pt x="64" y="67"/>
                  </a:lnTo>
                  <a:lnTo>
                    <a:pt x="61" y="74"/>
                  </a:lnTo>
                  <a:lnTo>
                    <a:pt x="61" y="81"/>
                  </a:lnTo>
                  <a:lnTo>
                    <a:pt x="61" y="84"/>
                  </a:lnTo>
                  <a:lnTo>
                    <a:pt x="61" y="84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7" y="94"/>
                  </a:lnTo>
                  <a:lnTo>
                    <a:pt x="71" y="101"/>
                  </a:lnTo>
                  <a:lnTo>
                    <a:pt x="71" y="101"/>
                  </a:lnTo>
                  <a:lnTo>
                    <a:pt x="74" y="101"/>
                  </a:lnTo>
                  <a:lnTo>
                    <a:pt x="77" y="101"/>
                  </a:lnTo>
                  <a:lnTo>
                    <a:pt x="77" y="101"/>
                  </a:lnTo>
                  <a:lnTo>
                    <a:pt x="84" y="108"/>
                  </a:lnTo>
                  <a:lnTo>
                    <a:pt x="84" y="108"/>
                  </a:lnTo>
                  <a:lnTo>
                    <a:pt x="88" y="108"/>
                  </a:lnTo>
                  <a:lnTo>
                    <a:pt x="91" y="104"/>
                  </a:lnTo>
                  <a:lnTo>
                    <a:pt x="91" y="104"/>
                  </a:lnTo>
                  <a:lnTo>
                    <a:pt x="94" y="98"/>
                  </a:lnTo>
                  <a:lnTo>
                    <a:pt x="94" y="98"/>
                  </a:lnTo>
                  <a:lnTo>
                    <a:pt x="98" y="98"/>
                  </a:lnTo>
                  <a:lnTo>
                    <a:pt x="101" y="101"/>
                  </a:lnTo>
                  <a:lnTo>
                    <a:pt x="101" y="101"/>
                  </a:lnTo>
                  <a:lnTo>
                    <a:pt x="94" y="128"/>
                  </a:lnTo>
                  <a:lnTo>
                    <a:pt x="94" y="128"/>
                  </a:lnTo>
                  <a:lnTo>
                    <a:pt x="101" y="128"/>
                  </a:lnTo>
                  <a:lnTo>
                    <a:pt x="111" y="125"/>
                  </a:lnTo>
                  <a:lnTo>
                    <a:pt x="111" y="125"/>
                  </a:lnTo>
                  <a:lnTo>
                    <a:pt x="121" y="121"/>
                  </a:lnTo>
                  <a:lnTo>
                    <a:pt x="121" y="121"/>
                  </a:lnTo>
                  <a:lnTo>
                    <a:pt x="128" y="118"/>
                  </a:lnTo>
                  <a:lnTo>
                    <a:pt x="128" y="118"/>
                  </a:lnTo>
                  <a:lnTo>
                    <a:pt x="131" y="118"/>
                  </a:lnTo>
                  <a:lnTo>
                    <a:pt x="131" y="118"/>
                  </a:lnTo>
                  <a:lnTo>
                    <a:pt x="135" y="118"/>
                  </a:lnTo>
                  <a:lnTo>
                    <a:pt x="135" y="118"/>
                  </a:lnTo>
                  <a:lnTo>
                    <a:pt x="138" y="118"/>
                  </a:lnTo>
                  <a:lnTo>
                    <a:pt x="141" y="121"/>
                  </a:lnTo>
                  <a:lnTo>
                    <a:pt x="141" y="121"/>
                  </a:lnTo>
                  <a:lnTo>
                    <a:pt x="141" y="118"/>
                  </a:lnTo>
                  <a:lnTo>
                    <a:pt x="141" y="118"/>
                  </a:lnTo>
                  <a:lnTo>
                    <a:pt x="148" y="121"/>
                  </a:lnTo>
                  <a:lnTo>
                    <a:pt x="155" y="128"/>
                  </a:lnTo>
                  <a:lnTo>
                    <a:pt x="155" y="128"/>
                  </a:lnTo>
                  <a:lnTo>
                    <a:pt x="165" y="131"/>
                  </a:lnTo>
                  <a:lnTo>
                    <a:pt x="165" y="131"/>
                  </a:lnTo>
                  <a:lnTo>
                    <a:pt x="172" y="135"/>
                  </a:lnTo>
                  <a:lnTo>
                    <a:pt x="172" y="135"/>
                  </a:lnTo>
                  <a:lnTo>
                    <a:pt x="172" y="138"/>
                  </a:lnTo>
                  <a:lnTo>
                    <a:pt x="172" y="138"/>
                  </a:lnTo>
                  <a:lnTo>
                    <a:pt x="178" y="145"/>
                  </a:lnTo>
                  <a:lnTo>
                    <a:pt x="178" y="145"/>
                  </a:lnTo>
                  <a:lnTo>
                    <a:pt x="182" y="148"/>
                  </a:lnTo>
                  <a:lnTo>
                    <a:pt x="182" y="148"/>
                  </a:lnTo>
                  <a:lnTo>
                    <a:pt x="185" y="148"/>
                  </a:lnTo>
                  <a:lnTo>
                    <a:pt x="185" y="148"/>
                  </a:lnTo>
                  <a:lnTo>
                    <a:pt x="192" y="148"/>
                  </a:lnTo>
                  <a:lnTo>
                    <a:pt x="192" y="148"/>
                  </a:lnTo>
                  <a:lnTo>
                    <a:pt x="198" y="145"/>
                  </a:lnTo>
                  <a:lnTo>
                    <a:pt x="202" y="141"/>
                  </a:lnTo>
                  <a:lnTo>
                    <a:pt x="202" y="141"/>
                  </a:lnTo>
                  <a:lnTo>
                    <a:pt x="209" y="141"/>
                  </a:lnTo>
                  <a:lnTo>
                    <a:pt x="215" y="141"/>
                  </a:lnTo>
                  <a:lnTo>
                    <a:pt x="215" y="141"/>
                  </a:lnTo>
                  <a:lnTo>
                    <a:pt x="222" y="145"/>
                  </a:lnTo>
                  <a:lnTo>
                    <a:pt x="222" y="145"/>
                  </a:lnTo>
                  <a:lnTo>
                    <a:pt x="225" y="138"/>
                  </a:lnTo>
                  <a:lnTo>
                    <a:pt x="225" y="138"/>
                  </a:lnTo>
                  <a:lnTo>
                    <a:pt x="225" y="131"/>
                  </a:lnTo>
                  <a:lnTo>
                    <a:pt x="225" y="131"/>
                  </a:lnTo>
                  <a:lnTo>
                    <a:pt x="225" y="128"/>
                  </a:lnTo>
                  <a:lnTo>
                    <a:pt x="225" y="128"/>
                  </a:lnTo>
                  <a:lnTo>
                    <a:pt x="225" y="125"/>
                  </a:lnTo>
                  <a:lnTo>
                    <a:pt x="225" y="121"/>
                  </a:lnTo>
                  <a:lnTo>
                    <a:pt x="225" y="121"/>
                  </a:lnTo>
                  <a:lnTo>
                    <a:pt x="229" y="125"/>
                  </a:lnTo>
                  <a:lnTo>
                    <a:pt x="232" y="121"/>
                  </a:lnTo>
                  <a:lnTo>
                    <a:pt x="232" y="121"/>
                  </a:lnTo>
                  <a:lnTo>
                    <a:pt x="229" y="118"/>
                  </a:lnTo>
                  <a:lnTo>
                    <a:pt x="229" y="118"/>
                  </a:lnTo>
                  <a:lnTo>
                    <a:pt x="225" y="118"/>
                  </a:lnTo>
                  <a:lnTo>
                    <a:pt x="222" y="115"/>
                  </a:lnTo>
                  <a:lnTo>
                    <a:pt x="222" y="115"/>
                  </a:lnTo>
                  <a:lnTo>
                    <a:pt x="219" y="108"/>
                  </a:lnTo>
                  <a:lnTo>
                    <a:pt x="219" y="108"/>
                  </a:lnTo>
                  <a:lnTo>
                    <a:pt x="219" y="108"/>
                  </a:lnTo>
                  <a:lnTo>
                    <a:pt x="219" y="108"/>
                  </a:lnTo>
                  <a:close/>
                  <a:moveTo>
                    <a:pt x="0" y="115"/>
                  </a:moveTo>
                  <a:lnTo>
                    <a:pt x="0" y="115"/>
                  </a:lnTo>
                  <a:lnTo>
                    <a:pt x="7" y="118"/>
                  </a:lnTo>
                  <a:lnTo>
                    <a:pt x="10" y="118"/>
                  </a:lnTo>
                  <a:lnTo>
                    <a:pt x="10" y="118"/>
                  </a:lnTo>
                  <a:lnTo>
                    <a:pt x="10" y="125"/>
                  </a:lnTo>
                  <a:lnTo>
                    <a:pt x="10" y="125"/>
                  </a:lnTo>
                  <a:lnTo>
                    <a:pt x="4" y="135"/>
                  </a:lnTo>
                  <a:lnTo>
                    <a:pt x="4" y="135"/>
                  </a:lnTo>
                  <a:lnTo>
                    <a:pt x="4" y="138"/>
                  </a:lnTo>
                  <a:lnTo>
                    <a:pt x="7" y="138"/>
                  </a:lnTo>
                  <a:lnTo>
                    <a:pt x="7" y="138"/>
                  </a:lnTo>
                  <a:lnTo>
                    <a:pt x="10" y="138"/>
                  </a:lnTo>
                  <a:lnTo>
                    <a:pt x="10" y="138"/>
                  </a:lnTo>
                  <a:lnTo>
                    <a:pt x="20" y="115"/>
                  </a:lnTo>
                  <a:lnTo>
                    <a:pt x="20" y="115"/>
                  </a:lnTo>
                  <a:lnTo>
                    <a:pt x="20" y="111"/>
                  </a:lnTo>
                  <a:lnTo>
                    <a:pt x="24" y="111"/>
                  </a:lnTo>
                  <a:lnTo>
                    <a:pt x="24" y="111"/>
                  </a:lnTo>
                  <a:lnTo>
                    <a:pt x="30" y="115"/>
                  </a:lnTo>
                  <a:lnTo>
                    <a:pt x="30" y="115"/>
                  </a:lnTo>
                  <a:lnTo>
                    <a:pt x="30" y="111"/>
                  </a:lnTo>
                  <a:lnTo>
                    <a:pt x="34" y="104"/>
                  </a:lnTo>
                  <a:lnTo>
                    <a:pt x="34" y="104"/>
                  </a:lnTo>
                  <a:lnTo>
                    <a:pt x="44" y="101"/>
                  </a:lnTo>
                  <a:lnTo>
                    <a:pt x="44" y="101"/>
                  </a:lnTo>
                  <a:lnTo>
                    <a:pt x="44" y="98"/>
                  </a:lnTo>
                  <a:lnTo>
                    <a:pt x="47" y="98"/>
                  </a:lnTo>
                  <a:lnTo>
                    <a:pt x="47" y="98"/>
                  </a:lnTo>
                  <a:lnTo>
                    <a:pt x="51" y="98"/>
                  </a:lnTo>
                  <a:lnTo>
                    <a:pt x="51" y="98"/>
                  </a:lnTo>
                  <a:lnTo>
                    <a:pt x="47" y="88"/>
                  </a:lnTo>
                  <a:lnTo>
                    <a:pt x="47" y="88"/>
                  </a:lnTo>
                  <a:lnTo>
                    <a:pt x="57" y="88"/>
                  </a:lnTo>
                  <a:lnTo>
                    <a:pt x="57" y="84"/>
                  </a:lnTo>
                  <a:lnTo>
                    <a:pt x="54" y="78"/>
                  </a:lnTo>
                  <a:lnTo>
                    <a:pt x="54" y="78"/>
                  </a:lnTo>
                  <a:lnTo>
                    <a:pt x="51" y="78"/>
                  </a:lnTo>
                  <a:lnTo>
                    <a:pt x="47" y="74"/>
                  </a:lnTo>
                  <a:lnTo>
                    <a:pt x="47" y="74"/>
                  </a:lnTo>
                  <a:lnTo>
                    <a:pt x="47" y="84"/>
                  </a:lnTo>
                  <a:lnTo>
                    <a:pt x="47" y="84"/>
                  </a:lnTo>
                  <a:lnTo>
                    <a:pt x="27" y="84"/>
                  </a:lnTo>
                  <a:lnTo>
                    <a:pt x="27" y="84"/>
                  </a:lnTo>
                  <a:lnTo>
                    <a:pt x="27" y="81"/>
                  </a:lnTo>
                  <a:lnTo>
                    <a:pt x="27" y="81"/>
                  </a:lnTo>
                  <a:lnTo>
                    <a:pt x="24" y="81"/>
                  </a:lnTo>
                  <a:lnTo>
                    <a:pt x="24" y="81"/>
                  </a:lnTo>
                  <a:lnTo>
                    <a:pt x="17" y="88"/>
                  </a:lnTo>
                  <a:lnTo>
                    <a:pt x="14" y="91"/>
                  </a:lnTo>
                  <a:lnTo>
                    <a:pt x="14" y="91"/>
                  </a:lnTo>
                  <a:lnTo>
                    <a:pt x="7" y="98"/>
                  </a:lnTo>
                  <a:lnTo>
                    <a:pt x="0" y="91"/>
                  </a:lnTo>
                  <a:lnTo>
                    <a:pt x="0" y="91"/>
                  </a:lnTo>
                  <a:lnTo>
                    <a:pt x="0" y="104"/>
                  </a:lnTo>
                  <a:lnTo>
                    <a:pt x="0" y="115"/>
                  </a:lnTo>
                  <a:lnTo>
                    <a:pt x="0" y="115"/>
                  </a:lnTo>
                  <a:lnTo>
                    <a:pt x="0" y="115"/>
                  </a:lnTo>
                  <a:close/>
                  <a:moveTo>
                    <a:pt x="47" y="51"/>
                  </a:moveTo>
                  <a:lnTo>
                    <a:pt x="47" y="51"/>
                  </a:lnTo>
                  <a:lnTo>
                    <a:pt x="44" y="54"/>
                  </a:lnTo>
                  <a:lnTo>
                    <a:pt x="44" y="57"/>
                  </a:lnTo>
                  <a:lnTo>
                    <a:pt x="47" y="57"/>
                  </a:lnTo>
                  <a:lnTo>
                    <a:pt x="47" y="57"/>
                  </a:lnTo>
                  <a:lnTo>
                    <a:pt x="51" y="57"/>
                  </a:lnTo>
                  <a:lnTo>
                    <a:pt x="54" y="54"/>
                  </a:lnTo>
                  <a:lnTo>
                    <a:pt x="51" y="51"/>
                  </a:lnTo>
                  <a:lnTo>
                    <a:pt x="47" y="51"/>
                  </a:lnTo>
                  <a:lnTo>
                    <a:pt x="47" y="51"/>
                  </a:lnTo>
                  <a:close/>
                  <a:moveTo>
                    <a:pt x="24" y="47"/>
                  </a:moveTo>
                  <a:lnTo>
                    <a:pt x="24" y="47"/>
                  </a:lnTo>
                  <a:lnTo>
                    <a:pt x="17" y="57"/>
                  </a:lnTo>
                  <a:lnTo>
                    <a:pt x="7" y="61"/>
                  </a:lnTo>
                  <a:lnTo>
                    <a:pt x="7" y="61"/>
                  </a:lnTo>
                  <a:lnTo>
                    <a:pt x="20" y="67"/>
                  </a:lnTo>
                  <a:lnTo>
                    <a:pt x="20" y="67"/>
                  </a:lnTo>
                  <a:lnTo>
                    <a:pt x="20" y="78"/>
                  </a:lnTo>
                  <a:lnTo>
                    <a:pt x="20" y="78"/>
                  </a:lnTo>
                  <a:lnTo>
                    <a:pt x="27" y="78"/>
                  </a:lnTo>
                  <a:lnTo>
                    <a:pt x="27" y="78"/>
                  </a:lnTo>
                  <a:lnTo>
                    <a:pt x="34" y="67"/>
                  </a:lnTo>
                  <a:lnTo>
                    <a:pt x="34" y="67"/>
                  </a:lnTo>
                  <a:lnTo>
                    <a:pt x="37" y="61"/>
                  </a:lnTo>
                  <a:lnTo>
                    <a:pt x="37" y="54"/>
                  </a:lnTo>
                  <a:lnTo>
                    <a:pt x="37" y="54"/>
                  </a:lnTo>
                  <a:lnTo>
                    <a:pt x="27" y="54"/>
                  </a:lnTo>
                  <a:lnTo>
                    <a:pt x="27" y="54"/>
                  </a:lnTo>
                  <a:lnTo>
                    <a:pt x="27" y="47"/>
                  </a:lnTo>
                  <a:lnTo>
                    <a:pt x="27" y="47"/>
                  </a:lnTo>
                  <a:lnTo>
                    <a:pt x="24" y="47"/>
                  </a:lnTo>
                  <a:lnTo>
                    <a:pt x="24" y="47"/>
                  </a:lnTo>
                  <a:close/>
                </a:path>
              </a:pathLst>
            </a:custGeom>
            <a:solidFill>
              <a:srgbClr val="C0C0C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EYInterstate" pitchFamily="2" charset="0"/>
                <a:cs typeface="Arial" charset="0"/>
              </a:endParaRPr>
            </a:p>
          </p:txBody>
        </p:sp>
        <p:sp>
          <p:nvSpPr>
            <p:cNvPr id="47" name="Freeform 61"/>
            <p:cNvSpPr>
              <a:spLocks noEditPoints="1"/>
            </p:cNvSpPr>
            <p:nvPr/>
          </p:nvSpPr>
          <p:spPr bwMode="auto">
            <a:xfrm>
              <a:off x="2173" y="1907"/>
              <a:ext cx="373" cy="587"/>
            </a:xfrm>
            <a:custGeom>
              <a:avLst/>
              <a:gdLst/>
              <a:ahLst/>
              <a:cxnLst>
                <a:cxn ang="0">
                  <a:pos x="24" y="235"/>
                </a:cxn>
                <a:cxn ang="0">
                  <a:pos x="10" y="242"/>
                </a:cxn>
                <a:cxn ang="0">
                  <a:pos x="14" y="269"/>
                </a:cxn>
                <a:cxn ang="0">
                  <a:pos x="34" y="276"/>
                </a:cxn>
                <a:cxn ang="0">
                  <a:pos x="44" y="282"/>
                </a:cxn>
                <a:cxn ang="0">
                  <a:pos x="61" y="296"/>
                </a:cxn>
                <a:cxn ang="0">
                  <a:pos x="98" y="306"/>
                </a:cxn>
                <a:cxn ang="0">
                  <a:pos x="108" y="259"/>
                </a:cxn>
                <a:cxn ang="0">
                  <a:pos x="61" y="219"/>
                </a:cxn>
                <a:cxn ang="0">
                  <a:pos x="152" y="205"/>
                </a:cxn>
                <a:cxn ang="0">
                  <a:pos x="363" y="481"/>
                </a:cxn>
                <a:cxn ang="0">
                  <a:pos x="323" y="444"/>
                </a:cxn>
                <a:cxn ang="0">
                  <a:pos x="293" y="333"/>
                </a:cxn>
                <a:cxn ang="0">
                  <a:pos x="279" y="232"/>
                </a:cxn>
                <a:cxn ang="0">
                  <a:pos x="246" y="212"/>
                </a:cxn>
                <a:cxn ang="0">
                  <a:pos x="263" y="192"/>
                </a:cxn>
                <a:cxn ang="0">
                  <a:pos x="296" y="155"/>
                </a:cxn>
                <a:cxn ang="0">
                  <a:pos x="289" y="94"/>
                </a:cxn>
                <a:cxn ang="0">
                  <a:pos x="252" y="67"/>
                </a:cxn>
                <a:cxn ang="0">
                  <a:pos x="263" y="14"/>
                </a:cxn>
                <a:cxn ang="0">
                  <a:pos x="212" y="20"/>
                </a:cxn>
                <a:cxn ang="0">
                  <a:pos x="179" y="44"/>
                </a:cxn>
                <a:cxn ang="0">
                  <a:pos x="165" y="98"/>
                </a:cxn>
                <a:cxn ang="0">
                  <a:pos x="148" y="61"/>
                </a:cxn>
                <a:cxn ang="0">
                  <a:pos x="142" y="84"/>
                </a:cxn>
                <a:cxn ang="0">
                  <a:pos x="138" y="124"/>
                </a:cxn>
                <a:cxn ang="0">
                  <a:pos x="128" y="151"/>
                </a:cxn>
                <a:cxn ang="0">
                  <a:pos x="172" y="135"/>
                </a:cxn>
                <a:cxn ang="0">
                  <a:pos x="138" y="172"/>
                </a:cxn>
                <a:cxn ang="0">
                  <a:pos x="108" y="198"/>
                </a:cxn>
                <a:cxn ang="0">
                  <a:pos x="135" y="198"/>
                </a:cxn>
                <a:cxn ang="0">
                  <a:pos x="135" y="215"/>
                </a:cxn>
                <a:cxn ang="0">
                  <a:pos x="155" y="192"/>
                </a:cxn>
                <a:cxn ang="0">
                  <a:pos x="165" y="205"/>
                </a:cxn>
                <a:cxn ang="0">
                  <a:pos x="138" y="286"/>
                </a:cxn>
                <a:cxn ang="0">
                  <a:pos x="185" y="289"/>
                </a:cxn>
                <a:cxn ang="0">
                  <a:pos x="209" y="286"/>
                </a:cxn>
                <a:cxn ang="0">
                  <a:pos x="189" y="329"/>
                </a:cxn>
                <a:cxn ang="0">
                  <a:pos x="199" y="363"/>
                </a:cxn>
                <a:cxn ang="0">
                  <a:pos x="138" y="390"/>
                </a:cxn>
                <a:cxn ang="0">
                  <a:pos x="118" y="390"/>
                </a:cxn>
                <a:cxn ang="0">
                  <a:pos x="128" y="424"/>
                </a:cxn>
                <a:cxn ang="0">
                  <a:pos x="111" y="461"/>
                </a:cxn>
                <a:cxn ang="0">
                  <a:pos x="68" y="487"/>
                </a:cxn>
                <a:cxn ang="0">
                  <a:pos x="94" y="511"/>
                </a:cxn>
                <a:cxn ang="0">
                  <a:pos x="148" y="528"/>
                </a:cxn>
                <a:cxn ang="0">
                  <a:pos x="121" y="541"/>
                </a:cxn>
                <a:cxn ang="0">
                  <a:pos x="44" y="568"/>
                </a:cxn>
                <a:cxn ang="0">
                  <a:pos x="17" y="595"/>
                </a:cxn>
                <a:cxn ang="0">
                  <a:pos x="81" y="605"/>
                </a:cxn>
                <a:cxn ang="0">
                  <a:pos x="115" y="585"/>
                </a:cxn>
                <a:cxn ang="0">
                  <a:pos x="179" y="602"/>
                </a:cxn>
                <a:cxn ang="0">
                  <a:pos x="246" y="612"/>
                </a:cxn>
                <a:cxn ang="0">
                  <a:pos x="336" y="595"/>
                </a:cxn>
                <a:cxn ang="0">
                  <a:pos x="293" y="571"/>
                </a:cxn>
                <a:cxn ang="0">
                  <a:pos x="353" y="545"/>
                </a:cxn>
                <a:cxn ang="0">
                  <a:pos x="152" y="185"/>
                </a:cxn>
                <a:cxn ang="0">
                  <a:pos x="199" y="47"/>
                </a:cxn>
                <a:cxn ang="0">
                  <a:pos x="209" y="282"/>
                </a:cxn>
                <a:cxn ang="0">
                  <a:pos x="215" y="608"/>
                </a:cxn>
                <a:cxn ang="0">
                  <a:pos x="135" y="316"/>
                </a:cxn>
              </a:cxnLst>
              <a:rect l="0" t="0" r="r" b="b"/>
              <a:pathLst>
                <a:path w="373" h="625">
                  <a:moveTo>
                    <a:pt x="58" y="219"/>
                  </a:moveTo>
                  <a:lnTo>
                    <a:pt x="58" y="219"/>
                  </a:lnTo>
                  <a:lnTo>
                    <a:pt x="51" y="219"/>
                  </a:lnTo>
                  <a:lnTo>
                    <a:pt x="51" y="219"/>
                  </a:lnTo>
                  <a:lnTo>
                    <a:pt x="44" y="225"/>
                  </a:lnTo>
                  <a:lnTo>
                    <a:pt x="44" y="225"/>
                  </a:lnTo>
                  <a:lnTo>
                    <a:pt x="41" y="229"/>
                  </a:lnTo>
                  <a:lnTo>
                    <a:pt x="41" y="229"/>
                  </a:lnTo>
                  <a:lnTo>
                    <a:pt x="37" y="229"/>
                  </a:lnTo>
                  <a:lnTo>
                    <a:pt x="37" y="229"/>
                  </a:lnTo>
                  <a:lnTo>
                    <a:pt x="31" y="232"/>
                  </a:lnTo>
                  <a:lnTo>
                    <a:pt x="31" y="232"/>
                  </a:lnTo>
                  <a:lnTo>
                    <a:pt x="27" y="235"/>
                  </a:lnTo>
                  <a:lnTo>
                    <a:pt x="24" y="235"/>
                  </a:lnTo>
                  <a:lnTo>
                    <a:pt x="24" y="235"/>
                  </a:lnTo>
                  <a:lnTo>
                    <a:pt x="21" y="232"/>
                  </a:lnTo>
                  <a:lnTo>
                    <a:pt x="21" y="232"/>
                  </a:lnTo>
                  <a:lnTo>
                    <a:pt x="17" y="232"/>
                  </a:lnTo>
                  <a:lnTo>
                    <a:pt x="17" y="232"/>
                  </a:lnTo>
                  <a:lnTo>
                    <a:pt x="17" y="235"/>
                  </a:lnTo>
                  <a:lnTo>
                    <a:pt x="17" y="235"/>
                  </a:lnTo>
                  <a:lnTo>
                    <a:pt x="21" y="239"/>
                  </a:lnTo>
                  <a:lnTo>
                    <a:pt x="24" y="242"/>
                  </a:lnTo>
                  <a:lnTo>
                    <a:pt x="24" y="242"/>
                  </a:lnTo>
                  <a:lnTo>
                    <a:pt x="17" y="242"/>
                  </a:lnTo>
                  <a:lnTo>
                    <a:pt x="17" y="242"/>
                  </a:lnTo>
                  <a:lnTo>
                    <a:pt x="14" y="242"/>
                  </a:lnTo>
                  <a:lnTo>
                    <a:pt x="14" y="242"/>
                  </a:lnTo>
                  <a:lnTo>
                    <a:pt x="10" y="242"/>
                  </a:lnTo>
                  <a:lnTo>
                    <a:pt x="10" y="242"/>
                  </a:lnTo>
                  <a:lnTo>
                    <a:pt x="4" y="242"/>
                  </a:lnTo>
                  <a:lnTo>
                    <a:pt x="0" y="242"/>
                  </a:lnTo>
                  <a:lnTo>
                    <a:pt x="0" y="242"/>
                  </a:lnTo>
                  <a:lnTo>
                    <a:pt x="4" y="245"/>
                  </a:lnTo>
                  <a:lnTo>
                    <a:pt x="4" y="249"/>
                  </a:lnTo>
                  <a:lnTo>
                    <a:pt x="4" y="249"/>
                  </a:lnTo>
                  <a:lnTo>
                    <a:pt x="4" y="252"/>
                  </a:lnTo>
                  <a:lnTo>
                    <a:pt x="4" y="252"/>
                  </a:lnTo>
                  <a:lnTo>
                    <a:pt x="7" y="256"/>
                  </a:lnTo>
                  <a:lnTo>
                    <a:pt x="7" y="256"/>
                  </a:lnTo>
                  <a:lnTo>
                    <a:pt x="10" y="262"/>
                  </a:lnTo>
                  <a:lnTo>
                    <a:pt x="10" y="262"/>
                  </a:lnTo>
                  <a:lnTo>
                    <a:pt x="10" y="269"/>
                  </a:lnTo>
                  <a:lnTo>
                    <a:pt x="10" y="269"/>
                  </a:lnTo>
                  <a:lnTo>
                    <a:pt x="14" y="269"/>
                  </a:lnTo>
                  <a:lnTo>
                    <a:pt x="14" y="269"/>
                  </a:lnTo>
                  <a:lnTo>
                    <a:pt x="14" y="272"/>
                  </a:lnTo>
                  <a:lnTo>
                    <a:pt x="17" y="276"/>
                  </a:lnTo>
                  <a:lnTo>
                    <a:pt x="17" y="276"/>
                  </a:lnTo>
                  <a:lnTo>
                    <a:pt x="21" y="279"/>
                  </a:lnTo>
                  <a:lnTo>
                    <a:pt x="21" y="279"/>
                  </a:lnTo>
                  <a:lnTo>
                    <a:pt x="24" y="279"/>
                  </a:lnTo>
                  <a:lnTo>
                    <a:pt x="24" y="279"/>
                  </a:lnTo>
                  <a:lnTo>
                    <a:pt x="27" y="282"/>
                  </a:lnTo>
                  <a:lnTo>
                    <a:pt x="27" y="282"/>
                  </a:lnTo>
                  <a:lnTo>
                    <a:pt x="27" y="279"/>
                  </a:lnTo>
                  <a:lnTo>
                    <a:pt x="31" y="279"/>
                  </a:lnTo>
                  <a:lnTo>
                    <a:pt x="31" y="279"/>
                  </a:lnTo>
                  <a:lnTo>
                    <a:pt x="34" y="276"/>
                  </a:lnTo>
                  <a:lnTo>
                    <a:pt x="34" y="276"/>
                  </a:lnTo>
                  <a:lnTo>
                    <a:pt x="34" y="272"/>
                  </a:lnTo>
                  <a:lnTo>
                    <a:pt x="34" y="269"/>
                  </a:lnTo>
                  <a:lnTo>
                    <a:pt x="34" y="269"/>
                  </a:lnTo>
                  <a:lnTo>
                    <a:pt x="37" y="269"/>
                  </a:lnTo>
                  <a:lnTo>
                    <a:pt x="37" y="269"/>
                  </a:lnTo>
                  <a:lnTo>
                    <a:pt x="41" y="266"/>
                  </a:lnTo>
                  <a:lnTo>
                    <a:pt x="44" y="266"/>
                  </a:lnTo>
                  <a:lnTo>
                    <a:pt x="44" y="266"/>
                  </a:lnTo>
                  <a:lnTo>
                    <a:pt x="44" y="266"/>
                  </a:lnTo>
                  <a:lnTo>
                    <a:pt x="44" y="269"/>
                  </a:lnTo>
                  <a:lnTo>
                    <a:pt x="44" y="269"/>
                  </a:lnTo>
                  <a:lnTo>
                    <a:pt x="44" y="276"/>
                  </a:lnTo>
                  <a:lnTo>
                    <a:pt x="44" y="276"/>
                  </a:lnTo>
                  <a:lnTo>
                    <a:pt x="44" y="282"/>
                  </a:lnTo>
                  <a:lnTo>
                    <a:pt x="44" y="282"/>
                  </a:lnTo>
                  <a:lnTo>
                    <a:pt x="47" y="286"/>
                  </a:lnTo>
                  <a:lnTo>
                    <a:pt x="47" y="286"/>
                  </a:lnTo>
                  <a:lnTo>
                    <a:pt x="47" y="286"/>
                  </a:lnTo>
                  <a:lnTo>
                    <a:pt x="51" y="286"/>
                  </a:lnTo>
                  <a:lnTo>
                    <a:pt x="51" y="286"/>
                  </a:lnTo>
                  <a:lnTo>
                    <a:pt x="51" y="293"/>
                  </a:lnTo>
                  <a:lnTo>
                    <a:pt x="51" y="293"/>
                  </a:lnTo>
                  <a:lnTo>
                    <a:pt x="51" y="296"/>
                  </a:lnTo>
                  <a:lnTo>
                    <a:pt x="47" y="296"/>
                  </a:lnTo>
                  <a:lnTo>
                    <a:pt x="47" y="296"/>
                  </a:lnTo>
                  <a:lnTo>
                    <a:pt x="54" y="299"/>
                  </a:lnTo>
                  <a:lnTo>
                    <a:pt x="54" y="299"/>
                  </a:lnTo>
                  <a:lnTo>
                    <a:pt x="58" y="299"/>
                  </a:lnTo>
                  <a:lnTo>
                    <a:pt x="58" y="299"/>
                  </a:lnTo>
                  <a:lnTo>
                    <a:pt x="61" y="296"/>
                  </a:lnTo>
                  <a:lnTo>
                    <a:pt x="61" y="296"/>
                  </a:lnTo>
                  <a:lnTo>
                    <a:pt x="64" y="299"/>
                  </a:lnTo>
                  <a:lnTo>
                    <a:pt x="64" y="303"/>
                  </a:lnTo>
                  <a:lnTo>
                    <a:pt x="64" y="303"/>
                  </a:lnTo>
                  <a:lnTo>
                    <a:pt x="71" y="306"/>
                  </a:lnTo>
                  <a:lnTo>
                    <a:pt x="71" y="306"/>
                  </a:lnTo>
                  <a:lnTo>
                    <a:pt x="71" y="309"/>
                  </a:lnTo>
                  <a:lnTo>
                    <a:pt x="71" y="309"/>
                  </a:lnTo>
                  <a:lnTo>
                    <a:pt x="81" y="309"/>
                  </a:lnTo>
                  <a:lnTo>
                    <a:pt x="81" y="309"/>
                  </a:lnTo>
                  <a:lnTo>
                    <a:pt x="88" y="303"/>
                  </a:lnTo>
                  <a:lnTo>
                    <a:pt x="88" y="303"/>
                  </a:lnTo>
                  <a:lnTo>
                    <a:pt x="91" y="306"/>
                  </a:lnTo>
                  <a:lnTo>
                    <a:pt x="91" y="306"/>
                  </a:lnTo>
                  <a:lnTo>
                    <a:pt x="98" y="306"/>
                  </a:lnTo>
                  <a:lnTo>
                    <a:pt x="98" y="306"/>
                  </a:lnTo>
                  <a:lnTo>
                    <a:pt x="98" y="293"/>
                  </a:lnTo>
                  <a:lnTo>
                    <a:pt x="98" y="293"/>
                  </a:lnTo>
                  <a:lnTo>
                    <a:pt x="98" y="293"/>
                  </a:lnTo>
                  <a:lnTo>
                    <a:pt x="101" y="293"/>
                  </a:lnTo>
                  <a:lnTo>
                    <a:pt x="105" y="296"/>
                  </a:lnTo>
                  <a:lnTo>
                    <a:pt x="108" y="289"/>
                  </a:lnTo>
                  <a:lnTo>
                    <a:pt x="111" y="279"/>
                  </a:lnTo>
                  <a:lnTo>
                    <a:pt x="111" y="276"/>
                  </a:lnTo>
                  <a:lnTo>
                    <a:pt x="111" y="276"/>
                  </a:lnTo>
                  <a:lnTo>
                    <a:pt x="108" y="272"/>
                  </a:lnTo>
                  <a:lnTo>
                    <a:pt x="105" y="272"/>
                  </a:lnTo>
                  <a:lnTo>
                    <a:pt x="105" y="272"/>
                  </a:lnTo>
                  <a:lnTo>
                    <a:pt x="108" y="266"/>
                  </a:lnTo>
                  <a:lnTo>
                    <a:pt x="108" y="259"/>
                  </a:lnTo>
                  <a:lnTo>
                    <a:pt x="101" y="259"/>
                  </a:lnTo>
                  <a:lnTo>
                    <a:pt x="101" y="259"/>
                  </a:lnTo>
                  <a:lnTo>
                    <a:pt x="101" y="252"/>
                  </a:lnTo>
                  <a:lnTo>
                    <a:pt x="101" y="252"/>
                  </a:lnTo>
                  <a:lnTo>
                    <a:pt x="101" y="252"/>
                  </a:lnTo>
                  <a:lnTo>
                    <a:pt x="101" y="239"/>
                  </a:lnTo>
                  <a:lnTo>
                    <a:pt x="101" y="235"/>
                  </a:lnTo>
                  <a:lnTo>
                    <a:pt x="101" y="229"/>
                  </a:lnTo>
                  <a:lnTo>
                    <a:pt x="101" y="229"/>
                  </a:lnTo>
                  <a:lnTo>
                    <a:pt x="98" y="225"/>
                  </a:lnTo>
                  <a:lnTo>
                    <a:pt x="94" y="222"/>
                  </a:lnTo>
                  <a:lnTo>
                    <a:pt x="81" y="219"/>
                  </a:lnTo>
                  <a:lnTo>
                    <a:pt x="58" y="219"/>
                  </a:lnTo>
                  <a:lnTo>
                    <a:pt x="61" y="219"/>
                  </a:lnTo>
                  <a:lnTo>
                    <a:pt x="61" y="219"/>
                  </a:lnTo>
                  <a:lnTo>
                    <a:pt x="58" y="219"/>
                  </a:lnTo>
                  <a:lnTo>
                    <a:pt x="58" y="219"/>
                  </a:lnTo>
                  <a:close/>
                  <a:moveTo>
                    <a:pt x="14" y="249"/>
                  </a:moveTo>
                  <a:lnTo>
                    <a:pt x="14" y="249"/>
                  </a:lnTo>
                  <a:lnTo>
                    <a:pt x="17" y="252"/>
                  </a:lnTo>
                  <a:lnTo>
                    <a:pt x="17" y="256"/>
                  </a:lnTo>
                  <a:lnTo>
                    <a:pt x="17" y="259"/>
                  </a:lnTo>
                  <a:lnTo>
                    <a:pt x="14" y="259"/>
                  </a:lnTo>
                  <a:lnTo>
                    <a:pt x="14" y="259"/>
                  </a:lnTo>
                  <a:lnTo>
                    <a:pt x="10" y="252"/>
                  </a:lnTo>
                  <a:lnTo>
                    <a:pt x="10" y="252"/>
                  </a:lnTo>
                  <a:lnTo>
                    <a:pt x="14" y="249"/>
                  </a:lnTo>
                  <a:lnTo>
                    <a:pt x="14" y="249"/>
                  </a:lnTo>
                  <a:close/>
                  <a:moveTo>
                    <a:pt x="152" y="205"/>
                  </a:moveTo>
                  <a:lnTo>
                    <a:pt x="152" y="205"/>
                  </a:lnTo>
                  <a:lnTo>
                    <a:pt x="152" y="222"/>
                  </a:lnTo>
                  <a:lnTo>
                    <a:pt x="152" y="225"/>
                  </a:lnTo>
                  <a:lnTo>
                    <a:pt x="152" y="225"/>
                  </a:lnTo>
                  <a:lnTo>
                    <a:pt x="145" y="225"/>
                  </a:lnTo>
                  <a:lnTo>
                    <a:pt x="142" y="222"/>
                  </a:lnTo>
                  <a:lnTo>
                    <a:pt x="142" y="205"/>
                  </a:lnTo>
                  <a:lnTo>
                    <a:pt x="142" y="205"/>
                  </a:lnTo>
                  <a:lnTo>
                    <a:pt x="148" y="205"/>
                  </a:lnTo>
                  <a:lnTo>
                    <a:pt x="152" y="205"/>
                  </a:lnTo>
                  <a:lnTo>
                    <a:pt x="152" y="205"/>
                  </a:lnTo>
                  <a:close/>
                  <a:moveTo>
                    <a:pt x="373" y="494"/>
                  </a:moveTo>
                  <a:lnTo>
                    <a:pt x="373" y="494"/>
                  </a:lnTo>
                  <a:lnTo>
                    <a:pt x="367" y="487"/>
                  </a:lnTo>
                  <a:lnTo>
                    <a:pt x="367" y="487"/>
                  </a:lnTo>
                  <a:lnTo>
                    <a:pt x="363" y="481"/>
                  </a:lnTo>
                  <a:lnTo>
                    <a:pt x="363" y="481"/>
                  </a:lnTo>
                  <a:lnTo>
                    <a:pt x="360" y="474"/>
                  </a:lnTo>
                  <a:lnTo>
                    <a:pt x="353" y="471"/>
                  </a:lnTo>
                  <a:lnTo>
                    <a:pt x="340" y="467"/>
                  </a:lnTo>
                  <a:lnTo>
                    <a:pt x="340" y="467"/>
                  </a:lnTo>
                  <a:lnTo>
                    <a:pt x="330" y="464"/>
                  </a:lnTo>
                  <a:lnTo>
                    <a:pt x="330" y="464"/>
                  </a:lnTo>
                  <a:lnTo>
                    <a:pt x="323" y="467"/>
                  </a:lnTo>
                  <a:lnTo>
                    <a:pt x="320" y="474"/>
                  </a:lnTo>
                  <a:lnTo>
                    <a:pt x="316" y="474"/>
                  </a:lnTo>
                  <a:lnTo>
                    <a:pt x="303" y="467"/>
                  </a:lnTo>
                  <a:lnTo>
                    <a:pt x="303" y="467"/>
                  </a:lnTo>
                  <a:lnTo>
                    <a:pt x="316" y="457"/>
                  </a:lnTo>
                  <a:lnTo>
                    <a:pt x="320" y="450"/>
                  </a:lnTo>
                  <a:lnTo>
                    <a:pt x="323" y="444"/>
                  </a:lnTo>
                  <a:lnTo>
                    <a:pt x="316" y="430"/>
                  </a:lnTo>
                  <a:lnTo>
                    <a:pt x="316" y="430"/>
                  </a:lnTo>
                  <a:lnTo>
                    <a:pt x="313" y="420"/>
                  </a:lnTo>
                  <a:lnTo>
                    <a:pt x="323" y="417"/>
                  </a:lnTo>
                  <a:lnTo>
                    <a:pt x="323" y="417"/>
                  </a:lnTo>
                  <a:lnTo>
                    <a:pt x="316" y="403"/>
                  </a:lnTo>
                  <a:lnTo>
                    <a:pt x="313" y="393"/>
                  </a:lnTo>
                  <a:lnTo>
                    <a:pt x="313" y="383"/>
                  </a:lnTo>
                  <a:lnTo>
                    <a:pt x="313" y="383"/>
                  </a:lnTo>
                  <a:lnTo>
                    <a:pt x="316" y="380"/>
                  </a:lnTo>
                  <a:lnTo>
                    <a:pt x="316" y="373"/>
                  </a:lnTo>
                  <a:lnTo>
                    <a:pt x="316" y="373"/>
                  </a:lnTo>
                  <a:lnTo>
                    <a:pt x="316" y="363"/>
                  </a:lnTo>
                  <a:lnTo>
                    <a:pt x="310" y="353"/>
                  </a:lnTo>
                  <a:lnTo>
                    <a:pt x="293" y="333"/>
                  </a:lnTo>
                  <a:lnTo>
                    <a:pt x="293" y="333"/>
                  </a:lnTo>
                  <a:lnTo>
                    <a:pt x="286" y="329"/>
                  </a:lnTo>
                  <a:lnTo>
                    <a:pt x="286" y="329"/>
                  </a:lnTo>
                  <a:lnTo>
                    <a:pt x="286" y="326"/>
                  </a:lnTo>
                  <a:lnTo>
                    <a:pt x="289" y="323"/>
                  </a:lnTo>
                  <a:lnTo>
                    <a:pt x="289" y="323"/>
                  </a:lnTo>
                  <a:lnTo>
                    <a:pt x="283" y="293"/>
                  </a:lnTo>
                  <a:lnTo>
                    <a:pt x="283" y="293"/>
                  </a:lnTo>
                  <a:lnTo>
                    <a:pt x="286" y="276"/>
                  </a:lnTo>
                  <a:lnTo>
                    <a:pt x="286" y="266"/>
                  </a:lnTo>
                  <a:lnTo>
                    <a:pt x="286" y="256"/>
                  </a:lnTo>
                  <a:lnTo>
                    <a:pt x="286" y="256"/>
                  </a:lnTo>
                  <a:lnTo>
                    <a:pt x="279" y="242"/>
                  </a:lnTo>
                  <a:lnTo>
                    <a:pt x="279" y="242"/>
                  </a:lnTo>
                  <a:lnTo>
                    <a:pt x="279" y="232"/>
                  </a:lnTo>
                  <a:lnTo>
                    <a:pt x="279" y="232"/>
                  </a:lnTo>
                  <a:lnTo>
                    <a:pt x="276" y="229"/>
                  </a:lnTo>
                  <a:lnTo>
                    <a:pt x="273" y="225"/>
                  </a:lnTo>
                  <a:lnTo>
                    <a:pt x="273" y="225"/>
                  </a:lnTo>
                  <a:lnTo>
                    <a:pt x="269" y="229"/>
                  </a:lnTo>
                  <a:lnTo>
                    <a:pt x="269" y="229"/>
                  </a:lnTo>
                  <a:lnTo>
                    <a:pt x="269" y="222"/>
                  </a:lnTo>
                  <a:lnTo>
                    <a:pt x="269" y="222"/>
                  </a:lnTo>
                  <a:lnTo>
                    <a:pt x="263" y="215"/>
                  </a:lnTo>
                  <a:lnTo>
                    <a:pt x="263" y="215"/>
                  </a:lnTo>
                  <a:lnTo>
                    <a:pt x="259" y="212"/>
                  </a:lnTo>
                  <a:lnTo>
                    <a:pt x="259" y="209"/>
                  </a:lnTo>
                  <a:lnTo>
                    <a:pt x="259" y="209"/>
                  </a:lnTo>
                  <a:lnTo>
                    <a:pt x="252" y="209"/>
                  </a:lnTo>
                  <a:lnTo>
                    <a:pt x="246" y="212"/>
                  </a:lnTo>
                  <a:lnTo>
                    <a:pt x="246" y="212"/>
                  </a:lnTo>
                  <a:lnTo>
                    <a:pt x="236" y="209"/>
                  </a:lnTo>
                  <a:lnTo>
                    <a:pt x="236" y="209"/>
                  </a:lnTo>
                  <a:lnTo>
                    <a:pt x="242" y="205"/>
                  </a:lnTo>
                  <a:lnTo>
                    <a:pt x="249" y="198"/>
                  </a:lnTo>
                  <a:lnTo>
                    <a:pt x="249" y="198"/>
                  </a:lnTo>
                  <a:lnTo>
                    <a:pt x="263" y="202"/>
                  </a:lnTo>
                  <a:lnTo>
                    <a:pt x="263" y="202"/>
                  </a:lnTo>
                  <a:lnTo>
                    <a:pt x="266" y="198"/>
                  </a:lnTo>
                  <a:lnTo>
                    <a:pt x="266" y="198"/>
                  </a:lnTo>
                  <a:lnTo>
                    <a:pt x="266" y="198"/>
                  </a:lnTo>
                  <a:lnTo>
                    <a:pt x="266" y="195"/>
                  </a:lnTo>
                  <a:lnTo>
                    <a:pt x="266" y="195"/>
                  </a:lnTo>
                  <a:lnTo>
                    <a:pt x="263" y="192"/>
                  </a:lnTo>
                  <a:lnTo>
                    <a:pt x="263" y="192"/>
                  </a:lnTo>
                  <a:lnTo>
                    <a:pt x="263" y="182"/>
                  </a:lnTo>
                  <a:lnTo>
                    <a:pt x="263" y="182"/>
                  </a:lnTo>
                  <a:lnTo>
                    <a:pt x="273" y="185"/>
                  </a:lnTo>
                  <a:lnTo>
                    <a:pt x="273" y="185"/>
                  </a:lnTo>
                  <a:lnTo>
                    <a:pt x="279" y="182"/>
                  </a:lnTo>
                  <a:lnTo>
                    <a:pt x="279" y="182"/>
                  </a:lnTo>
                  <a:lnTo>
                    <a:pt x="283" y="175"/>
                  </a:lnTo>
                  <a:lnTo>
                    <a:pt x="286" y="168"/>
                  </a:lnTo>
                  <a:lnTo>
                    <a:pt x="289" y="168"/>
                  </a:lnTo>
                  <a:lnTo>
                    <a:pt x="289" y="165"/>
                  </a:lnTo>
                  <a:lnTo>
                    <a:pt x="289" y="165"/>
                  </a:lnTo>
                  <a:lnTo>
                    <a:pt x="293" y="161"/>
                  </a:lnTo>
                  <a:lnTo>
                    <a:pt x="293" y="161"/>
                  </a:lnTo>
                  <a:lnTo>
                    <a:pt x="296" y="155"/>
                  </a:lnTo>
                  <a:lnTo>
                    <a:pt x="296" y="155"/>
                  </a:lnTo>
                  <a:lnTo>
                    <a:pt x="303" y="148"/>
                  </a:lnTo>
                  <a:lnTo>
                    <a:pt x="303" y="148"/>
                  </a:lnTo>
                  <a:lnTo>
                    <a:pt x="306" y="141"/>
                  </a:lnTo>
                  <a:lnTo>
                    <a:pt x="310" y="135"/>
                  </a:lnTo>
                  <a:lnTo>
                    <a:pt x="310" y="135"/>
                  </a:lnTo>
                  <a:lnTo>
                    <a:pt x="320" y="121"/>
                  </a:lnTo>
                  <a:lnTo>
                    <a:pt x="320" y="121"/>
                  </a:lnTo>
                  <a:lnTo>
                    <a:pt x="323" y="111"/>
                  </a:lnTo>
                  <a:lnTo>
                    <a:pt x="323" y="111"/>
                  </a:lnTo>
                  <a:lnTo>
                    <a:pt x="320" y="108"/>
                  </a:lnTo>
                  <a:lnTo>
                    <a:pt x="320" y="104"/>
                  </a:lnTo>
                  <a:lnTo>
                    <a:pt x="320" y="104"/>
                  </a:lnTo>
                  <a:lnTo>
                    <a:pt x="293" y="98"/>
                  </a:lnTo>
                  <a:lnTo>
                    <a:pt x="289" y="94"/>
                  </a:lnTo>
                  <a:lnTo>
                    <a:pt x="289" y="94"/>
                  </a:lnTo>
                  <a:lnTo>
                    <a:pt x="286" y="94"/>
                  </a:lnTo>
                  <a:lnTo>
                    <a:pt x="279" y="94"/>
                  </a:lnTo>
                  <a:lnTo>
                    <a:pt x="279" y="94"/>
                  </a:lnTo>
                  <a:lnTo>
                    <a:pt x="276" y="88"/>
                  </a:lnTo>
                  <a:lnTo>
                    <a:pt x="266" y="84"/>
                  </a:lnTo>
                  <a:lnTo>
                    <a:pt x="266" y="84"/>
                  </a:lnTo>
                  <a:lnTo>
                    <a:pt x="259" y="84"/>
                  </a:lnTo>
                  <a:lnTo>
                    <a:pt x="249" y="84"/>
                  </a:lnTo>
                  <a:lnTo>
                    <a:pt x="232" y="91"/>
                  </a:lnTo>
                  <a:lnTo>
                    <a:pt x="232" y="91"/>
                  </a:lnTo>
                  <a:lnTo>
                    <a:pt x="242" y="81"/>
                  </a:lnTo>
                  <a:lnTo>
                    <a:pt x="252" y="71"/>
                  </a:lnTo>
                  <a:lnTo>
                    <a:pt x="252" y="71"/>
                  </a:lnTo>
                  <a:lnTo>
                    <a:pt x="252" y="71"/>
                  </a:lnTo>
                  <a:lnTo>
                    <a:pt x="252" y="67"/>
                  </a:lnTo>
                  <a:lnTo>
                    <a:pt x="242" y="67"/>
                  </a:lnTo>
                  <a:lnTo>
                    <a:pt x="242" y="64"/>
                  </a:lnTo>
                  <a:lnTo>
                    <a:pt x="242" y="64"/>
                  </a:lnTo>
                  <a:lnTo>
                    <a:pt x="266" y="54"/>
                  </a:lnTo>
                  <a:lnTo>
                    <a:pt x="286" y="44"/>
                  </a:lnTo>
                  <a:lnTo>
                    <a:pt x="286" y="44"/>
                  </a:lnTo>
                  <a:lnTo>
                    <a:pt x="299" y="30"/>
                  </a:lnTo>
                  <a:lnTo>
                    <a:pt x="299" y="30"/>
                  </a:lnTo>
                  <a:lnTo>
                    <a:pt x="299" y="20"/>
                  </a:lnTo>
                  <a:lnTo>
                    <a:pt x="299" y="20"/>
                  </a:lnTo>
                  <a:lnTo>
                    <a:pt x="283" y="20"/>
                  </a:lnTo>
                  <a:lnTo>
                    <a:pt x="269" y="20"/>
                  </a:lnTo>
                  <a:lnTo>
                    <a:pt x="269" y="20"/>
                  </a:lnTo>
                  <a:lnTo>
                    <a:pt x="263" y="14"/>
                  </a:lnTo>
                  <a:lnTo>
                    <a:pt x="263" y="14"/>
                  </a:lnTo>
                  <a:lnTo>
                    <a:pt x="256" y="14"/>
                  </a:lnTo>
                  <a:lnTo>
                    <a:pt x="252" y="17"/>
                  </a:lnTo>
                  <a:lnTo>
                    <a:pt x="252" y="17"/>
                  </a:lnTo>
                  <a:lnTo>
                    <a:pt x="249" y="10"/>
                  </a:lnTo>
                  <a:lnTo>
                    <a:pt x="249" y="10"/>
                  </a:lnTo>
                  <a:lnTo>
                    <a:pt x="229" y="0"/>
                  </a:lnTo>
                  <a:lnTo>
                    <a:pt x="229" y="0"/>
                  </a:lnTo>
                  <a:lnTo>
                    <a:pt x="222" y="0"/>
                  </a:lnTo>
                  <a:lnTo>
                    <a:pt x="219" y="4"/>
                  </a:lnTo>
                  <a:lnTo>
                    <a:pt x="219" y="14"/>
                  </a:lnTo>
                  <a:lnTo>
                    <a:pt x="219" y="14"/>
                  </a:lnTo>
                  <a:lnTo>
                    <a:pt x="215" y="14"/>
                  </a:lnTo>
                  <a:lnTo>
                    <a:pt x="212" y="17"/>
                  </a:lnTo>
                  <a:lnTo>
                    <a:pt x="212" y="17"/>
                  </a:lnTo>
                  <a:lnTo>
                    <a:pt x="212" y="20"/>
                  </a:lnTo>
                  <a:lnTo>
                    <a:pt x="212" y="20"/>
                  </a:lnTo>
                  <a:lnTo>
                    <a:pt x="209" y="24"/>
                  </a:lnTo>
                  <a:lnTo>
                    <a:pt x="202" y="24"/>
                  </a:lnTo>
                  <a:lnTo>
                    <a:pt x="202" y="24"/>
                  </a:lnTo>
                  <a:lnTo>
                    <a:pt x="202" y="30"/>
                  </a:lnTo>
                  <a:lnTo>
                    <a:pt x="202" y="30"/>
                  </a:lnTo>
                  <a:lnTo>
                    <a:pt x="195" y="37"/>
                  </a:lnTo>
                  <a:lnTo>
                    <a:pt x="195" y="40"/>
                  </a:lnTo>
                  <a:lnTo>
                    <a:pt x="199" y="44"/>
                  </a:lnTo>
                  <a:lnTo>
                    <a:pt x="199" y="44"/>
                  </a:lnTo>
                  <a:lnTo>
                    <a:pt x="189" y="47"/>
                  </a:lnTo>
                  <a:lnTo>
                    <a:pt x="189" y="47"/>
                  </a:lnTo>
                  <a:lnTo>
                    <a:pt x="185" y="44"/>
                  </a:lnTo>
                  <a:lnTo>
                    <a:pt x="179" y="44"/>
                  </a:lnTo>
                  <a:lnTo>
                    <a:pt x="179" y="44"/>
                  </a:lnTo>
                  <a:lnTo>
                    <a:pt x="175" y="47"/>
                  </a:lnTo>
                  <a:lnTo>
                    <a:pt x="175" y="47"/>
                  </a:lnTo>
                  <a:lnTo>
                    <a:pt x="175" y="54"/>
                  </a:lnTo>
                  <a:lnTo>
                    <a:pt x="172" y="61"/>
                  </a:lnTo>
                  <a:lnTo>
                    <a:pt x="172" y="61"/>
                  </a:lnTo>
                  <a:lnTo>
                    <a:pt x="168" y="64"/>
                  </a:lnTo>
                  <a:lnTo>
                    <a:pt x="165" y="67"/>
                  </a:lnTo>
                  <a:lnTo>
                    <a:pt x="165" y="67"/>
                  </a:lnTo>
                  <a:lnTo>
                    <a:pt x="165" y="74"/>
                  </a:lnTo>
                  <a:lnTo>
                    <a:pt x="165" y="77"/>
                  </a:lnTo>
                  <a:lnTo>
                    <a:pt x="172" y="81"/>
                  </a:lnTo>
                  <a:lnTo>
                    <a:pt x="172" y="81"/>
                  </a:lnTo>
                  <a:lnTo>
                    <a:pt x="168" y="98"/>
                  </a:lnTo>
                  <a:lnTo>
                    <a:pt x="165" y="98"/>
                  </a:lnTo>
                  <a:lnTo>
                    <a:pt x="165" y="98"/>
                  </a:lnTo>
                  <a:lnTo>
                    <a:pt x="165" y="88"/>
                  </a:lnTo>
                  <a:lnTo>
                    <a:pt x="165" y="88"/>
                  </a:lnTo>
                  <a:lnTo>
                    <a:pt x="155" y="84"/>
                  </a:lnTo>
                  <a:lnTo>
                    <a:pt x="155" y="84"/>
                  </a:lnTo>
                  <a:lnTo>
                    <a:pt x="152" y="77"/>
                  </a:lnTo>
                  <a:lnTo>
                    <a:pt x="152" y="71"/>
                  </a:lnTo>
                  <a:lnTo>
                    <a:pt x="152" y="71"/>
                  </a:lnTo>
                  <a:lnTo>
                    <a:pt x="155" y="71"/>
                  </a:lnTo>
                  <a:lnTo>
                    <a:pt x="158" y="71"/>
                  </a:lnTo>
                  <a:lnTo>
                    <a:pt x="158" y="71"/>
                  </a:lnTo>
                  <a:lnTo>
                    <a:pt x="155" y="51"/>
                  </a:lnTo>
                  <a:lnTo>
                    <a:pt x="155" y="51"/>
                  </a:lnTo>
                  <a:lnTo>
                    <a:pt x="148" y="51"/>
                  </a:lnTo>
                  <a:lnTo>
                    <a:pt x="148" y="51"/>
                  </a:lnTo>
                  <a:lnTo>
                    <a:pt x="148" y="61"/>
                  </a:lnTo>
                  <a:lnTo>
                    <a:pt x="148" y="61"/>
                  </a:lnTo>
                  <a:lnTo>
                    <a:pt x="145" y="57"/>
                  </a:lnTo>
                  <a:lnTo>
                    <a:pt x="142" y="54"/>
                  </a:lnTo>
                  <a:lnTo>
                    <a:pt x="142" y="57"/>
                  </a:lnTo>
                  <a:lnTo>
                    <a:pt x="142" y="57"/>
                  </a:lnTo>
                  <a:lnTo>
                    <a:pt x="135" y="57"/>
                  </a:lnTo>
                  <a:lnTo>
                    <a:pt x="135" y="67"/>
                  </a:lnTo>
                  <a:lnTo>
                    <a:pt x="138" y="67"/>
                  </a:lnTo>
                  <a:lnTo>
                    <a:pt x="138" y="67"/>
                  </a:lnTo>
                  <a:lnTo>
                    <a:pt x="142" y="71"/>
                  </a:lnTo>
                  <a:lnTo>
                    <a:pt x="142" y="71"/>
                  </a:lnTo>
                  <a:lnTo>
                    <a:pt x="138" y="77"/>
                  </a:lnTo>
                  <a:lnTo>
                    <a:pt x="138" y="84"/>
                  </a:lnTo>
                  <a:lnTo>
                    <a:pt x="138" y="84"/>
                  </a:lnTo>
                  <a:lnTo>
                    <a:pt x="142" y="84"/>
                  </a:lnTo>
                  <a:lnTo>
                    <a:pt x="145" y="91"/>
                  </a:lnTo>
                  <a:lnTo>
                    <a:pt x="145" y="91"/>
                  </a:lnTo>
                  <a:lnTo>
                    <a:pt x="145" y="91"/>
                  </a:lnTo>
                  <a:lnTo>
                    <a:pt x="152" y="91"/>
                  </a:lnTo>
                  <a:lnTo>
                    <a:pt x="152" y="91"/>
                  </a:lnTo>
                  <a:lnTo>
                    <a:pt x="152" y="94"/>
                  </a:lnTo>
                  <a:lnTo>
                    <a:pt x="148" y="98"/>
                  </a:lnTo>
                  <a:lnTo>
                    <a:pt x="148" y="98"/>
                  </a:lnTo>
                  <a:lnTo>
                    <a:pt x="155" y="101"/>
                  </a:lnTo>
                  <a:lnTo>
                    <a:pt x="155" y="101"/>
                  </a:lnTo>
                  <a:lnTo>
                    <a:pt x="148" y="121"/>
                  </a:lnTo>
                  <a:lnTo>
                    <a:pt x="148" y="121"/>
                  </a:lnTo>
                  <a:lnTo>
                    <a:pt x="138" y="121"/>
                  </a:lnTo>
                  <a:lnTo>
                    <a:pt x="138" y="124"/>
                  </a:lnTo>
                  <a:lnTo>
                    <a:pt x="138" y="124"/>
                  </a:lnTo>
                  <a:lnTo>
                    <a:pt x="145" y="128"/>
                  </a:lnTo>
                  <a:lnTo>
                    <a:pt x="138" y="128"/>
                  </a:lnTo>
                  <a:lnTo>
                    <a:pt x="125" y="131"/>
                  </a:lnTo>
                  <a:lnTo>
                    <a:pt x="125" y="131"/>
                  </a:lnTo>
                  <a:lnTo>
                    <a:pt x="128" y="135"/>
                  </a:lnTo>
                  <a:lnTo>
                    <a:pt x="131" y="135"/>
                  </a:lnTo>
                  <a:lnTo>
                    <a:pt x="131" y="135"/>
                  </a:lnTo>
                  <a:lnTo>
                    <a:pt x="131" y="141"/>
                  </a:lnTo>
                  <a:lnTo>
                    <a:pt x="131" y="141"/>
                  </a:lnTo>
                  <a:lnTo>
                    <a:pt x="118" y="148"/>
                  </a:lnTo>
                  <a:lnTo>
                    <a:pt x="118" y="148"/>
                  </a:lnTo>
                  <a:lnTo>
                    <a:pt x="118" y="151"/>
                  </a:lnTo>
                  <a:lnTo>
                    <a:pt x="118" y="155"/>
                  </a:lnTo>
                  <a:lnTo>
                    <a:pt x="118" y="155"/>
                  </a:lnTo>
                  <a:lnTo>
                    <a:pt x="128" y="151"/>
                  </a:lnTo>
                  <a:lnTo>
                    <a:pt x="138" y="151"/>
                  </a:lnTo>
                  <a:lnTo>
                    <a:pt x="138" y="151"/>
                  </a:lnTo>
                  <a:lnTo>
                    <a:pt x="142" y="155"/>
                  </a:lnTo>
                  <a:lnTo>
                    <a:pt x="142" y="155"/>
                  </a:lnTo>
                  <a:lnTo>
                    <a:pt x="148" y="155"/>
                  </a:lnTo>
                  <a:lnTo>
                    <a:pt x="148" y="155"/>
                  </a:lnTo>
                  <a:lnTo>
                    <a:pt x="148" y="148"/>
                  </a:lnTo>
                  <a:lnTo>
                    <a:pt x="148" y="145"/>
                  </a:lnTo>
                  <a:lnTo>
                    <a:pt x="148" y="141"/>
                  </a:lnTo>
                  <a:lnTo>
                    <a:pt x="148" y="141"/>
                  </a:lnTo>
                  <a:lnTo>
                    <a:pt x="158" y="138"/>
                  </a:lnTo>
                  <a:lnTo>
                    <a:pt x="158" y="138"/>
                  </a:lnTo>
                  <a:lnTo>
                    <a:pt x="168" y="131"/>
                  </a:lnTo>
                  <a:lnTo>
                    <a:pt x="168" y="131"/>
                  </a:lnTo>
                  <a:lnTo>
                    <a:pt x="172" y="135"/>
                  </a:lnTo>
                  <a:lnTo>
                    <a:pt x="172" y="135"/>
                  </a:lnTo>
                  <a:lnTo>
                    <a:pt x="152" y="148"/>
                  </a:lnTo>
                  <a:lnTo>
                    <a:pt x="152" y="148"/>
                  </a:lnTo>
                  <a:lnTo>
                    <a:pt x="152" y="158"/>
                  </a:lnTo>
                  <a:lnTo>
                    <a:pt x="152" y="158"/>
                  </a:lnTo>
                  <a:lnTo>
                    <a:pt x="148" y="158"/>
                  </a:lnTo>
                  <a:lnTo>
                    <a:pt x="148" y="158"/>
                  </a:lnTo>
                  <a:lnTo>
                    <a:pt x="145" y="165"/>
                  </a:lnTo>
                  <a:lnTo>
                    <a:pt x="145" y="172"/>
                  </a:lnTo>
                  <a:lnTo>
                    <a:pt x="145" y="172"/>
                  </a:lnTo>
                  <a:lnTo>
                    <a:pt x="138" y="178"/>
                  </a:lnTo>
                  <a:lnTo>
                    <a:pt x="138" y="178"/>
                  </a:lnTo>
                  <a:lnTo>
                    <a:pt x="138" y="175"/>
                  </a:lnTo>
                  <a:lnTo>
                    <a:pt x="138" y="172"/>
                  </a:lnTo>
                  <a:lnTo>
                    <a:pt x="138" y="172"/>
                  </a:lnTo>
                  <a:lnTo>
                    <a:pt x="131" y="172"/>
                  </a:lnTo>
                  <a:lnTo>
                    <a:pt x="131" y="172"/>
                  </a:lnTo>
                  <a:lnTo>
                    <a:pt x="125" y="175"/>
                  </a:lnTo>
                  <a:lnTo>
                    <a:pt x="121" y="182"/>
                  </a:lnTo>
                  <a:lnTo>
                    <a:pt x="121" y="182"/>
                  </a:lnTo>
                  <a:lnTo>
                    <a:pt x="118" y="182"/>
                  </a:lnTo>
                  <a:lnTo>
                    <a:pt x="118" y="178"/>
                  </a:lnTo>
                  <a:lnTo>
                    <a:pt x="118" y="178"/>
                  </a:lnTo>
                  <a:lnTo>
                    <a:pt x="101" y="185"/>
                  </a:lnTo>
                  <a:lnTo>
                    <a:pt x="101" y="185"/>
                  </a:lnTo>
                  <a:lnTo>
                    <a:pt x="101" y="188"/>
                  </a:lnTo>
                  <a:lnTo>
                    <a:pt x="101" y="192"/>
                  </a:lnTo>
                  <a:lnTo>
                    <a:pt x="108" y="192"/>
                  </a:lnTo>
                  <a:lnTo>
                    <a:pt x="108" y="192"/>
                  </a:lnTo>
                  <a:lnTo>
                    <a:pt x="108" y="198"/>
                  </a:lnTo>
                  <a:lnTo>
                    <a:pt x="108" y="198"/>
                  </a:lnTo>
                  <a:lnTo>
                    <a:pt x="115" y="198"/>
                  </a:lnTo>
                  <a:lnTo>
                    <a:pt x="115" y="198"/>
                  </a:lnTo>
                  <a:lnTo>
                    <a:pt x="118" y="195"/>
                  </a:lnTo>
                  <a:lnTo>
                    <a:pt x="118" y="192"/>
                  </a:lnTo>
                  <a:lnTo>
                    <a:pt x="118" y="192"/>
                  </a:lnTo>
                  <a:lnTo>
                    <a:pt x="121" y="188"/>
                  </a:lnTo>
                  <a:lnTo>
                    <a:pt x="125" y="188"/>
                  </a:lnTo>
                  <a:lnTo>
                    <a:pt x="125" y="188"/>
                  </a:lnTo>
                  <a:lnTo>
                    <a:pt x="135" y="178"/>
                  </a:lnTo>
                  <a:lnTo>
                    <a:pt x="138" y="178"/>
                  </a:lnTo>
                  <a:lnTo>
                    <a:pt x="138" y="178"/>
                  </a:lnTo>
                  <a:lnTo>
                    <a:pt x="135" y="188"/>
                  </a:lnTo>
                  <a:lnTo>
                    <a:pt x="135" y="198"/>
                  </a:lnTo>
                  <a:lnTo>
                    <a:pt x="135" y="198"/>
                  </a:lnTo>
                  <a:lnTo>
                    <a:pt x="128" y="202"/>
                  </a:lnTo>
                  <a:lnTo>
                    <a:pt x="128" y="202"/>
                  </a:lnTo>
                  <a:lnTo>
                    <a:pt x="125" y="212"/>
                  </a:lnTo>
                  <a:lnTo>
                    <a:pt x="125" y="222"/>
                  </a:lnTo>
                  <a:lnTo>
                    <a:pt x="125" y="222"/>
                  </a:lnTo>
                  <a:lnTo>
                    <a:pt x="118" y="225"/>
                  </a:lnTo>
                  <a:lnTo>
                    <a:pt x="118" y="225"/>
                  </a:lnTo>
                  <a:lnTo>
                    <a:pt x="125" y="232"/>
                  </a:lnTo>
                  <a:lnTo>
                    <a:pt x="125" y="232"/>
                  </a:lnTo>
                  <a:lnTo>
                    <a:pt x="125" y="229"/>
                  </a:lnTo>
                  <a:lnTo>
                    <a:pt x="128" y="229"/>
                  </a:lnTo>
                  <a:lnTo>
                    <a:pt x="128" y="229"/>
                  </a:lnTo>
                  <a:lnTo>
                    <a:pt x="131" y="222"/>
                  </a:lnTo>
                  <a:lnTo>
                    <a:pt x="131" y="219"/>
                  </a:lnTo>
                  <a:lnTo>
                    <a:pt x="135" y="215"/>
                  </a:lnTo>
                  <a:lnTo>
                    <a:pt x="135" y="215"/>
                  </a:lnTo>
                  <a:lnTo>
                    <a:pt x="138" y="202"/>
                  </a:lnTo>
                  <a:lnTo>
                    <a:pt x="138" y="202"/>
                  </a:lnTo>
                  <a:lnTo>
                    <a:pt x="148" y="202"/>
                  </a:lnTo>
                  <a:lnTo>
                    <a:pt x="148" y="202"/>
                  </a:lnTo>
                  <a:lnTo>
                    <a:pt x="148" y="195"/>
                  </a:lnTo>
                  <a:lnTo>
                    <a:pt x="148" y="195"/>
                  </a:lnTo>
                  <a:lnTo>
                    <a:pt x="148" y="198"/>
                  </a:lnTo>
                  <a:lnTo>
                    <a:pt x="152" y="198"/>
                  </a:lnTo>
                  <a:lnTo>
                    <a:pt x="152" y="198"/>
                  </a:lnTo>
                  <a:lnTo>
                    <a:pt x="152" y="198"/>
                  </a:lnTo>
                  <a:lnTo>
                    <a:pt x="155" y="195"/>
                  </a:lnTo>
                  <a:lnTo>
                    <a:pt x="155" y="192"/>
                  </a:lnTo>
                  <a:lnTo>
                    <a:pt x="155" y="192"/>
                  </a:lnTo>
                  <a:lnTo>
                    <a:pt x="155" y="192"/>
                  </a:lnTo>
                  <a:lnTo>
                    <a:pt x="155" y="198"/>
                  </a:lnTo>
                  <a:lnTo>
                    <a:pt x="155" y="198"/>
                  </a:lnTo>
                  <a:lnTo>
                    <a:pt x="155" y="198"/>
                  </a:lnTo>
                  <a:lnTo>
                    <a:pt x="155" y="198"/>
                  </a:lnTo>
                  <a:lnTo>
                    <a:pt x="155" y="202"/>
                  </a:lnTo>
                  <a:lnTo>
                    <a:pt x="155" y="202"/>
                  </a:lnTo>
                  <a:lnTo>
                    <a:pt x="158" y="202"/>
                  </a:lnTo>
                  <a:lnTo>
                    <a:pt x="158" y="202"/>
                  </a:lnTo>
                  <a:lnTo>
                    <a:pt x="158" y="202"/>
                  </a:lnTo>
                  <a:lnTo>
                    <a:pt x="162" y="202"/>
                  </a:lnTo>
                  <a:lnTo>
                    <a:pt x="162" y="202"/>
                  </a:lnTo>
                  <a:lnTo>
                    <a:pt x="162" y="198"/>
                  </a:lnTo>
                  <a:lnTo>
                    <a:pt x="162" y="202"/>
                  </a:lnTo>
                  <a:lnTo>
                    <a:pt x="165" y="205"/>
                  </a:lnTo>
                  <a:lnTo>
                    <a:pt x="165" y="205"/>
                  </a:lnTo>
                  <a:lnTo>
                    <a:pt x="165" y="219"/>
                  </a:lnTo>
                  <a:lnTo>
                    <a:pt x="165" y="232"/>
                  </a:lnTo>
                  <a:lnTo>
                    <a:pt x="165" y="232"/>
                  </a:lnTo>
                  <a:lnTo>
                    <a:pt x="158" y="235"/>
                  </a:lnTo>
                  <a:lnTo>
                    <a:pt x="152" y="242"/>
                  </a:lnTo>
                  <a:lnTo>
                    <a:pt x="152" y="242"/>
                  </a:lnTo>
                  <a:lnTo>
                    <a:pt x="152" y="249"/>
                  </a:lnTo>
                  <a:lnTo>
                    <a:pt x="152" y="249"/>
                  </a:lnTo>
                  <a:lnTo>
                    <a:pt x="142" y="256"/>
                  </a:lnTo>
                  <a:lnTo>
                    <a:pt x="135" y="259"/>
                  </a:lnTo>
                  <a:lnTo>
                    <a:pt x="135" y="259"/>
                  </a:lnTo>
                  <a:lnTo>
                    <a:pt x="135" y="269"/>
                  </a:lnTo>
                  <a:lnTo>
                    <a:pt x="135" y="282"/>
                  </a:lnTo>
                  <a:lnTo>
                    <a:pt x="138" y="286"/>
                  </a:lnTo>
                  <a:lnTo>
                    <a:pt x="138" y="286"/>
                  </a:lnTo>
                  <a:lnTo>
                    <a:pt x="142" y="272"/>
                  </a:lnTo>
                  <a:lnTo>
                    <a:pt x="145" y="272"/>
                  </a:lnTo>
                  <a:lnTo>
                    <a:pt x="145" y="272"/>
                  </a:lnTo>
                  <a:lnTo>
                    <a:pt x="145" y="272"/>
                  </a:lnTo>
                  <a:lnTo>
                    <a:pt x="148" y="272"/>
                  </a:lnTo>
                  <a:lnTo>
                    <a:pt x="148" y="272"/>
                  </a:lnTo>
                  <a:lnTo>
                    <a:pt x="155" y="293"/>
                  </a:lnTo>
                  <a:lnTo>
                    <a:pt x="162" y="293"/>
                  </a:lnTo>
                  <a:lnTo>
                    <a:pt x="162" y="293"/>
                  </a:lnTo>
                  <a:lnTo>
                    <a:pt x="165" y="279"/>
                  </a:lnTo>
                  <a:lnTo>
                    <a:pt x="168" y="279"/>
                  </a:lnTo>
                  <a:lnTo>
                    <a:pt x="168" y="279"/>
                  </a:lnTo>
                  <a:lnTo>
                    <a:pt x="172" y="286"/>
                  </a:lnTo>
                  <a:lnTo>
                    <a:pt x="172" y="286"/>
                  </a:lnTo>
                  <a:lnTo>
                    <a:pt x="185" y="289"/>
                  </a:lnTo>
                  <a:lnTo>
                    <a:pt x="185" y="286"/>
                  </a:lnTo>
                  <a:lnTo>
                    <a:pt x="185" y="286"/>
                  </a:lnTo>
                  <a:lnTo>
                    <a:pt x="192" y="286"/>
                  </a:lnTo>
                  <a:lnTo>
                    <a:pt x="199" y="286"/>
                  </a:lnTo>
                  <a:lnTo>
                    <a:pt x="199" y="286"/>
                  </a:lnTo>
                  <a:lnTo>
                    <a:pt x="202" y="282"/>
                  </a:lnTo>
                  <a:lnTo>
                    <a:pt x="202" y="282"/>
                  </a:lnTo>
                  <a:lnTo>
                    <a:pt x="209" y="286"/>
                  </a:lnTo>
                  <a:lnTo>
                    <a:pt x="209" y="286"/>
                  </a:lnTo>
                  <a:lnTo>
                    <a:pt x="209" y="286"/>
                  </a:lnTo>
                  <a:lnTo>
                    <a:pt x="209" y="286"/>
                  </a:lnTo>
                  <a:lnTo>
                    <a:pt x="209" y="286"/>
                  </a:lnTo>
                  <a:lnTo>
                    <a:pt x="209" y="286"/>
                  </a:lnTo>
                  <a:lnTo>
                    <a:pt x="209" y="286"/>
                  </a:lnTo>
                  <a:lnTo>
                    <a:pt x="209" y="286"/>
                  </a:lnTo>
                  <a:lnTo>
                    <a:pt x="209" y="286"/>
                  </a:lnTo>
                  <a:lnTo>
                    <a:pt x="212" y="286"/>
                  </a:lnTo>
                  <a:lnTo>
                    <a:pt x="212" y="286"/>
                  </a:lnTo>
                  <a:lnTo>
                    <a:pt x="205" y="293"/>
                  </a:lnTo>
                  <a:lnTo>
                    <a:pt x="205" y="293"/>
                  </a:lnTo>
                  <a:lnTo>
                    <a:pt x="199" y="296"/>
                  </a:lnTo>
                  <a:lnTo>
                    <a:pt x="199" y="296"/>
                  </a:lnTo>
                  <a:lnTo>
                    <a:pt x="195" y="303"/>
                  </a:lnTo>
                  <a:lnTo>
                    <a:pt x="192" y="306"/>
                  </a:lnTo>
                  <a:lnTo>
                    <a:pt x="192" y="306"/>
                  </a:lnTo>
                  <a:lnTo>
                    <a:pt x="189" y="306"/>
                  </a:lnTo>
                  <a:lnTo>
                    <a:pt x="185" y="309"/>
                  </a:lnTo>
                  <a:lnTo>
                    <a:pt x="185" y="309"/>
                  </a:lnTo>
                  <a:lnTo>
                    <a:pt x="185" y="319"/>
                  </a:lnTo>
                  <a:lnTo>
                    <a:pt x="189" y="329"/>
                  </a:lnTo>
                  <a:lnTo>
                    <a:pt x="195" y="346"/>
                  </a:lnTo>
                  <a:lnTo>
                    <a:pt x="195" y="346"/>
                  </a:lnTo>
                  <a:lnTo>
                    <a:pt x="202" y="343"/>
                  </a:lnTo>
                  <a:lnTo>
                    <a:pt x="202" y="343"/>
                  </a:lnTo>
                  <a:lnTo>
                    <a:pt x="209" y="343"/>
                  </a:lnTo>
                  <a:lnTo>
                    <a:pt x="209" y="343"/>
                  </a:lnTo>
                  <a:lnTo>
                    <a:pt x="209" y="350"/>
                  </a:lnTo>
                  <a:lnTo>
                    <a:pt x="209" y="350"/>
                  </a:lnTo>
                  <a:lnTo>
                    <a:pt x="205" y="353"/>
                  </a:lnTo>
                  <a:lnTo>
                    <a:pt x="205" y="356"/>
                  </a:lnTo>
                  <a:lnTo>
                    <a:pt x="205" y="356"/>
                  </a:lnTo>
                  <a:lnTo>
                    <a:pt x="199" y="356"/>
                  </a:lnTo>
                  <a:lnTo>
                    <a:pt x="199" y="356"/>
                  </a:lnTo>
                  <a:lnTo>
                    <a:pt x="202" y="363"/>
                  </a:lnTo>
                  <a:lnTo>
                    <a:pt x="199" y="363"/>
                  </a:lnTo>
                  <a:lnTo>
                    <a:pt x="199" y="363"/>
                  </a:lnTo>
                  <a:lnTo>
                    <a:pt x="192" y="377"/>
                  </a:lnTo>
                  <a:lnTo>
                    <a:pt x="189" y="393"/>
                  </a:lnTo>
                  <a:lnTo>
                    <a:pt x="189" y="393"/>
                  </a:lnTo>
                  <a:lnTo>
                    <a:pt x="182" y="393"/>
                  </a:lnTo>
                  <a:lnTo>
                    <a:pt x="179" y="393"/>
                  </a:lnTo>
                  <a:lnTo>
                    <a:pt x="179" y="393"/>
                  </a:lnTo>
                  <a:lnTo>
                    <a:pt x="172" y="397"/>
                  </a:lnTo>
                  <a:lnTo>
                    <a:pt x="162" y="397"/>
                  </a:lnTo>
                  <a:lnTo>
                    <a:pt x="162" y="397"/>
                  </a:lnTo>
                  <a:lnTo>
                    <a:pt x="158" y="393"/>
                  </a:lnTo>
                  <a:lnTo>
                    <a:pt x="158" y="390"/>
                  </a:lnTo>
                  <a:lnTo>
                    <a:pt x="158" y="390"/>
                  </a:lnTo>
                  <a:lnTo>
                    <a:pt x="138" y="393"/>
                  </a:lnTo>
                  <a:lnTo>
                    <a:pt x="138" y="390"/>
                  </a:lnTo>
                  <a:lnTo>
                    <a:pt x="138" y="390"/>
                  </a:lnTo>
                  <a:lnTo>
                    <a:pt x="142" y="387"/>
                  </a:lnTo>
                  <a:lnTo>
                    <a:pt x="138" y="383"/>
                  </a:lnTo>
                  <a:lnTo>
                    <a:pt x="138" y="383"/>
                  </a:lnTo>
                  <a:lnTo>
                    <a:pt x="135" y="387"/>
                  </a:lnTo>
                  <a:lnTo>
                    <a:pt x="135" y="387"/>
                  </a:lnTo>
                  <a:lnTo>
                    <a:pt x="135" y="380"/>
                  </a:lnTo>
                  <a:lnTo>
                    <a:pt x="135" y="380"/>
                  </a:lnTo>
                  <a:lnTo>
                    <a:pt x="121" y="377"/>
                  </a:lnTo>
                  <a:lnTo>
                    <a:pt x="121" y="377"/>
                  </a:lnTo>
                  <a:lnTo>
                    <a:pt x="121" y="380"/>
                  </a:lnTo>
                  <a:lnTo>
                    <a:pt x="118" y="380"/>
                  </a:lnTo>
                  <a:lnTo>
                    <a:pt x="118" y="380"/>
                  </a:lnTo>
                  <a:lnTo>
                    <a:pt x="118" y="390"/>
                  </a:lnTo>
                  <a:lnTo>
                    <a:pt x="118" y="390"/>
                  </a:lnTo>
                  <a:lnTo>
                    <a:pt x="121" y="393"/>
                  </a:lnTo>
                  <a:lnTo>
                    <a:pt x="125" y="397"/>
                  </a:lnTo>
                  <a:lnTo>
                    <a:pt x="125" y="400"/>
                  </a:lnTo>
                  <a:lnTo>
                    <a:pt x="118" y="403"/>
                  </a:lnTo>
                  <a:lnTo>
                    <a:pt x="118" y="403"/>
                  </a:lnTo>
                  <a:lnTo>
                    <a:pt x="115" y="410"/>
                  </a:lnTo>
                  <a:lnTo>
                    <a:pt x="115" y="410"/>
                  </a:lnTo>
                  <a:lnTo>
                    <a:pt x="105" y="410"/>
                  </a:lnTo>
                  <a:lnTo>
                    <a:pt x="105" y="410"/>
                  </a:lnTo>
                  <a:lnTo>
                    <a:pt x="101" y="414"/>
                  </a:lnTo>
                  <a:lnTo>
                    <a:pt x="98" y="417"/>
                  </a:lnTo>
                  <a:lnTo>
                    <a:pt x="108" y="420"/>
                  </a:lnTo>
                  <a:lnTo>
                    <a:pt x="128" y="417"/>
                  </a:lnTo>
                  <a:lnTo>
                    <a:pt x="128" y="417"/>
                  </a:lnTo>
                  <a:lnTo>
                    <a:pt x="128" y="424"/>
                  </a:lnTo>
                  <a:lnTo>
                    <a:pt x="128" y="424"/>
                  </a:lnTo>
                  <a:lnTo>
                    <a:pt x="128" y="424"/>
                  </a:lnTo>
                  <a:lnTo>
                    <a:pt x="128" y="424"/>
                  </a:lnTo>
                  <a:lnTo>
                    <a:pt x="128" y="427"/>
                  </a:lnTo>
                  <a:lnTo>
                    <a:pt x="128" y="430"/>
                  </a:lnTo>
                  <a:lnTo>
                    <a:pt x="125" y="430"/>
                  </a:lnTo>
                  <a:lnTo>
                    <a:pt x="125" y="430"/>
                  </a:lnTo>
                  <a:lnTo>
                    <a:pt x="121" y="440"/>
                  </a:lnTo>
                  <a:lnTo>
                    <a:pt x="125" y="454"/>
                  </a:lnTo>
                  <a:lnTo>
                    <a:pt x="125" y="454"/>
                  </a:lnTo>
                  <a:lnTo>
                    <a:pt x="121" y="454"/>
                  </a:lnTo>
                  <a:lnTo>
                    <a:pt x="121" y="454"/>
                  </a:lnTo>
                  <a:lnTo>
                    <a:pt x="121" y="454"/>
                  </a:lnTo>
                  <a:lnTo>
                    <a:pt x="111" y="461"/>
                  </a:lnTo>
                  <a:lnTo>
                    <a:pt x="111" y="461"/>
                  </a:lnTo>
                  <a:lnTo>
                    <a:pt x="98" y="464"/>
                  </a:lnTo>
                  <a:lnTo>
                    <a:pt x="84" y="464"/>
                  </a:lnTo>
                  <a:lnTo>
                    <a:pt x="61" y="467"/>
                  </a:lnTo>
                  <a:lnTo>
                    <a:pt x="61" y="467"/>
                  </a:lnTo>
                  <a:lnTo>
                    <a:pt x="64" y="481"/>
                  </a:lnTo>
                  <a:lnTo>
                    <a:pt x="64" y="481"/>
                  </a:lnTo>
                  <a:lnTo>
                    <a:pt x="61" y="481"/>
                  </a:lnTo>
                  <a:lnTo>
                    <a:pt x="61" y="481"/>
                  </a:lnTo>
                  <a:lnTo>
                    <a:pt x="61" y="481"/>
                  </a:lnTo>
                  <a:lnTo>
                    <a:pt x="61" y="481"/>
                  </a:lnTo>
                  <a:lnTo>
                    <a:pt x="58" y="481"/>
                  </a:lnTo>
                  <a:lnTo>
                    <a:pt x="58" y="481"/>
                  </a:lnTo>
                  <a:lnTo>
                    <a:pt x="58" y="484"/>
                  </a:lnTo>
                  <a:lnTo>
                    <a:pt x="58" y="484"/>
                  </a:lnTo>
                  <a:lnTo>
                    <a:pt x="68" y="487"/>
                  </a:lnTo>
                  <a:lnTo>
                    <a:pt x="68" y="487"/>
                  </a:lnTo>
                  <a:lnTo>
                    <a:pt x="64" y="491"/>
                  </a:lnTo>
                  <a:lnTo>
                    <a:pt x="64" y="491"/>
                  </a:lnTo>
                  <a:lnTo>
                    <a:pt x="61" y="491"/>
                  </a:lnTo>
                  <a:lnTo>
                    <a:pt x="61" y="491"/>
                  </a:lnTo>
                  <a:lnTo>
                    <a:pt x="64" y="494"/>
                  </a:lnTo>
                  <a:lnTo>
                    <a:pt x="64" y="494"/>
                  </a:lnTo>
                  <a:lnTo>
                    <a:pt x="78" y="494"/>
                  </a:lnTo>
                  <a:lnTo>
                    <a:pt x="78" y="494"/>
                  </a:lnTo>
                  <a:lnTo>
                    <a:pt x="94" y="494"/>
                  </a:lnTo>
                  <a:lnTo>
                    <a:pt x="94" y="494"/>
                  </a:lnTo>
                  <a:lnTo>
                    <a:pt x="101" y="504"/>
                  </a:lnTo>
                  <a:lnTo>
                    <a:pt x="101" y="504"/>
                  </a:lnTo>
                  <a:lnTo>
                    <a:pt x="94" y="508"/>
                  </a:lnTo>
                  <a:lnTo>
                    <a:pt x="94" y="511"/>
                  </a:lnTo>
                  <a:lnTo>
                    <a:pt x="108" y="518"/>
                  </a:lnTo>
                  <a:lnTo>
                    <a:pt x="108" y="518"/>
                  </a:lnTo>
                  <a:lnTo>
                    <a:pt x="111" y="511"/>
                  </a:lnTo>
                  <a:lnTo>
                    <a:pt x="111" y="511"/>
                  </a:lnTo>
                  <a:lnTo>
                    <a:pt x="115" y="511"/>
                  </a:lnTo>
                  <a:lnTo>
                    <a:pt x="118" y="514"/>
                  </a:lnTo>
                  <a:lnTo>
                    <a:pt x="118" y="514"/>
                  </a:lnTo>
                  <a:lnTo>
                    <a:pt x="121" y="521"/>
                  </a:lnTo>
                  <a:lnTo>
                    <a:pt x="125" y="531"/>
                  </a:lnTo>
                  <a:lnTo>
                    <a:pt x="125" y="531"/>
                  </a:lnTo>
                  <a:lnTo>
                    <a:pt x="131" y="534"/>
                  </a:lnTo>
                  <a:lnTo>
                    <a:pt x="135" y="534"/>
                  </a:lnTo>
                  <a:lnTo>
                    <a:pt x="148" y="531"/>
                  </a:lnTo>
                  <a:lnTo>
                    <a:pt x="148" y="528"/>
                  </a:lnTo>
                  <a:lnTo>
                    <a:pt x="148" y="528"/>
                  </a:lnTo>
                  <a:lnTo>
                    <a:pt x="155" y="528"/>
                  </a:lnTo>
                  <a:lnTo>
                    <a:pt x="162" y="528"/>
                  </a:lnTo>
                  <a:lnTo>
                    <a:pt x="162" y="528"/>
                  </a:lnTo>
                  <a:lnTo>
                    <a:pt x="172" y="524"/>
                  </a:lnTo>
                  <a:lnTo>
                    <a:pt x="172" y="524"/>
                  </a:lnTo>
                  <a:lnTo>
                    <a:pt x="165" y="531"/>
                  </a:lnTo>
                  <a:lnTo>
                    <a:pt x="165" y="531"/>
                  </a:lnTo>
                  <a:lnTo>
                    <a:pt x="152" y="538"/>
                  </a:lnTo>
                  <a:lnTo>
                    <a:pt x="148" y="538"/>
                  </a:lnTo>
                  <a:lnTo>
                    <a:pt x="142" y="545"/>
                  </a:lnTo>
                  <a:lnTo>
                    <a:pt x="142" y="548"/>
                  </a:lnTo>
                  <a:lnTo>
                    <a:pt x="142" y="548"/>
                  </a:lnTo>
                  <a:lnTo>
                    <a:pt x="138" y="548"/>
                  </a:lnTo>
                  <a:lnTo>
                    <a:pt x="131" y="548"/>
                  </a:lnTo>
                  <a:lnTo>
                    <a:pt x="121" y="541"/>
                  </a:lnTo>
                  <a:lnTo>
                    <a:pt x="111" y="538"/>
                  </a:lnTo>
                  <a:lnTo>
                    <a:pt x="105" y="534"/>
                  </a:lnTo>
                  <a:lnTo>
                    <a:pt x="98" y="534"/>
                  </a:lnTo>
                  <a:lnTo>
                    <a:pt x="98" y="534"/>
                  </a:lnTo>
                  <a:lnTo>
                    <a:pt x="88" y="541"/>
                  </a:lnTo>
                  <a:lnTo>
                    <a:pt x="88" y="545"/>
                  </a:lnTo>
                  <a:lnTo>
                    <a:pt x="88" y="545"/>
                  </a:lnTo>
                  <a:lnTo>
                    <a:pt x="71" y="545"/>
                  </a:lnTo>
                  <a:lnTo>
                    <a:pt x="71" y="545"/>
                  </a:lnTo>
                  <a:lnTo>
                    <a:pt x="68" y="555"/>
                  </a:lnTo>
                  <a:lnTo>
                    <a:pt x="64" y="565"/>
                  </a:lnTo>
                  <a:lnTo>
                    <a:pt x="64" y="565"/>
                  </a:lnTo>
                  <a:lnTo>
                    <a:pt x="47" y="571"/>
                  </a:lnTo>
                  <a:lnTo>
                    <a:pt x="47" y="571"/>
                  </a:lnTo>
                  <a:lnTo>
                    <a:pt x="44" y="568"/>
                  </a:lnTo>
                  <a:lnTo>
                    <a:pt x="41" y="568"/>
                  </a:lnTo>
                  <a:lnTo>
                    <a:pt x="41" y="568"/>
                  </a:lnTo>
                  <a:lnTo>
                    <a:pt x="37" y="575"/>
                  </a:lnTo>
                  <a:lnTo>
                    <a:pt x="34" y="578"/>
                  </a:lnTo>
                  <a:lnTo>
                    <a:pt x="27" y="582"/>
                  </a:lnTo>
                  <a:lnTo>
                    <a:pt x="27" y="582"/>
                  </a:lnTo>
                  <a:lnTo>
                    <a:pt x="14" y="582"/>
                  </a:lnTo>
                  <a:lnTo>
                    <a:pt x="0" y="585"/>
                  </a:lnTo>
                  <a:lnTo>
                    <a:pt x="0" y="585"/>
                  </a:lnTo>
                  <a:lnTo>
                    <a:pt x="0" y="592"/>
                  </a:lnTo>
                  <a:lnTo>
                    <a:pt x="0" y="595"/>
                  </a:lnTo>
                  <a:lnTo>
                    <a:pt x="0" y="595"/>
                  </a:lnTo>
                  <a:lnTo>
                    <a:pt x="14" y="595"/>
                  </a:lnTo>
                  <a:lnTo>
                    <a:pt x="14" y="595"/>
                  </a:lnTo>
                  <a:lnTo>
                    <a:pt x="17" y="595"/>
                  </a:lnTo>
                  <a:lnTo>
                    <a:pt x="17" y="598"/>
                  </a:lnTo>
                  <a:lnTo>
                    <a:pt x="17" y="598"/>
                  </a:lnTo>
                  <a:lnTo>
                    <a:pt x="17" y="605"/>
                  </a:lnTo>
                  <a:lnTo>
                    <a:pt x="17" y="605"/>
                  </a:lnTo>
                  <a:lnTo>
                    <a:pt x="27" y="605"/>
                  </a:lnTo>
                  <a:lnTo>
                    <a:pt x="27" y="602"/>
                  </a:lnTo>
                  <a:lnTo>
                    <a:pt x="27" y="602"/>
                  </a:lnTo>
                  <a:lnTo>
                    <a:pt x="47" y="592"/>
                  </a:lnTo>
                  <a:lnTo>
                    <a:pt x="58" y="592"/>
                  </a:lnTo>
                  <a:lnTo>
                    <a:pt x="68" y="592"/>
                  </a:lnTo>
                  <a:lnTo>
                    <a:pt x="68" y="592"/>
                  </a:lnTo>
                  <a:lnTo>
                    <a:pt x="74" y="598"/>
                  </a:lnTo>
                  <a:lnTo>
                    <a:pt x="78" y="605"/>
                  </a:lnTo>
                  <a:lnTo>
                    <a:pt x="78" y="605"/>
                  </a:lnTo>
                  <a:lnTo>
                    <a:pt x="81" y="605"/>
                  </a:lnTo>
                  <a:lnTo>
                    <a:pt x="81" y="602"/>
                  </a:lnTo>
                  <a:lnTo>
                    <a:pt x="88" y="602"/>
                  </a:lnTo>
                  <a:lnTo>
                    <a:pt x="88" y="602"/>
                  </a:lnTo>
                  <a:lnTo>
                    <a:pt x="91" y="612"/>
                  </a:lnTo>
                  <a:lnTo>
                    <a:pt x="91" y="612"/>
                  </a:lnTo>
                  <a:lnTo>
                    <a:pt x="98" y="612"/>
                  </a:lnTo>
                  <a:lnTo>
                    <a:pt x="98" y="612"/>
                  </a:lnTo>
                  <a:lnTo>
                    <a:pt x="101" y="605"/>
                  </a:lnTo>
                  <a:lnTo>
                    <a:pt x="101" y="605"/>
                  </a:lnTo>
                  <a:lnTo>
                    <a:pt x="105" y="605"/>
                  </a:lnTo>
                  <a:lnTo>
                    <a:pt x="105" y="605"/>
                  </a:lnTo>
                  <a:lnTo>
                    <a:pt x="108" y="598"/>
                  </a:lnTo>
                  <a:lnTo>
                    <a:pt x="108" y="595"/>
                  </a:lnTo>
                  <a:lnTo>
                    <a:pt x="108" y="588"/>
                  </a:lnTo>
                  <a:lnTo>
                    <a:pt x="115" y="585"/>
                  </a:lnTo>
                  <a:lnTo>
                    <a:pt x="115" y="585"/>
                  </a:lnTo>
                  <a:lnTo>
                    <a:pt x="131" y="585"/>
                  </a:lnTo>
                  <a:lnTo>
                    <a:pt x="142" y="588"/>
                  </a:lnTo>
                  <a:lnTo>
                    <a:pt x="148" y="595"/>
                  </a:lnTo>
                  <a:lnTo>
                    <a:pt x="155" y="605"/>
                  </a:lnTo>
                  <a:lnTo>
                    <a:pt x="155" y="605"/>
                  </a:lnTo>
                  <a:lnTo>
                    <a:pt x="165" y="602"/>
                  </a:lnTo>
                  <a:lnTo>
                    <a:pt x="165" y="602"/>
                  </a:lnTo>
                  <a:lnTo>
                    <a:pt x="168" y="605"/>
                  </a:lnTo>
                  <a:lnTo>
                    <a:pt x="168" y="608"/>
                  </a:lnTo>
                  <a:lnTo>
                    <a:pt x="168" y="608"/>
                  </a:lnTo>
                  <a:lnTo>
                    <a:pt x="182" y="608"/>
                  </a:lnTo>
                  <a:lnTo>
                    <a:pt x="182" y="608"/>
                  </a:lnTo>
                  <a:lnTo>
                    <a:pt x="179" y="602"/>
                  </a:lnTo>
                  <a:lnTo>
                    <a:pt x="179" y="602"/>
                  </a:lnTo>
                  <a:lnTo>
                    <a:pt x="192" y="602"/>
                  </a:lnTo>
                  <a:lnTo>
                    <a:pt x="202" y="605"/>
                  </a:lnTo>
                  <a:lnTo>
                    <a:pt x="202" y="605"/>
                  </a:lnTo>
                  <a:lnTo>
                    <a:pt x="205" y="602"/>
                  </a:lnTo>
                  <a:lnTo>
                    <a:pt x="212" y="602"/>
                  </a:lnTo>
                  <a:lnTo>
                    <a:pt x="212" y="602"/>
                  </a:lnTo>
                  <a:lnTo>
                    <a:pt x="215" y="605"/>
                  </a:lnTo>
                  <a:lnTo>
                    <a:pt x="219" y="608"/>
                  </a:lnTo>
                  <a:lnTo>
                    <a:pt x="219" y="608"/>
                  </a:lnTo>
                  <a:lnTo>
                    <a:pt x="222" y="608"/>
                  </a:lnTo>
                  <a:lnTo>
                    <a:pt x="226" y="605"/>
                  </a:lnTo>
                  <a:lnTo>
                    <a:pt x="226" y="605"/>
                  </a:lnTo>
                  <a:lnTo>
                    <a:pt x="229" y="615"/>
                  </a:lnTo>
                  <a:lnTo>
                    <a:pt x="229" y="615"/>
                  </a:lnTo>
                  <a:lnTo>
                    <a:pt x="246" y="612"/>
                  </a:lnTo>
                  <a:lnTo>
                    <a:pt x="263" y="615"/>
                  </a:lnTo>
                  <a:lnTo>
                    <a:pt x="263" y="615"/>
                  </a:lnTo>
                  <a:lnTo>
                    <a:pt x="276" y="625"/>
                  </a:lnTo>
                  <a:lnTo>
                    <a:pt x="276" y="625"/>
                  </a:lnTo>
                  <a:lnTo>
                    <a:pt x="283" y="622"/>
                  </a:lnTo>
                  <a:lnTo>
                    <a:pt x="289" y="619"/>
                  </a:lnTo>
                  <a:lnTo>
                    <a:pt x="310" y="615"/>
                  </a:lnTo>
                  <a:lnTo>
                    <a:pt x="310" y="615"/>
                  </a:lnTo>
                  <a:lnTo>
                    <a:pt x="316" y="608"/>
                  </a:lnTo>
                  <a:lnTo>
                    <a:pt x="316" y="608"/>
                  </a:lnTo>
                  <a:lnTo>
                    <a:pt x="326" y="608"/>
                  </a:lnTo>
                  <a:lnTo>
                    <a:pt x="333" y="605"/>
                  </a:lnTo>
                  <a:lnTo>
                    <a:pt x="333" y="605"/>
                  </a:lnTo>
                  <a:lnTo>
                    <a:pt x="333" y="602"/>
                  </a:lnTo>
                  <a:lnTo>
                    <a:pt x="336" y="595"/>
                  </a:lnTo>
                  <a:lnTo>
                    <a:pt x="336" y="595"/>
                  </a:lnTo>
                  <a:lnTo>
                    <a:pt x="336" y="595"/>
                  </a:lnTo>
                  <a:lnTo>
                    <a:pt x="336" y="592"/>
                  </a:lnTo>
                  <a:lnTo>
                    <a:pt x="336" y="592"/>
                  </a:lnTo>
                  <a:lnTo>
                    <a:pt x="340" y="592"/>
                  </a:lnTo>
                  <a:lnTo>
                    <a:pt x="340" y="592"/>
                  </a:lnTo>
                  <a:lnTo>
                    <a:pt x="340" y="585"/>
                  </a:lnTo>
                  <a:lnTo>
                    <a:pt x="340" y="585"/>
                  </a:lnTo>
                  <a:lnTo>
                    <a:pt x="326" y="588"/>
                  </a:lnTo>
                  <a:lnTo>
                    <a:pt x="316" y="585"/>
                  </a:lnTo>
                  <a:lnTo>
                    <a:pt x="316" y="582"/>
                  </a:lnTo>
                  <a:lnTo>
                    <a:pt x="316" y="582"/>
                  </a:lnTo>
                  <a:lnTo>
                    <a:pt x="310" y="578"/>
                  </a:lnTo>
                  <a:lnTo>
                    <a:pt x="310" y="578"/>
                  </a:lnTo>
                  <a:lnTo>
                    <a:pt x="293" y="571"/>
                  </a:lnTo>
                  <a:lnTo>
                    <a:pt x="293" y="571"/>
                  </a:lnTo>
                  <a:lnTo>
                    <a:pt x="313" y="571"/>
                  </a:lnTo>
                  <a:lnTo>
                    <a:pt x="313" y="571"/>
                  </a:lnTo>
                  <a:lnTo>
                    <a:pt x="323" y="565"/>
                  </a:lnTo>
                  <a:lnTo>
                    <a:pt x="323" y="565"/>
                  </a:lnTo>
                  <a:lnTo>
                    <a:pt x="323" y="558"/>
                  </a:lnTo>
                  <a:lnTo>
                    <a:pt x="323" y="558"/>
                  </a:lnTo>
                  <a:lnTo>
                    <a:pt x="330" y="558"/>
                  </a:lnTo>
                  <a:lnTo>
                    <a:pt x="336" y="558"/>
                  </a:lnTo>
                  <a:lnTo>
                    <a:pt x="340" y="555"/>
                  </a:lnTo>
                  <a:lnTo>
                    <a:pt x="340" y="555"/>
                  </a:lnTo>
                  <a:lnTo>
                    <a:pt x="343" y="551"/>
                  </a:lnTo>
                  <a:lnTo>
                    <a:pt x="340" y="551"/>
                  </a:lnTo>
                  <a:lnTo>
                    <a:pt x="340" y="551"/>
                  </a:lnTo>
                  <a:lnTo>
                    <a:pt x="353" y="545"/>
                  </a:lnTo>
                  <a:lnTo>
                    <a:pt x="360" y="538"/>
                  </a:lnTo>
                  <a:lnTo>
                    <a:pt x="360" y="538"/>
                  </a:lnTo>
                  <a:lnTo>
                    <a:pt x="363" y="531"/>
                  </a:lnTo>
                  <a:lnTo>
                    <a:pt x="363" y="528"/>
                  </a:lnTo>
                  <a:lnTo>
                    <a:pt x="363" y="528"/>
                  </a:lnTo>
                  <a:lnTo>
                    <a:pt x="370" y="511"/>
                  </a:lnTo>
                  <a:lnTo>
                    <a:pt x="373" y="504"/>
                  </a:lnTo>
                  <a:lnTo>
                    <a:pt x="373" y="494"/>
                  </a:lnTo>
                  <a:lnTo>
                    <a:pt x="373" y="494"/>
                  </a:lnTo>
                  <a:close/>
                  <a:moveTo>
                    <a:pt x="148" y="195"/>
                  </a:moveTo>
                  <a:lnTo>
                    <a:pt x="148" y="195"/>
                  </a:lnTo>
                  <a:lnTo>
                    <a:pt x="148" y="192"/>
                  </a:lnTo>
                  <a:lnTo>
                    <a:pt x="148" y="185"/>
                  </a:lnTo>
                  <a:lnTo>
                    <a:pt x="148" y="185"/>
                  </a:lnTo>
                  <a:lnTo>
                    <a:pt x="152" y="185"/>
                  </a:lnTo>
                  <a:lnTo>
                    <a:pt x="152" y="185"/>
                  </a:lnTo>
                  <a:lnTo>
                    <a:pt x="148" y="195"/>
                  </a:lnTo>
                  <a:lnTo>
                    <a:pt x="148" y="195"/>
                  </a:lnTo>
                  <a:close/>
                  <a:moveTo>
                    <a:pt x="172" y="192"/>
                  </a:moveTo>
                  <a:lnTo>
                    <a:pt x="172" y="192"/>
                  </a:lnTo>
                  <a:lnTo>
                    <a:pt x="168" y="195"/>
                  </a:lnTo>
                  <a:lnTo>
                    <a:pt x="165" y="195"/>
                  </a:lnTo>
                  <a:lnTo>
                    <a:pt x="165" y="192"/>
                  </a:lnTo>
                  <a:lnTo>
                    <a:pt x="165" y="192"/>
                  </a:lnTo>
                  <a:lnTo>
                    <a:pt x="172" y="185"/>
                  </a:lnTo>
                  <a:lnTo>
                    <a:pt x="172" y="185"/>
                  </a:lnTo>
                  <a:lnTo>
                    <a:pt x="172" y="192"/>
                  </a:lnTo>
                  <a:lnTo>
                    <a:pt x="172" y="192"/>
                  </a:lnTo>
                  <a:close/>
                  <a:moveTo>
                    <a:pt x="199" y="47"/>
                  </a:moveTo>
                  <a:lnTo>
                    <a:pt x="199" y="47"/>
                  </a:lnTo>
                  <a:lnTo>
                    <a:pt x="199" y="44"/>
                  </a:lnTo>
                  <a:lnTo>
                    <a:pt x="202" y="44"/>
                  </a:lnTo>
                  <a:lnTo>
                    <a:pt x="202" y="44"/>
                  </a:lnTo>
                  <a:lnTo>
                    <a:pt x="202" y="47"/>
                  </a:lnTo>
                  <a:lnTo>
                    <a:pt x="199" y="47"/>
                  </a:lnTo>
                  <a:lnTo>
                    <a:pt x="199" y="47"/>
                  </a:lnTo>
                  <a:close/>
                  <a:moveTo>
                    <a:pt x="165" y="524"/>
                  </a:moveTo>
                  <a:lnTo>
                    <a:pt x="165" y="524"/>
                  </a:lnTo>
                  <a:lnTo>
                    <a:pt x="165" y="524"/>
                  </a:lnTo>
                  <a:lnTo>
                    <a:pt x="165" y="524"/>
                  </a:lnTo>
                  <a:lnTo>
                    <a:pt x="165" y="524"/>
                  </a:lnTo>
                  <a:lnTo>
                    <a:pt x="165" y="524"/>
                  </a:lnTo>
                  <a:close/>
                  <a:moveTo>
                    <a:pt x="212" y="279"/>
                  </a:moveTo>
                  <a:lnTo>
                    <a:pt x="212" y="279"/>
                  </a:lnTo>
                  <a:lnTo>
                    <a:pt x="209" y="282"/>
                  </a:lnTo>
                  <a:lnTo>
                    <a:pt x="209" y="282"/>
                  </a:lnTo>
                  <a:lnTo>
                    <a:pt x="212" y="279"/>
                  </a:lnTo>
                  <a:lnTo>
                    <a:pt x="212" y="279"/>
                  </a:lnTo>
                  <a:close/>
                  <a:moveTo>
                    <a:pt x="215" y="615"/>
                  </a:moveTo>
                  <a:lnTo>
                    <a:pt x="215" y="615"/>
                  </a:lnTo>
                  <a:lnTo>
                    <a:pt x="205" y="619"/>
                  </a:lnTo>
                  <a:lnTo>
                    <a:pt x="205" y="619"/>
                  </a:lnTo>
                  <a:lnTo>
                    <a:pt x="199" y="608"/>
                  </a:lnTo>
                  <a:lnTo>
                    <a:pt x="199" y="608"/>
                  </a:lnTo>
                  <a:lnTo>
                    <a:pt x="199" y="605"/>
                  </a:lnTo>
                  <a:lnTo>
                    <a:pt x="199" y="605"/>
                  </a:lnTo>
                  <a:lnTo>
                    <a:pt x="212" y="605"/>
                  </a:lnTo>
                  <a:lnTo>
                    <a:pt x="212" y="608"/>
                  </a:lnTo>
                  <a:lnTo>
                    <a:pt x="212" y="608"/>
                  </a:lnTo>
                  <a:lnTo>
                    <a:pt x="215" y="608"/>
                  </a:lnTo>
                  <a:lnTo>
                    <a:pt x="215" y="612"/>
                  </a:lnTo>
                  <a:lnTo>
                    <a:pt x="215" y="615"/>
                  </a:lnTo>
                  <a:lnTo>
                    <a:pt x="215" y="615"/>
                  </a:lnTo>
                  <a:close/>
                  <a:moveTo>
                    <a:pt x="155" y="306"/>
                  </a:moveTo>
                  <a:lnTo>
                    <a:pt x="155" y="306"/>
                  </a:lnTo>
                  <a:lnTo>
                    <a:pt x="155" y="313"/>
                  </a:lnTo>
                  <a:lnTo>
                    <a:pt x="155" y="316"/>
                  </a:lnTo>
                  <a:lnTo>
                    <a:pt x="155" y="316"/>
                  </a:lnTo>
                  <a:lnTo>
                    <a:pt x="152" y="323"/>
                  </a:lnTo>
                  <a:lnTo>
                    <a:pt x="145" y="329"/>
                  </a:lnTo>
                  <a:lnTo>
                    <a:pt x="145" y="329"/>
                  </a:lnTo>
                  <a:lnTo>
                    <a:pt x="138" y="329"/>
                  </a:lnTo>
                  <a:lnTo>
                    <a:pt x="131" y="329"/>
                  </a:lnTo>
                  <a:lnTo>
                    <a:pt x="128" y="323"/>
                  </a:lnTo>
                  <a:lnTo>
                    <a:pt x="135" y="316"/>
                  </a:lnTo>
                  <a:lnTo>
                    <a:pt x="135" y="316"/>
                  </a:lnTo>
                  <a:lnTo>
                    <a:pt x="138" y="313"/>
                  </a:lnTo>
                  <a:lnTo>
                    <a:pt x="145" y="313"/>
                  </a:lnTo>
                  <a:lnTo>
                    <a:pt x="145" y="313"/>
                  </a:lnTo>
                  <a:lnTo>
                    <a:pt x="148" y="306"/>
                  </a:lnTo>
                  <a:lnTo>
                    <a:pt x="148" y="306"/>
                  </a:lnTo>
                  <a:lnTo>
                    <a:pt x="155" y="306"/>
                  </a:lnTo>
                  <a:lnTo>
                    <a:pt x="155" y="306"/>
                  </a:lnTo>
                  <a:close/>
                </a:path>
              </a:pathLst>
            </a:custGeom>
            <a:solidFill>
              <a:srgbClr val="C0C0C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EYInterstate" pitchFamily="2" charset="0"/>
                <a:cs typeface="Arial" charset="0"/>
              </a:endParaRPr>
            </a:p>
          </p:txBody>
        </p:sp>
        <p:sp>
          <p:nvSpPr>
            <p:cNvPr id="48" name="Freeform 62"/>
            <p:cNvSpPr>
              <a:spLocks noEditPoints="1"/>
            </p:cNvSpPr>
            <p:nvPr/>
          </p:nvSpPr>
          <p:spPr bwMode="auto">
            <a:xfrm>
              <a:off x="2857" y="2090"/>
              <a:ext cx="289" cy="239"/>
            </a:xfrm>
            <a:custGeom>
              <a:avLst/>
              <a:gdLst/>
              <a:ahLst/>
              <a:cxnLst>
                <a:cxn ang="0">
                  <a:pos x="60" y="198"/>
                </a:cxn>
                <a:cxn ang="0">
                  <a:pos x="60" y="175"/>
                </a:cxn>
                <a:cxn ang="0">
                  <a:pos x="77" y="151"/>
                </a:cxn>
                <a:cxn ang="0">
                  <a:pos x="74" y="138"/>
                </a:cxn>
                <a:cxn ang="0">
                  <a:pos x="90" y="121"/>
                </a:cxn>
                <a:cxn ang="0">
                  <a:pos x="104" y="121"/>
                </a:cxn>
                <a:cxn ang="0">
                  <a:pos x="117" y="111"/>
                </a:cxn>
                <a:cxn ang="0">
                  <a:pos x="94" y="81"/>
                </a:cxn>
                <a:cxn ang="0">
                  <a:pos x="77" y="50"/>
                </a:cxn>
                <a:cxn ang="0">
                  <a:pos x="57" y="77"/>
                </a:cxn>
                <a:cxn ang="0">
                  <a:pos x="43" y="64"/>
                </a:cxn>
                <a:cxn ang="0">
                  <a:pos x="60" y="47"/>
                </a:cxn>
                <a:cxn ang="0">
                  <a:pos x="87" y="47"/>
                </a:cxn>
                <a:cxn ang="0">
                  <a:pos x="100" y="54"/>
                </a:cxn>
                <a:cxn ang="0">
                  <a:pos x="114" y="17"/>
                </a:cxn>
                <a:cxn ang="0">
                  <a:pos x="94" y="10"/>
                </a:cxn>
                <a:cxn ang="0">
                  <a:pos x="70" y="34"/>
                </a:cxn>
                <a:cxn ang="0">
                  <a:pos x="23" y="44"/>
                </a:cxn>
                <a:cxn ang="0">
                  <a:pos x="30" y="74"/>
                </a:cxn>
                <a:cxn ang="0">
                  <a:pos x="40" y="67"/>
                </a:cxn>
                <a:cxn ang="0">
                  <a:pos x="30" y="77"/>
                </a:cxn>
                <a:cxn ang="0">
                  <a:pos x="13" y="71"/>
                </a:cxn>
                <a:cxn ang="0">
                  <a:pos x="13" y="87"/>
                </a:cxn>
                <a:cxn ang="0">
                  <a:pos x="6" y="114"/>
                </a:cxn>
                <a:cxn ang="0">
                  <a:pos x="10" y="131"/>
                </a:cxn>
                <a:cxn ang="0">
                  <a:pos x="3" y="161"/>
                </a:cxn>
                <a:cxn ang="0">
                  <a:pos x="20" y="165"/>
                </a:cxn>
                <a:cxn ang="0">
                  <a:pos x="13" y="202"/>
                </a:cxn>
                <a:cxn ang="0">
                  <a:pos x="53" y="212"/>
                </a:cxn>
                <a:cxn ang="0">
                  <a:pos x="10" y="111"/>
                </a:cxn>
                <a:cxn ang="0">
                  <a:pos x="100" y="114"/>
                </a:cxn>
                <a:cxn ang="0">
                  <a:pos x="111" y="242"/>
                </a:cxn>
                <a:cxn ang="0">
                  <a:pos x="117" y="242"/>
                </a:cxn>
                <a:cxn ang="0">
                  <a:pos x="107" y="222"/>
                </a:cxn>
                <a:cxn ang="0">
                  <a:pos x="137" y="229"/>
                </a:cxn>
                <a:cxn ang="0">
                  <a:pos x="147" y="215"/>
                </a:cxn>
                <a:cxn ang="0">
                  <a:pos x="154" y="222"/>
                </a:cxn>
                <a:cxn ang="0">
                  <a:pos x="87" y="219"/>
                </a:cxn>
                <a:cxn ang="0">
                  <a:pos x="107" y="198"/>
                </a:cxn>
                <a:cxn ang="0">
                  <a:pos x="107" y="212"/>
                </a:cxn>
                <a:cxn ang="0">
                  <a:pos x="107" y="198"/>
                </a:cxn>
                <a:cxn ang="0">
                  <a:pos x="285" y="219"/>
                </a:cxn>
                <a:cxn ang="0">
                  <a:pos x="80" y="158"/>
                </a:cxn>
                <a:cxn ang="0">
                  <a:pos x="67" y="165"/>
                </a:cxn>
                <a:cxn ang="0">
                  <a:pos x="90" y="198"/>
                </a:cxn>
                <a:cxn ang="0">
                  <a:pos x="104" y="168"/>
                </a:cxn>
                <a:cxn ang="0">
                  <a:pos x="80" y="158"/>
                </a:cxn>
                <a:cxn ang="0">
                  <a:pos x="158" y="155"/>
                </a:cxn>
                <a:cxn ang="0">
                  <a:pos x="100" y="145"/>
                </a:cxn>
                <a:cxn ang="0">
                  <a:pos x="164" y="134"/>
                </a:cxn>
                <a:cxn ang="0">
                  <a:pos x="154" y="161"/>
                </a:cxn>
                <a:cxn ang="0">
                  <a:pos x="131" y="134"/>
                </a:cxn>
                <a:cxn ang="0">
                  <a:pos x="131" y="155"/>
                </a:cxn>
                <a:cxn ang="0">
                  <a:pos x="121" y="188"/>
                </a:cxn>
                <a:cxn ang="0">
                  <a:pos x="151" y="212"/>
                </a:cxn>
                <a:cxn ang="0">
                  <a:pos x="164" y="219"/>
                </a:cxn>
                <a:cxn ang="0">
                  <a:pos x="168" y="208"/>
                </a:cxn>
                <a:cxn ang="0">
                  <a:pos x="164" y="195"/>
                </a:cxn>
                <a:cxn ang="0">
                  <a:pos x="164" y="175"/>
                </a:cxn>
                <a:cxn ang="0">
                  <a:pos x="168" y="128"/>
                </a:cxn>
              </a:cxnLst>
              <a:rect l="0" t="0" r="r" b="b"/>
              <a:pathLst>
                <a:path w="289" h="255">
                  <a:moveTo>
                    <a:pt x="53" y="212"/>
                  </a:moveTo>
                  <a:lnTo>
                    <a:pt x="53" y="208"/>
                  </a:lnTo>
                  <a:lnTo>
                    <a:pt x="53" y="208"/>
                  </a:lnTo>
                  <a:lnTo>
                    <a:pt x="70" y="212"/>
                  </a:lnTo>
                  <a:lnTo>
                    <a:pt x="70" y="212"/>
                  </a:lnTo>
                  <a:lnTo>
                    <a:pt x="67" y="198"/>
                  </a:lnTo>
                  <a:lnTo>
                    <a:pt x="60" y="198"/>
                  </a:lnTo>
                  <a:lnTo>
                    <a:pt x="53" y="198"/>
                  </a:lnTo>
                  <a:lnTo>
                    <a:pt x="53" y="198"/>
                  </a:lnTo>
                  <a:lnTo>
                    <a:pt x="50" y="192"/>
                  </a:lnTo>
                  <a:lnTo>
                    <a:pt x="50" y="192"/>
                  </a:lnTo>
                  <a:lnTo>
                    <a:pt x="60" y="188"/>
                  </a:lnTo>
                  <a:lnTo>
                    <a:pt x="60" y="188"/>
                  </a:lnTo>
                  <a:lnTo>
                    <a:pt x="60" y="175"/>
                  </a:lnTo>
                  <a:lnTo>
                    <a:pt x="60" y="161"/>
                  </a:lnTo>
                  <a:lnTo>
                    <a:pt x="60" y="161"/>
                  </a:lnTo>
                  <a:lnTo>
                    <a:pt x="67" y="161"/>
                  </a:lnTo>
                  <a:lnTo>
                    <a:pt x="67" y="161"/>
                  </a:lnTo>
                  <a:lnTo>
                    <a:pt x="67" y="151"/>
                  </a:lnTo>
                  <a:lnTo>
                    <a:pt x="67" y="151"/>
                  </a:lnTo>
                  <a:lnTo>
                    <a:pt x="77" y="151"/>
                  </a:lnTo>
                  <a:lnTo>
                    <a:pt x="77" y="151"/>
                  </a:lnTo>
                  <a:lnTo>
                    <a:pt x="77" y="148"/>
                  </a:lnTo>
                  <a:lnTo>
                    <a:pt x="80" y="148"/>
                  </a:lnTo>
                  <a:lnTo>
                    <a:pt x="80" y="148"/>
                  </a:lnTo>
                  <a:lnTo>
                    <a:pt x="77" y="141"/>
                  </a:lnTo>
                  <a:lnTo>
                    <a:pt x="74" y="138"/>
                  </a:lnTo>
                  <a:lnTo>
                    <a:pt x="74" y="138"/>
                  </a:lnTo>
                  <a:lnTo>
                    <a:pt x="87" y="141"/>
                  </a:lnTo>
                  <a:lnTo>
                    <a:pt x="87" y="141"/>
                  </a:lnTo>
                  <a:lnTo>
                    <a:pt x="90" y="138"/>
                  </a:lnTo>
                  <a:lnTo>
                    <a:pt x="90" y="138"/>
                  </a:lnTo>
                  <a:lnTo>
                    <a:pt x="90" y="128"/>
                  </a:lnTo>
                  <a:lnTo>
                    <a:pt x="90" y="121"/>
                  </a:lnTo>
                  <a:lnTo>
                    <a:pt x="90" y="121"/>
                  </a:lnTo>
                  <a:lnTo>
                    <a:pt x="94" y="114"/>
                  </a:lnTo>
                  <a:lnTo>
                    <a:pt x="94" y="114"/>
                  </a:lnTo>
                  <a:lnTo>
                    <a:pt x="97" y="118"/>
                  </a:lnTo>
                  <a:lnTo>
                    <a:pt x="97" y="121"/>
                  </a:lnTo>
                  <a:lnTo>
                    <a:pt x="97" y="121"/>
                  </a:lnTo>
                  <a:lnTo>
                    <a:pt x="104" y="121"/>
                  </a:lnTo>
                  <a:lnTo>
                    <a:pt x="104" y="121"/>
                  </a:lnTo>
                  <a:lnTo>
                    <a:pt x="107" y="114"/>
                  </a:lnTo>
                  <a:lnTo>
                    <a:pt x="107" y="114"/>
                  </a:lnTo>
                  <a:lnTo>
                    <a:pt x="107" y="118"/>
                  </a:lnTo>
                  <a:lnTo>
                    <a:pt x="107" y="121"/>
                  </a:lnTo>
                  <a:lnTo>
                    <a:pt x="107" y="121"/>
                  </a:lnTo>
                  <a:lnTo>
                    <a:pt x="107" y="121"/>
                  </a:lnTo>
                  <a:lnTo>
                    <a:pt x="117" y="111"/>
                  </a:lnTo>
                  <a:lnTo>
                    <a:pt x="121" y="98"/>
                  </a:lnTo>
                  <a:lnTo>
                    <a:pt x="121" y="98"/>
                  </a:lnTo>
                  <a:lnTo>
                    <a:pt x="114" y="94"/>
                  </a:lnTo>
                  <a:lnTo>
                    <a:pt x="100" y="94"/>
                  </a:lnTo>
                  <a:lnTo>
                    <a:pt x="100" y="94"/>
                  </a:lnTo>
                  <a:lnTo>
                    <a:pt x="94" y="81"/>
                  </a:lnTo>
                  <a:lnTo>
                    <a:pt x="94" y="81"/>
                  </a:lnTo>
                  <a:lnTo>
                    <a:pt x="97" y="71"/>
                  </a:lnTo>
                  <a:lnTo>
                    <a:pt x="97" y="64"/>
                  </a:lnTo>
                  <a:lnTo>
                    <a:pt x="97" y="61"/>
                  </a:lnTo>
                  <a:lnTo>
                    <a:pt x="87" y="54"/>
                  </a:lnTo>
                  <a:lnTo>
                    <a:pt x="87" y="50"/>
                  </a:lnTo>
                  <a:lnTo>
                    <a:pt x="87" y="50"/>
                  </a:lnTo>
                  <a:lnTo>
                    <a:pt x="77" y="50"/>
                  </a:lnTo>
                  <a:lnTo>
                    <a:pt x="74" y="50"/>
                  </a:lnTo>
                  <a:lnTo>
                    <a:pt x="74" y="50"/>
                  </a:lnTo>
                  <a:lnTo>
                    <a:pt x="60" y="50"/>
                  </a:lnTo>
                  <a:lnTo>
                    <a:pt x="60" y="50"/>
                  </a:lnTo>
                  <a:lnTo>
                    <a:pt x="57" y="61"/>
                  </a:lnTo>
                  <a:lnTo>
                    <a:pt x="57" y="77"/>
                  </a:lnTo>
                  <a:lnTo>
                    <a:pt x="57" y="77"/>
                  </a:lnTo>
                  <a:lnTo>
                    <a:pt x="50" y="77"/>
                  </a:lnTo>
                  <a:lnTo>
                    <a:pt x="53" y="67"/>
                  </a:lnTo>
                  <a:lnTo>
                    <a:pt x="53" y="67"/>
                  </a:lnTo>
                  <a:lnTo>
                    <a:pt x="50" y="64"/>
                  </a:lnTo>
                  <a:lnTo>
                    <a:pt x="50" y="64"/>
                  </a:lnTo>
                  <a:lnTo>
                    <a:pt x="43" y="64"/>
                  </a:lnTo>
                  <a:lnTo>
                    <a:pt x="43" y="64"/>
                  </a:lnTo>
                  <a:lnTo>
                    <a:pt x="43" y="64"/>
                  </a:lnTo>
                  <a:lnTo>
                    <a:pt x="43" y="50"/>
                  </a:lnTo>
                  <a:lnTo>
                    <a:pt x="43" y="50"/>
                  </a:lnTo>
                  <a:lnTo>
                    <a:pt x="40" y="50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60" y="47"/>
                  </a:lnTo>
                  <a:lnTo>
                    <a:pt x="60" y="47"/>
                  </a:lnTo>
                  <a:lnTo>
                    <a:pt x="70" y="44"/>
                  </a:lnTo>
                  <a:lnTo>
                    <a:pt x="77" y="40"/>
                  </a:lnTo>
                  <a:lnTo>
                    <a:pt x="84" y="40"/>
                  </a:lnTo>
                  <a:lnTo>
                    <a:pt x="84" y="40"/>
                  </a:lnTo>
                  <a:lnTo>
                    <a:pt x="84" y="44"/>
                  </a:lnTo>
                  <a:lnTo>
                    <a:pt x="87" y="47"/>
                  </a:lnTo>
                  <a:lnTo>
                    <a:pt x="90" y="47"/>
                  </a:lnTo>
                  <a:lnTo>
                    <a:pt x="90" y="47"/>
                  </a:lnTo>
                  <a:lnTo>
                    <a:pt x="97" y="54"/>
                  </a:lnTo>
                  <a:lnTo>
                    <a:pt x="97" y="54"/>
                  </a:lnTo>
                  <a:lnTo>
                    <a:pt x="97" y="57"/>
                  </a:lnTo>
                  <a:lnTo>
                    <a:pt x="100" y="54"/>
                  </a:lnTo>
                  <a:lnTo>
                    <a:pt x="100" y="54"/>
                  </a:lnTo>
                  <a:lnTo>
                    <a:pt x="104" y="44"/>
                  </a:lnTo>
                  <a:lnTo>
                    <a:pt x="104" y="44"/>
                  </a:lnTo>
                  <a:lnTo>
                    <a:pt x="107" y="40"/>
                  </a:lnTo>
                  <a:lnTo>
                    <a:pt x="114" y="37"/>
                  </a:lnTo>
                  <a:lnTo>
                    <a:pt x="114" y="37"/>
                  </a:lnTo>
                  <a:lnTo>
                    <a:pt x="114" y="27"/>
                  </a:lnTo>
                  <a:lnTo>
                    <a:pt x="114" y="17"/>
                  </a:lnTo>
                  <a:lnTo>
                    <a:pt x="111" y="14"/>
                  </a:lnTo>
                  <a:lnTo>
                    <a:pt x="111" y="14"/>
                  </a:lnTo>
                  <a:lnTo>
                    <a:pt x="111" y="7"/>
                  </a:lnTo>
                  <a:lnTo>
                    <a:pt x="114" y="0"/>
                  </a:lnTo>
                  <a:lnTo>
                    <a:pt x="114" y="0"/>
                  </a:lnTo>
                  <a:lnTo>
                    <a:pt x="94" y="10"/>
                  </a:lnTo>
                  <a:lnTo>
                    <a:pt x="94" y="10"/>
                  </a:lnTo>
                  <a:lnTo>
                    <a:pt x="87" y="10"/>
                  </a:lnTo>
                  <a:lnTo>
                    <a:pt x="87" y="10"/>
                  </a:lnTo>
                  <a:lnTo>
                    <a:pt x="84" y="14"/>
                  </a:lnTo>
                  <a:lnTo>
                    <a:pt x="77" y="20"/>
                  </a:lnTo>
                  <a:lnTo>
                    <a:pt x="74" y="30"/>
                  </a:lnTo>
                  <a:lnTo>
                    <a:pt x="70" y="34"/>
                  </a:lnTo>
                  <a:lnTo>
                    <a:pt x="70" y="34"/>
                  </a:lnTo>
                  <a:lnTo>
                    <a:pt x="60" y="37"/>
                  </a:lnTo>
                  <a:lnTo>
                    <a:pt x="50" y="37"/>
                  </a:lnTo>
                  <a:lnTo>
                    <a:pt x="37" y="40"/>
                  </a:lnTo>
                  <a:lnTo>
                    <a:pt x="27" y="40"/>
                  </a:lnTo>
                  <a:lnTo>
                    <a:pt x="27" y="40"/>
                  </a:lnTo>
                  <a:lnTo>
                    <a:pt x="23" y="44"/>
                  </a:lnTo>
                  <a:lnTo>
                    <a:pt x="23" y="44"/>
                  </a:lnTo>
                  <a:lnTo>
                    <a:pt x="20" y="50"/>
                  </a:lnTo>
                  <a:lnTo>
                    <a:pt x="16" y="57"/>
                  </a:lnTo>
                  <a:lnTo>
                    <a:pt x="20" y="67"/>
                  </a:lnTo>
                  <a:lnTo>
                    <a:pt x="23" y="74"/>
                  </a:lnTo>
                  <a:lnTo>
                    <a:pt x="23" y="74"/>
                  </a:lnTo>
                  <a:lnTo>
                    <a:pt x="30" y="74"/>
                  </a:lnTo>
                  <a:lnTo>
                    <a:pt x="30" y="74"/>
                  </a:lnTo>
                  <a:lnTo>
                    <a:pt x="27" y="61"/>
                  </a:lnTo>
                  <a:lnTo>
                    <a:pt x="30" y="64"/>
                  </a:lnTo>
                  <a:lnTo>
                    <a:pt x="33" y="71"/>
                  </a:lnTo>
                  <a:lnTo>
                    <a:pt x="33" y="71"/>
                  </a:lnTo>
                  <a:lnTo>
                    <a:pt x="37" y="67"/>
                  </a:lnTo>
                  <a:lnTo>
                    <a:pt x="37" y="67"/>
                  </a:lnTo>
                  <a:lnTo>
                    <a:pt x="40" y="67"/>
                  </a:lnTo>
                  <a:lnTo>
                    <a:pt x="40" y="67"/>
                  </a:lnTo>
                  <a:lnTo>
                    <a:pt x="40" y="71"/>
                  </a:lnTo>
                  <a:lnTo>
                    <a:pt x="40" y="71"/>
                  </a:lnTo>
                  <a:lnTo>
                    <a:pt x="33" y="74"/>
                  </a:lnTo>
                  <a:lnTo>
                    <a:pt x="30" y="74"/>
                  </a:lnTo>
                  <a:lnTo>
                    <a:pt x="30" y="74"/>
                  </a:lnTo>
                  <a:lnTo>
                    <a:pt x="30" y="77"/>
                  </a:lnTo>
                  <a:lnTo>
                    <a:pt x="33" y="84"/>
                  </a:lnTo>
                  <a:lnTo>
                    <a:pt x="33" y="84"/>
                  </a:lnTo>
                  <a:lnTo>
                    <a:pt x="27" y="81"/>
                  </a:lnTo>
                  <a:lnTo>
                    <a:pt x="23" y="81"/>
                  </a:lnTo>
                  <a:lnTo>
                    <a:pt x="13" y="71"/>
                  </a:lnTo>
                  <a:lnTo>
                    <a:pt x="13" y="71"/>
                  </a:lnTo>
                  <a:lnTo>
                    <a:pt x="13" y="71"/>
                  </a:lnTo>
                  <a:lnTo>
                    <a:pt x="13" y="71"/>
                  </a:lnTo>
                  <a:lnTo>
                    <a:pt x="10" y="71"/>
                  </a:lnTo>
                  <a:lnTo>
                    <a:pt x="10" y="71"/>
                  </a:lnTo>
                  <a:lnTo>
                    <a:pt x="10" y="71"/>
                  </a:lnTo>
                  <a:lnTo>
                    <a:pt x="10" y="77"/>
                  </a:lnTo>
                  <a:lnTo>
                    <a:pt x="13" y="87"/>
                  </a:lnTo>
                  <a:lnTo>
                    <a:pt x="13" y="87"/>
                  </a:lnTo>
                  <a:lnTo>
                    <a:pt x="6" y="91"/>
                  </a:lnTo>
                  <a:lnTo>
                    <a:pt x="6" y="91"/>
                  </a:lnTo>
                  <a:lnTo>
                    <a:pt x="6" y="98"/>
                  </a:lnTo>
                  <a:lnTo>
                    <a:pt x="6" y="104"/>
                  </a:lnTo>
                  <a:lnTo>
                    <a:pt x="3" y="114"/>
                  </a:lnTo>
                  <a:lnTo>
                    <a:pt x="3" y="114"/>
                  </a:lnTo>
                  <a:lnTo>
                    <a:pt x="6" y="114"/>
                  </a:lnTo>
                  <a:lnTo>
                    <a:pt x="10" y="114"/>
                  </a:lnTo>
                  <a:lnTo>
                    <a:pt x="10" y="114"/>
                  </a:lnTo>
                  <a:lnTo>
                    <a:pt x="13" y="124"/>
                  </a:lnTo>
                  <a:lnTo>
                    <a:pt x="13" y="124"/>
                  </a:lnTo>
                  <a:lnTo>
                    <a:pt x="10" y="128"/>
                  </a:lnTo>
                  <a:lnTo>
                    <a:pt x="10" y="131"/>
                  </a:lnTo>
                  <a:lnTo>
                    <a:pt x="10" y="131"/>
                  </a:lnTo>
                  <a:lnTo>
                    <a:pt x="6" y="131"/>
                  </a:lnTo>
                  <a:lnTo>
                    <a:pt x="3" y="128"/>
                  </a:lnTo>
                  <a:lnTo>
                    <a:pt x="3" y="128"/>
                  </a:lnTo>
                  <a:lnTo>
                    <a:pt x="0" y="158"/>
                  </a:lnTo>
                  <a:lnTo>
                    <a:pt x="0" y="158"/>
                  </a:lnTo>
                  <a:lnTo>
                    <a:pt x="3" y="161"/>
                  </a:lnTo>
                  <a:lnTo>
                    <a:pt x="3" y="161"/>
                  </a:lnTo>
                  <a:lnTo>
                    <a:pt x="6" y="151"/>
                  </a:lnTo>
                  <a:lnTo>
                    <a:pt x="10" y="151"/>
                  </a:lnTo>
                  <a:lnTo>
                    <a:pt x="10" y="151"/>
                  </a:lnTo>
                  <a:lnTo>
                    <a:pt x="10" y="155"/>
                  </a:lnTo>
                  <a:lnTo>
                    <a:pt x="13" y="161"/>
                  </a:lnTo>
                  <a:lnTo>
                    <a:pt x="13" y="161"/>
                  </a:lnTo>
                  <a:lnTo>
                    <a:pt x="20" y="165"/>
                  </a:lnTo>
                  <a:lnTo>
                    <a:pt x="20" y="165"/>
                  </a:lnTo>
                  <a:lnTo>
                    <a:pt x="20" y="175"/>
                  </a:lnTo>
                  <a:lnTo>
                    <a:pt x="20" y="182"/>
                  </a:lnTo>
                  <a:lnTo>
                    <a:pt x="16" y="195"/>
                  </a:lnTo>
                  <a:lnTo>
                    <a:pt x="16" y="195"/>
                  </a:lnTo>
                  <a:lnTo>
                    <a:pt x="13" y="202"/>
                  </a:lnTo>
                  <a:lnTo>
                    <a:pt x="13" y="202"/>
                  </a:lnTo>
                  <a:lnTo>
                    <a:pt x="20" y="202"/>
                  </a:lnTo>
                  <a:lnTo>
                    <a:pt x="30" y="205"/>
                  </a:lnTo>
                  <a:lnTo>
                    <a:pt x="30" y="205"/>
                  </a:lnTo>
                  <a:lnTo>
                    <a:pt x="37" y="208"/>
                  </a:lnTo>
                  <a:lnTo>
                    <a:pt x="43" y="212"/>
                  </a:lnTo>
                  <a:lnTo>
                    <a:pt x="43" y="212"/>
                  </a:lnTo>
                  <a:lnTo>
                    <a:pt x="53" y="212"/>
                  </a:lnTo>
                  <a:lnTo>
                    <a:pt x="53" y="212"/>
                  </a:lnTo>
                  <a:close/>
                  <a:moveTo>
                    <a:pt x="13" y="111"/>
                  </a:moveTo>
                  <a:lnTo>
                    <a:pt x="13" y="111"/>
                  </a:lnTo>
                  <a:lnTo>
                    <a:pt x="13" y="114"/>
                  </a:lnTo>
                  <a:lnTo>
                    <a:pt x="10" y="114"/>
                  </a:lnTo>
                  <a:lnTo>
                    <a:pt x="10" y="114"/>
                  </a:lnTo>
                  <a:lnTo>
                    <a:pt x="10" y="111"/>
                  </a:lnTo>
                  <a:lnTo>
                    <a:pt x="10" y="111"/>
                  </a:lnTo>
                  <a:lnTo>
                    <a:pt x="13" y="111"/>
                  </a:lnTo>
                  <a:lnTo>
                    <a:pt x="13" y="111"/>
                  </a:lnTo>
                  <a:close/>
                  <a:moveTo>
                    <a:pt x="100" y="108"/>
                  </a:moveTo>
                  <a:lnTo>
                    <a:pt x="100" y="108"/>
                  </a:lnTo>
                  <a:lnTo>
                    <a:pt x="100" y="111"/>
                  </a:lnTo>
                  <a:lnTo>
                    <a:pt x="100" y="114"/>
                  </a:lnTo>
                  <a:lnTo>
                    <a:pt x="100" y="114"/>
                  </a:lnTo>
                  <a:lnTo>
                    <a:pt x="97" y="114"/>
                  </a:lnTo>
                  <a:lnTo>
                    <a:pt x="94" y="111"/>
                  </a:lnTo>
                  <a:lnTo>
                    <a:pt x="100" y="108"/>
                  </a:lnTo>
                  <a:lnTo>
                    <a:pt x="100" y="108"/>
                  </a:lnTo>
                  <a:close/>
                  <a:moveTo>
                    <a:pt x="111" y="242"/>
                  </a:moveTo>
                  <a:lnTo>
                    <a:pt x="111" y="242"/>
                  </a:lnTo>
                  <a:lnTo>
                    <a:pt x="111" y="249"/>
                  </a:lnTo>
                  <a:lnTo>
                    <a:pt x="114" y="252"/>
                  </a:lnTo>
                  <a:lnTo>
                    <a:pt x="114" y="252"/>
                  </a:lnTo>
                  <a:lnTo>
                    <a:pt x="117" y="255"/>
                  </a:lnTo>
                  <a:lnTo>
                    <a:pt x="121" y="252"/>
                  </a:lnTo>
                  <a:lnTo>
                    <a:pt x="117" y="242"/>
                  </a:lnTo>
                  <a:lnTo>
                    <a:pt x="117" y="242"/>
                  </a:lnTo>
                  <a:lnTo>
                    <a:pt x="111" y="242"/>
                  </a:lnTo>
                  <a:lnTo>
                    <a:pt x="111" y="242"/>
                  </a:lnTo>
                  <a:close/>
                  <a:moveTo>
                    <a:pt x="117" y="215"/>
                  </a:moveTo>
                  <a:lnTo>
                    <a:pt x="117" y="215"/>
                  </a:lnTo>
                  <a:lnTo>
                    <a:pt x="114" y="222"/>
                  </a:lnTo>
                  <a:lnTo>
                    <a:pt x="114" y="222"/>
                  </a:lnTo>
                  <a:lnTo>
                    <a:pt x="107" y="222"/>
                  </a:lnTo>
                  <a:lnTo>
                    <a:pt x="107" y="225"/>
                  </a:lnTo>
                  <a:lnTo>
                    <a:pt x="107" y="225"/>
                  </a:lnTo>
                  <a:lnTo>
                    <a:pt x="131" y="239"/>
                  </a:lnTo>
                  <a:lnTo>
                    <a:pt x="131" y="239"/>
                  </a:lnTo>
                  <a:lnTo>
                    <a:pt x="137" y="235"/>
                  </a:lnTo>
                  <a:lnTo>
                    <a:pt x="141" y="232"/>
                  </a:lnTo>
                  <a:lnTo>
                    <a:pt x="137" y="229"/>
                  </a:lnTo>
                  <a:lnTo>
                    <a:pt x="131" y="222"/>
                  </a:lnTo>
                  <a:lnTo>
                    <a:pt x="131" y="222"/>
                  </a:lnTo>
                  <a:lnTo>
                    <a:pt x="124" y="219"/>
                  </a:lnTo>
                  <a:lnTo>
                    <a:pt x="124" y="219"/>
                  </a:lnTo>
                  <a:lnTo>
                    <a:pt x="117" y="215"/>
                  </a:lnTo>
                  <a:lnTo>
                    <a:pt x="117" y="215"/>
                  </a:lnTo>
                  <a:close/>
                  <a:moveTo>
                    <a:pt x="147" y="215"/>
                  </a:moveTo>
                  <a:lnTo>
                    <a:pt x="147" y="215"/>
                  </a:lnTo>
                  <a:lnTo>
                    <a:pt x="144" y="225"/>
                  </a:lnTo>
                  <a:lnTo>
                    <a:pt x="144" y="239"/>
                  </a:lnTo>
                  <a:lnTo>
                    <a:pt x="151" y="239"/>
                  </a:lnTo>
                  <a:lnTo>
                    <a:pt x="151" y="239"/>
                  </a:lnTo>
                  <a:lnTo>
                    <a:pt x="154" y="222"/>
                  </a:lnTo>
                  <a:lnTo>
                    <a:pt x="154" y="222"/>
                  </a:lnTo>
                  <a:lnTo>
                    <a:pt x="147" y="215"/>
                  </a:lnTo>
                  <a:lnTo>
                    <a:pt x="147" y="215"/>
                  </a:lnTo>
                  <a:close/>
                  <a:moveTo>
                    <a:pt x="80" y="208"/>
                  </a:moveTo>
                  <a:lnTo>
                    <a:pt x="80" y="208"/>
                  </a:lnTo>
                  <a:lnTo>
                    <a:pt x="80" y="212"/>
                  </a:lnTo>
                  <a:lnTo>
                    <a:pt x="80" y="212"/>
                  </a:lnTo>
                  <a:lnTo>
                    <a:pt x="87" y="219"/>
                  </a:lnTo>
                  <a:lnTo>
                    <a:pt x="87" y="219"/>
                  </a:lnTo>
                  <a:lnTo>
                    <a:pt x="94" y="219"/>
                  </a:lnTo>
                  <a:lnTo>
                    <a:pt x="90" y="215"/>
                  </a:lnTo>
                  <a:lnTo>
                    <a:pt x="80" y="208"/>
                  </a:lnTo>
                  <a:lnTo>
                    <a:pt x="80" y="208"/>
                  </a:lnTo>
                  <a:close/>
                  <a:moveTo>
                    <a:pt x="107" y="198"/>
                  </a:moveTo>
                  <a:lnTo>
                    <a:pt x="107" y="198"/>
                  </a:lnTo>
                  <a:lnTo>
                    <a:pt x="100" y="208"/>
                  </a:lnTo>
                  <a:lnTo>
                    <a:pt x="94" y="222"/>
                  </a:lnTo>
                  <a:lnTo>
                    <a:pt x="100" y="225"/>
                  </a:lnTo>
                  <a:lnTo>
                    <a:pt x="100" y="225"/>
                  </a:lnTo>
                  <a:lnTo>
                    <a:pt x="104" y="215"/>
                  </a:lnTo>
                  <a:lnTo>
                    <a:pt x="104" y="215"/>
                  </a:lnTo>
                  <a:lnTo>
                    <a:pt x="107" y="212"/>
                  </a:lnTo>
                  <a:lnTo>
                    <a:pt x="111" y="208"/>
                  </a:lnTo>
                  <a:lnTo>
                    <a:pt x="111" y="208"/>
                  </a:lnTo>
                  <a:lnTo>
                    <a:pt x="111" y="202"/>
                  </a:lnTo>
                  <a:lnTo>
                    <a:pt x="111" y="202"/>
                  </a:lnTo>
                  <a:lnTo>
                    <a:pt x="111" y="198"/>
                  </a:lnTo>
                  <a:lnTo>
                    <a:pt x="107" y="198"/>
                  </a:lnTo>
                  <a:lnTo>
                    <a:pt x="107" y="198"/>
                  </a:lnTo>
                  <a:close/>
                  <a:moveTo>
                    <a:pt x="272" y="198"/>
                  </a:moveTo>
                  <a:lnTo>
                    <a:pt x="272" y="198"/>
                  </a:lnTo>
                  <a:lnTo>
                    <a:pt x="265" y="215"/>
                  </a:lnTo>
                  <a:lnTo>
                    <a:pt x="265" y="215"/>
                  </a:lnTo>
                  <a:lnTo>
                    <a:pt x="282" y="222"/>
                  </a:lnTo>
                  <a:lnTo>
                    <a:pt x="282" y="222"/>
                  </a:lnTo>
                  <a:lnTo>
                    <a:pt x="285" y="219"/>
                  </a:lnTo>
                  <a:lnTo>
                    <a:pt x="289" y="215"/>
                  </a:lnTo>
                  <a:lnTo>
                    <a:pt x="289" y="215"/>
                  </a:lnTo>
                  <a:lnTo>
                    <a:pt x="289" y="208"/>
                  </a:lnTo>
                  <a:lnTo>
                    <a:pt x="289" y="208"/>
                  </a:lnTo>
                  <a:lnTo>
                    <a:pt x="272" y="198"/>
                  </a:lnTo>
                  <a:lnTo>
                    <a:pt x="272" y="198"/>
                  </a:lnTo>
                  <a:close/>
                  <a:moveTo>
                    <a:pt x="80" y="158"/>
                  </a:moveTo>
                  <a:lnTo>
                    <a:pt x="77" y="161"/>
                  </a:lnTo>
                  <a:lnTo>
                    <a:pt x="77" y="161"/>
                  </a:lnTo>
                  <a:lnTo>
                    <a:pt x="74" y="161"/>
                  </a:lnTo>
                  <a:lnTo>
                    <a:pt x="70" y="161"/>
                  </a:lnTo>
                  <a:lnTo>
                    <a:pt x="70" y="161"/>
                  </a:lnTo>
                  <a:lnTo>
                    <a:pt x="67" y="161"/>
                  </a:lnTo>
                  <a:lnTo>
                    <a:pt x="67" y="165"/>
                  </a:lnTo>
                  <a:lnTo>
                    <a:pt x="67" y="165"/>
                  </a:lnTo>
                  <a:lnTo>
                    <a:pt x="67" y="178"/>
                  </a:lnTo>
                  <a:lnTo>
                    <a:pt x="70" y="188"/>
                  </a:lnTo>
                  <a:lnTo>
                    <a:pt x="70" y="188"/>
                  </a:lnTo>
                  <a:lnTo>
                    <a:pt x="74" y="192"/>
                  </a:lnTo>
                  <a:lnTo>
                    <a:pt x="80" y="195"/>
                  </a:lnTo>
                  <a:lnTo>
                    <a:pt x="90" y="198"/>
                  </a:lnTo>
                  <a:lnTo>
                    <a:pt x="90" y="198"/>
                  </a:lnTo>
                  <a:lnTo>
                    <a:pt x="94" y="208"/>
                  </a:lnTo>
                  <a:lnTo>
                    <a:pt x="94" y="208"/>
                  </a:lnTo>
                  <a:lnTo>
                    <a:pt x="104" y="198"/>
                  </a:lnTo>
                  <a:lnTo>
                    <a:pt x="107" y="192"/>
                  </a:lnTo>
                  <a:lnTo>
                    <a:pt x="107" y="182"/>
                  </a:lnTo>
                  <a:lnTo>
                    <a:pt x="104" y="168"/>
                  </a:lnTo>
                  <a:lnTo>
                    <a:pt x="104" y="168"/>
                  </a:lnTo>
                  <a:lnTo>
                    <a:pt x="100" y="171"/>
                  </a:lnTo>
                  <a:lnTo>
                    <a:pt x="94" y="171"/>
                  </a:lnTo>
                  <a:lnTo>
                    <a:pt x="94" y="171"/>
                  </a:lnTo>
                  <a:lnTo>
                    <a:pt x="90" y="161"/>
                  </a:lnTo>
                  <a:lnTo>
                    <a:pt x="90" y="158"/>
                  </a:lnTo>
                  <a:lnTo>
                    <a:pt x="80" y="158"/>
                  </a:lnTo>
                  <a:lnTo>
                    <a:pt x="80" y="158"/>
                  </a:lnTo>
                  <a:close/>
                  <a:moveTo>
                    <a:pt x="161" y="155"/>
                  </a:moveTo>
                  <a:lnTo>
                    <a:pt x="161" y="155"/>
                  </a:lnTo>
                  <a:lnTo>
                    <a:pt x="161" y="158"/>
                  </a:lnTo>
                  <a:lnTo>
                    <a:pt x="158" y="158"/>
                  </a:lnTo>
                  <a:lnTo>
                    <a:pt x="158" y="158"/>
                  </a:lnTo>
                  <a:lnTo>
                    <a:pt x="158" y="155"/>
                  </a:lnTo>
                  <a:lnTo>
                    <a:pt x="161" y="155"/>
                  </a:lnTo>
                  <a:lnTo>
                    <a:pt x="161" y="155"/>
                  </a:lnTo>
                  <a:lnTo>
                    <a:pt x="161" y="155"/>
                  </a:lnTo>
                  <a:close/>
                  <a:moveTo>
                    <a:pt x="100" y="134"/>
                  </a:moveTo>
                  <a:lnTo>
                    <a:pt x="100" y="134"/>
                  </a:lnTo>
                  <a:lnTo>
                    <a:pt x="100" y="145"/>
                  </a:lnTo>
                  <a:lnTo>
                    <a:pt x="100" y="145"/>
                  </a:lnTo>
                  <a:lnTo>
                    <a:pt x="100" y="145"/>
                  </a:lnTo>
                  <a:lnTo>
                    <a:pt x="104" y="141"/>
                  </a:lnTo>
                  <a:lnTo>
                    <a:pt x="104" y="138"/>
                  </a:lnTo>
                  <a:lnTo>
                    <a:pt x="100" y="134"/>
                  </a:lnTo>
                  <a:lnTo>
                    <a:pt x="100" y="134"/>
                  </a:lnTo>
                  <a:close/>
                  <a:moveTo>
                    <a:pt x="168" y="128"/>
                  </a:moveTo>
                  <a:lnTo>
                    <a:pt x="164" y="134"/>
                  </a:lnTo>
                  <a:lnTo>
                    <a:pt x="164" y="134"/>
                  </a:lnTo>
                  <a:lnTo>
                    <a:pt x="158" y="138"/>
                  </a:lnTo>
                  <a:lnTo>
                    <a:pt x="158" y="138"/>
                  </a:lnTo>
                  <a:lnTo>
                    <a:pt x="161" y="141"/>
                  </a:lnTo>
                  <a:lnTo>
                    <a:pt x="154" y="145"/>
                  </a:lnTo>
                  <a:lnTo>
                    <a:pt x="154" y="145"/>
                  </a:lnTo>
                  <a:lnTo>
                    <a:pt x="154" y="161"/>
                  </a:lnTo>
                  <a:lnTo>
                    <a:pt x="154" y="161"/>
                  </a:lnTo>
                  <a:lnTo>
                    <a:pt x="151" y="158"/>
                  </a:lnTo>
                  <a:lnTo>
                    <a:pt x="151" y="151"/>
                  </a:lnTo>
                  <a:lnTo>
                    <a:pt x="154" y="138"/>
                  </a:lnTo>
                  <a:lnTo>
                    <a:pt x="154" y="138"/>
                  </a:lnTo>
                  <a:lnTo>
                    <a:pt x="131" y="134"/>
                  </a:lnTo>
                  <a:lnTo>
                    <a:pt x="131" y="134"/>
                  </a:lnTo>
                  <a:lnTo>
                    <a:pt x="131" y="141"/>
                  </a:lnTo>
                  <a:lnTo>
                    <a:pt x="131" y="141"/>
                  </a:lnTo>
                  <a:lnTo>
                    <a:pt x="141" y="141"/>
                  </a:lnTo>
                  <a:lnTo>
                    <a:pt x="141" y="141"/>
                  </a:lnTo>
                  <a:lnTo>
                    <a:pt x="137" y="148"/>
                  </a:lnTo>
                  <a:lnTo>
                    <a:pt x="134" y="151"/>
                  </a:lnTo>
                  <a:lnTo>
                    <a:pt x="131" y="155"/>
                  </a:lnTo>
                  <a:lnTo>
                    <a:pt x="131" y="155"/>
                  </a:lnTo>
                  <a:lnTo>
                    <a:pt x="127" y="151"/>
                  </a:lnTo>
                  <a:lnTo>
                    <a:pt x="127" y="151"/>
                  </a:lnTo>
                  <a:lnTo>
                    <a:pt x="117" y="151"/>
                  </a:lnTo>
                  <a:lnTo>
                    <a:pt x="117" y="151"/>
                  </a:lnTo>
                  <a:lnTo>
                    <a:pt x="121" y="168"/>
                  </a:lnTo>
                  <a:lnTo>
                    <a:pt x="121" y="188"/>
                  </a:lnTo>
                  <a:lnTo>
                    <a:pt x="121" y="188"/>
                  </a:lnTo>
                  <a:lnTo>
                    <a:pt x="137" y="195"/>
                  </a:lnTo>
                  <a:lnTo>
                    <a:pt x="137" y="195"/>
                  </a:lnTo>
                  <a:lnTo>
                    <a:pt x="144" y="205"/>
                  </a:lnTo>
                  <a:lnTo>
                    <a:pt x="147" y="208"/>
                  </a:lnTo>
                  <a:lnTo>
                    <a:pt x="151" y="212"/>
                  </a:lnTo>
                  <a:lnTo>
                    <a:pt x="151" y="212"/>
                  </a:lnTo>
                  <a:lnTo>
                    <a:pt x="158" y="212"/>
                  </a:lnTo>
                  <a:lnTo>
                    <a:pt x="161" y="212"/>
                  </a:lnTo>
                  <a:lnTo>
                    <a:pt x="161" y="212"/>
                  </a:lnTo>
                  <a:lnTo>
                    <a:pt x="161" y="212"/>
                  </a:lnTo>
                  <a:lnTo>
                    <a:pt x="161" y="215"/>
                  </a:lnTo>
                  <a:lnTo>
                    <a:pt x="158" y="219"/>
                  </a:lnTo>
                  <a:lnTo>
                    <a:pt x="164" y="219"/>
                  </a:lnTo>
                  <a:lnTo>
                    <a:pt x="164" y="219"/>
                  </a:lnTo>
                  <a:lnTo>
                    <a:pt x="178" y="215"/>
                  </a:lnTo>
                  <a:lnTo>
                    <a:pt x="178" y="212"/>
                  </a:lnTo>
                  <a:lnTo>
                    <a:pt x="178" y="212"/>
                  </a:lnTo>
                  <a:lnTo>
                    <a:pt x="171" y="208"/>
                  </a:lnTo>
                  <a:lnTo>
                    <a:pt x="171" y="208"/>
                  </a:lnTo>
                  <a:lnTo>
                    <a:pt x="168" y="208"/>
                  </a:lnTo>
                  <a:lnTo>
                    <a:pt x="161" y="212"/>
                  </a:lnTo>
                  <a:lnTo>
                    <a:pt x="161" y="208"/>
                  </a:lnTo>
                  <a:lnTo>
                    <a:pt x="161" y="208"/>
                  </a:lnTo>
                  <a:lnTo>
                    <a:pt x="158" y="198"/>
                  </a:lnTo>
                  <a:lnTo>
                    <a:pt x="158" y="198"/>
                  </a:lnTo>
                  <a:lnTo>
                    <a:pt x="164" y="195"/>
                  </a:lnTo>
                  <a:lnTo>
                    <a:pt x="164" y="195"/>
                  </a:lnTo>
                  <a:lnTo>
                    <a:pt x="174" y="195"/>
                  </a:lnTo>
                  <a:lnTo>
                    <a:pt x="174" y="195"/>
                  </a:lnTo>
                  <a:lnTo>
                    <a:pt x="174" y="185"/>
                  </a:lnTo>
                  <a:lnTo>
                    <a:pt x="174" y="185"/>
                  </a:lnTo>
                  <a:lnTo>
                    <a:pt x="168" y="182"/>
                  </a:lnTo>
                  <a:lnTo>
                    <a:pt x="168" y="182"/>
                  </a:lnTo>
                  <a:lnTo>
                    <a:pt x="164" y="175"/>
                  </a:lnTo>
                  <a:lnTo>
                    <a:pt x="184" y="161"/>
                  </a:lnTo>
                  <a:lnTo>
                    <a:pt x="184" y="161"/>
                  </a:lnTo>
                  <a:lnTo>
                    <a:pt x="188" y="151"/>
                  </a:lnTo>
                  <a:lnTo>
                    <a:pt x="184" y="141"/>
                  </a:lnTo>
                  <a:lnTo>
                    <a:pt x="178" y="131"/>
                  </a:lnTo>
                  <a:lnTo>
                    <a:pt x="168" y="128"/>
                  </a:lnTo>
                  <a:lnTo>
                    <a:pt x="168" y="128"/>
                  </a:lnTo>
                  <a:close/>
                </a:path>
              </a:pathLst>
            </a:custGeom>
            <a:solidFill>
              <a:srgbClr val="C0C0C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EYInterstate" pitchFamily="2" charset="0"/>
                <a:cs typeface="Arial" charset="0"/>
              </a:endParaRPr>
            </a:p>
          </p:txBody>
        </p:sp>
        <p:sp>
          <p:nvSpPr>
            <p:cNvPr id="49" name="Freeform 63"/>
            <p:cNvSpPr>
              <a:spLocks/>
            </p:cNvSpPr>
            <p:nvPr/>
          </p:nvSpPr>
          <p:spPr bwMode="auto">
            <a:xfrm>
              <a:off x="2978" y="2572"/>
              <a:ext cx="311" cy="165"/>
            </a:xfrm>
            <a:custGeom>
              <a:avLst/>
              <a:gdLst/>
              <a:ahLst/>
              <a:cxnLst>
                <a:cxn ang="0">
                  <a:pos x="238" y="168"/>
                </a:cxn>
                <a:cxn ang="0">
                  <a:pos x="255" y="168"/>
                </a:cxn>
                <a:cxn ang="0">
                  <a:pos x="268" y="148"/>
                </a:cxn>
                <a:cxn ang="0">
                  <a:pos x="275" y="125"/>
                </a:cxn>
                <a:cxn ang="0">
                  <a:pos x="289" y="111"/>
                </a:cxn>
                <a:cxn ang="0">
                  <a:pos x="312" y="94"/>
                </a:cxn>
                <a:cxn ang="0">
                  <a:pos x="292" y="78"/>
                </a:cxn>
                <a:cxn ang="0">
                  <a:pos x="265" y="67"/>
                </a:cxn>
                <a:cxn ang="0">
                  <a:pos x="265" y="57"/>
                </a:cxn>
                <a:cxn ang="0">
                  <a:pos x="248" y="51"/>
                </a:cxn>
                <a:cxn ang="0">
                  <a:pos x="245" y="57"/>
                </a:cxn>
                <a:cxn ang="0">
                  <a:pos x="238" y="67"/>
                </a:cxn>
                <a:cxn ang="0">
                  <a:pos x="225" y="67"/>
                </a:cxn>
                <a:cxn ang="0">
                  <a:pos x="215" y="51"/>
                </a:cxn>
                <a:cxn ang="0">
                  <a:pos x="218" y="37"/>
                </a:cxn>
                <a:cxn ang="0">
                  <a:pos x="205" y="30"/>
                </a:cxn>
                <a:cxn ang="0">
                  <a:pos x="201" y="27"/>
                </a:cxn>
                <a:cxn ang="0">
                  <a:pos x="191" y="27"/>
                </a:cxn>
                <a:cxn ang="0">
                  <a:pos x="164" y="20"/>
                </a:cxn>
                <a:cxn ang="0">
                  <a:pos x="161" y="10"/>
                </a:cxn>
                <a:cxn ang="0">
                  <a:pos x="154" y="4"/>
                </a:cxn>
                <a:cxn ang="0">
                  <a:pos x="141" y="10"/>
                </a:cxn>
                <a:cxn ang="0">
                  <a:pos x="134" y="14"/>
                </a:cxn>
                <a:cxn ang="0">
                  <a:pos x="127" y="4"/>
                </a:cxn>
                <a:cxn ang="0">
                  <a:pos x="114" y="0"/>
                </a:cxn>
                <a:cxn ang="0">
                  <a:pos x="114" y="14"/>
                </a:cxn>
                <a:cxn ang="0">
                  <a:pos x="87" y="17"/>
                </a:cxn>
                <a:cxn ang="0">
                  <a:pos x="63" y="24"/>
                </a:cxn>
                <a:cxn ang="0">
                  <a:pos x="53" y="27"/>
                </a:cxn>
                <a:cxn ang="0">
                  <a:pos x="33" y="34"/>
                </a:cxn>
                <a:cxn ang="0">
                  <a:pos x="16" y="41"/>
                </a:cxn>
                <a:cxn ang="0">
                  <a:pos x="6" y="41"/>
                </a:cxn>
                <a:cxn ang="0">
                  <a:pos x="0" y="41"/>
                </a:cxn>
                <a:cxn ang="0">
                  <a:pos x="0" y="51"/>
                </a:cxn>
                <a:cxn ang="0">
                  <a:pos x="16" y="67"/>
                </a:cxn>
                <a:cxn ang="0">
                  <a:pos x="10" y="81"/>
                </a:cxn>
                <a:cxn ang="0">
                  <a:pos x="16" y="98"/>
                </a:cxn>
                <a:cxn ang="0">
                  <a:pos x="23" y="108"/>
                </a:cxn>
                <a:cxn ang="0">
                  <a:pos x="37" y="121"/>
                </a:cxn>
                <a:cxn ang="0">
                  <a:pos x="50" y="135"/>
                </a:cxn>
                <a:cxn ang="0">
                  <a:pos x="53" y="141"/>
                </a:cxn>
                <a:cxn ang="0">
                  <a:pos x="77" y="155"/>
                </a:cxn>
                <a:cxn ang="0">
                  <a:pos x="90" y="165"/>
                </a:cxn>
                <a:cxn ang="0">
                  <a:pos x="97" y="172"/>
                </a:cxn>
                <a:cxn ang="0">
                  <a:pos x="114" y="168"/>
                </a:cxn>
                <a:cxn ang="0">
                  <a:pos x="121" y="165"/>
                </a:cxn>
                <a:cxn ang="0">
                  <a:pos x="134" y="158"/>
                </a:cxn>
                <a:cxn ang="0">
                  <a:pos x="134" y="145"/>
                </a:cxn>
                <a:cxn ang="0">
                  <a:pos x="141" y="148"/>
                </a:cxn>
                <a:cxn ang="0">
                  <a:pos x="158" y="145"/>
                </a:cxn>
                <a:cxn ang="0">
                  <a:pos x="171" y="151"/>
                </a:cxn>
                <a:cxn ang="0">
                  <a:pos x="181" y="162"/>
                </a:cxn>
                <a:cxn ang="0">
                  <a:pos x="205" y="165"/>
                </a:cxn>
                <a:cxn ang="0">
                  <a:pos x="221" y="168"/>
                </a:cxn>
                <a:cxn ang="0">
                  <a:pos x="228" y="175"/>
                </a:cxn>
              </a:cxnLst>
              <a:rect l="0" t="0" r="r" b="b"/>
              <a:pathLst>
                <a:path w="312" h="175">
                  <a:moveTo>
                    <a:pt x="228" y="175"/>
                  </a:moveTo>
                  <a:lnTo>
                    <a:pt x="228" y="175"/>
                  </a:lnTo>
                  <a:lnTo>
                    <a:pt x="235" y="162"/>
                  </a:lnTo>
                  <a:lnTo>
                    <a:pt x="235" y="162"/>
                  </a:lnTo>
                  <a:lnTo>
                    <a:pt x="235" y="162"/>
                  </a:lnTo>
                  <a:lnTo>
                    <a:pt x="235" y="165"/>
                  </a:lnTo>
                  <a:lnTo>
                    <a:pt x="238" y="168"/>
                  </a:lnTo>
                  <a:lnTo>
                    <a:pt x="238" y="168"/>
                  </a:lnTo>
                  <a:lnTo>
                    <a:pt x="242" y="165"/>
                  </a:lnTo>
                  <a:lnTo>
                    <a:pt x="245" y="165"/>
                  </a:lnTo>
                  <a:lnTo>
                    <a:pt x="245" y="165"/>
                  </a:lnTo>
                  <a:lnTo>
                    <a:pt x="245" y="165"/>
                  </a:lnTo>
                  <a:lnTo>
                    <a:pt x="252" y="168"/>
                  </a:lnTo>
                  <a:lnTo>
                    <a:pt x="255" y="168"/>
                  </a:lnTo>
                  <a:lnTo>
                    <a:pt x="258" y="165"/>
                  </a:lnTo>
                  <a:lnTo>
                    <a:pt x="258" y="165"/>
                  </a:lnTo>
                  <a:lnTo>
                    <a:pt x="265" y="158"/>
                  </a:lnTo>
                  <a:lnTo>
                    <a:pt x="265" y="158"/>
                  </a:lnTo>
                  <a:lnTo>
                    <a:pt x="268" y="155"/>
                  </a:lnTo>
                  <a:lnTo>
                    <a:pt x="268" y="148"/>
                  </a:lnTo>
                  <a:lnTo>
                    <a:pt x="268" y="148"/>
                  </a:lnTo>
                  <a:lnTo>
                    <a:pt x="272" y="145"/>
                  </a:lnTo>
                  <a:lnTo>
                    <a:pt x="272" y="145"/>
                  </a:lnTo>
                  <a:lnTo>
                    <a:pt x="272" y="145"/>
                  </a:lnTo>
                  <a:lnTo>
                    <a:pt x="268" y="135"/>
                  </a:lnTo>
                  <a:lnTo>
                    <a:pt x="268" y="135"/>
                  </a:lnTo>
                  <a:lnTo>
                    <a:pt x="272" y="128"/>
                  </a:lnTo>
                  <a:lnTo>
                    <a:pt x="275" y="125"/>
                  </a:lnTo>
                  <a:lnTo>
                    <a:pt x="275" y="125"/>
                  </a:lnTo>
                  <a:lnTo>
                    <a:pt x="282" y="121"/>
                  </a:lnTo>
                  <a:lnTo>
                    <a:pt x="282" y="121"/>
                  </a:lnTo>
                  <a:lnTo>
                    <a:pt x="285" y="121"/>
                  </a:lnTo>
                  <a:lnTo>
                    <a:pt x="285" y="115"/>
                  </a:lnTo>
                  <a:lnTo>
                    <a:pt x="285" y="115"/>
                  </a:lnTo>
                  <a:lnTo>
                    <a:pt x="289" y="111"/>
                  </a:lnTo>
                  <a:lnTo>
                    <a:pt x="289" y="108"/>
                  </a:lnTo>
                  <a:lnTo>
                    <a:pt x="289" y="108"/>
                  </a:lnTo>
                  <a:lnTo>
                    <a:pt x="292" y="101"/>
                  </a:lnTo>
                  <a:lnTo>
                    <a:pt x="299" y="98"/>
                  </a:lnTo>
                  <a:lnTo>
                    <a:pt x="299" y="98"/>
                  </a:lnTo>
                  <a:lnTo>
                    <a:pt x="312" y="94"/>
                  </a:lnTo>
                  <a:lnTo>
                    <a:pt x="312" y="94"/>
                  </a:lnTo>
                  <a:lnTo>
                    <a:pt x="309" y="84"/>
                  </a:lnTo>
                  <a:lnTo>
                    <a:pt x="309" y="81"/>
                  </a:lnTo>
                  <a:lnTo>
                    <a:pt x="309" y="81"/>
                  </a:lnTo>
                  <a:lnTo>
                    <a:pt x="302" y="81"/>
                  </a:lnTo>
                  <a:lnTo>
                    <a:pt x="295" y="81"/>
                  </a:lnTo>
                  <a:lnTo>
                    <a:pt x="295" y="81"/>
                  </a:lnTo>
                  <a:lnTo>
                    <a:pt x="292" y="78"/>
                  </a:lnTo>
                  <a:lnTo>
                    <a:pt x="289" y="78"/>
                  </a:lnTo>
                  <a:lnTo>
                    <a:pt x="285" y="74"/>
                  </a:lnTo>
                  <a:lnTo>
                    <a:pt x="285" y="74"/>
                  </a:lnTo>
                  <a:lnTo>
                    <a:pt x="279" y="78"/>
                  </a:lnTo>
                  <a:lnTo>
                    <a:pt x="275" y="78"/>
                  </a:lnTo>
                  <a:lnTo>
                    <a:pt x="275" y="78"/>
                  </a:lnTo>
                  <a:lnTo>
                    <a:pt x="265" y="67"/>
                  </a:lnTo>
                  <a:lnTo>
                    <a:pt x="265" y="67"/>
                  </a:lnTo>
                  <a:lnTo>
                    <a:pt x="265" y="64"/>
                  </a:lnTo>
                  <a:lnTo>
                    <a:pt x="268" y="64"/>
                  </a:lnTo>
                  <a:lnTo>
                    <a:pt x="272" y="61"/>
                  </a:lnTo>
                  <a:lnTo>
                    <a:pt x="272" y="61"/>
                  </a:lnTo>
                  <a:lnTo>
                    <a:pt x="268" y="57"/>
                  </a:lnTo>
                  <a:lnTo>
                    <a:pt x="265" y="57"/>
                  </a:lnTo>
                  <a:lnTo>
                    <a:pt x="265" y="57"/>
                  </a:lnTo>
                  <a:lnTo>
                    <a:pt x="258" y="57"/>
                  </a:lnTo>
                  <a:lnTo>
                    <a:pt x="258" y="57"/>
                  </a:lnTo>
                  <a:lnTo>
                    <a:pt x="255" y="54"/>
                  </a:lnTo>
                  <a:lnTo>
                    <a:pt x="255" y="54"/>
                  </a:lnTo>
                  <a:lnTo>
                    <a:pt x="248" y="51"/>
                  </a:lnTo>
                  <a:lnTo>
                    <a:pt x="248" y="51"/>
                  </a:lnTo>
                  <a:lnTo>
                    <a:pt x="245" y="47"/>
                  </a:lnTo>
                  <a:lnTo>
                    <a:pt x="242" y="51"/>
                  </a:lnTo>
                  <a:lnTo>
                    <a:pt x="242" y="51"/>
                  </a:lnTo>
                  <a:lnTo>
                    <a:pt x="242" y="54"/>
                  </a:lnTo>
                  <a:lnTo>
                    <a:pt x="242" y="54"/>
                  </a:lnTo>
                  <a:lnTo>
                    <a:pt x="245" y="57"/>
                  </a:lnTo>
                  <a:lnTo>
                    <a:pt x="245" y="57"/>
                  </a:lnTo>
                  <a:lnTo>
                    <a:pt x="245" y="61"/>
                  </a:lnTo>
                  <a:lnTo>
                    <a:pt x="245" y="61"/>
                  </a:lnTo>
                  <a:lnTo>
                    <a:pt x="245" y="64"/>
                  </a:lnTo>
                  <a:lnTo>
                    <a:pt x="245" y="64"/>
                  </a:lnTo>
                  <a:lnTo>
                    <a:pt x="238" y="64"/>
                  </a:lnTo>
                  <a:lnTo>
                    <a:pt x="238" y="64"/>
                  </a:lnTo>
                  <a:lnTo>
                    <a:pt x="238" y="67"/>
                  </a:lnTo>
                  <a:lnTo>
                    <a:pt x="235" y="71"/>
                  </a:lnTo>
                  <a:lnTo>
                    <a:pt x="235" y="71"/>
                  </a:lnTo>
                  <a:lnTo>
                    <a:pt x="232" y="74"/>
                  </a:lnTo>
                  <a:lnTo>
                    <a:pt x="232" y="74"/>
                  </a:lnTo>
                  <a:lnTo>
                    <a:pt x="228" y="67"/>
                  </a:lnTo>
                  <a:lnTo>
                    <a:pt x="228" y="67"/>
                  </a:lnTo>
                  <a:lnTo>
                    <a:pt x="225" y="67"/>
                  </a:lnTo>
                  <a:lnTo>
                    <a:pt x="225" y="67"/>
                  </a:lnTo>
                  <a:lnTo>
                    <a:pt x="221" y="64"/>
                  </a:lnTo>
                  <a:lnTo>
                    <a:pt x="218" y="57"/>
                  </a:lnTo>
                  <a:lnTo>
                    <a:pt x="218" y="57"/>
                  </a:lnTo>
                  <a:lnTo>
                    <a:pt x="215" y="54"/>
                  </a:lnTo>
                  <a:lnTo>
                    <a:pt x="215" y="54"/>
                  </a:lnTo>
                  <a:lnTo>
                    <a:pt x="215" y="51"/>
                  </a:lnTo>
                  <a:lnTo>
                    <a:pt x="215" y="51"/>
                  </a:lnTo>
                  <a:lnTo>
                    <a:pt x="215" y="47"/>
                  </a:lnTo>
                  <a:lnTo>
                    <a:pt x="215" y="44"/>
                  </a:lnTo>
                  <a:lnTo>
                    <a:pt x="215" y="44"/>
                  </a:lnTo>
                  <a:lnTo>
                    <a:pt x="218" y="41"/>
                  </a:lnTo>
                  <a:lnTo>
                    <a:pt x="218" y="41"/>
                  </a:lnTo>
                  <a:lnTo>
                    <a:pt x="218" y="37"/>
                  </a:lnTo>
                  <a:lnTo>
                    <a:pt x="218" y="37"/>
                  </a:lnTo>
                  <a:lnTo>
                    <a:pt x="218" y="34"/>
                  </a:lnTo>
                  <a:lnTo>
                    <a:pt x="218" y="34"/>
                  </a:lnTo>
                  <a:lnTo>
                    <a:pt x="215" y="30"/>
                  </a:lnTo>
                  <a:lnTo>
                    <a:pt x="215" y="30"/>
                  </a:lnTo>
                  <a:lnTo>
                    <a:pt x="208" y="27"/>
                  </a:lnTo>
                  <a:lnTo>
                    <a:pt x="205" y="30"/>
                  </a:lnTo>
                  <a:lnTo>
                    <a:pt x="205" y="30"/>
                  </a:lnTo>
                  <a:lnTo>
                    <a:pt x="201" y="30"/>
                  </a:lnTo>
                  <a:lnTo>
                    <a:pt x="201" y="34"/>
                  </a:lnTo>
                  <a:lnTo>
                    <a:pt x="201" y="34"/>
                  </a:lnTo>
                  <a:lnTo>
                    <a:pt x="201" y="30"/>
                  </a:lnTo>
                  <a:lnTo>
                    <a:pt x="201" y="27"/>
                  </a:lnTo>
                  <a:lnTo>
                    <a:pt x="201" y="27"/>
                  </a:lnTo>
                  <a:lnTo>
                    <a:pt x="198" y="30"/>
                  </a:lnTo>
                  <a:lnTo>
                    <a:pt x="195" y="30"/>
                  </a:lnTo>
                  <a:lnTo>
                    <a:pt x="195" y="30"/>
                  </a:lnTo>
                  <a:lnTo>
                    <a:pt x="195" y="27"/>
                  </a:lnTo>
                  <a:lnTo>
                    <a:pt x="195" y="27"/>
                  </a:lnTo>
                  <a:lnTo>
                    <a:pt x="191" y="27"/>
                  </a:lnTo>
                  <a:lnTo>
                    <a:pt x="191" y="27"/>
                  </a:lnTo>
                  <a:lnTo>
                    <a:pt x="191" y="27"/>
                  </a:lnTo>
                  <a:lnTo>
                    <a:pt x="178" y="24"/>
                  </a:lnTo>
                  <a:lnTo>
                    <a:pt x="178" y="24"/>
                  </a:lnTo>
                  <a:lnTo>
                    <a:pt x="168" y="17"/>
                  </a:lnTo>
                  <a:lnTo>
                    <a:pt x="168" y="17"/>
                  </a:lnTo>
                  <a:lnTo>
                    <a:pt x="164" y="20"/>
                  </a:lnTo>
                  <a:lnTo>
                    <a:pt x="164" y="20"/>
                  </a:lnTo>
                  <a:lnTo>
                    <a:pt x="164" y="20"/>
                  </a:lnTo>
                  <a:lnTo>
                    <a:pt x="164" y="17"/>
                  </a:lnTo>
                  <a:lnTo>
                    <a:pt x="164" y="14"/>
                  </a:lnTo>
                  <a:lnTo>
                    <a:pt x="164" y="14"/>
                  </a:lnTo>
                  <a:lnTo>
                    <a:pt x="161" y="14"/>
                  </a:lnTo>
                  <a:lnTo>
                    <a:pt x="161" y="10"/>
                  </a:lnTo>
                  <a:lnTo>
                    <a:pt x="161" y="10"/>
                  </a:lnTo>
                  <a:lnTo>
                    <a:pt x="161" y="7"/>
                  </a:lnTo>
                  <a:lnTo>
                    <a:pt x="161" y="7"/>
                  </a:lnTo>
                  <a:lnTo>
                    <a:pt x="161" y="4"/>
                  </a:lnTo>
                  <a:lnTo>
                    <a:pt x="161" y="4"/>
                  </a:lnTo>
                  <a:lnTo>
                    <a:pt x="158" y="0"/>
                  </a:lnTo>
                  <a:lnTo>
                    <a:pt x="158" y="0"/>
                  </a:lnTo>
                  <a:lnTo>
                    <a:pt x="154" y="4"/>
                  </a:lnTo>
                  <a:lnTo>
                    <a:pt x="154" y="4"/>
                  </a:lnTo>
                  <a:lnTo>
                    <a:pt x="151" y="7"/>
                  </a:lnTo>
                  <a:lnTo>
                    <a:pt x="147" y="10"/>
                  </a:lnTo>
                  <a:lnTo>
                    <a:pt x="147" y="10"/>
                  </a:lnTo>
                  <a:lnTo>
                    <a:pt x="144" y="10"/>
                  </a:lnTo>
                  <a:lnTo>
                    <a:pt x="144" y="10"/>
                  </a:lnTo>
                  <a:lnTo>
                    <a:pt x="141" y="10"/>
                  </a:lnTo>
                  <a:lnTo>
                    <a:pt x="141" y="10"/>
                  </a:lnTo>
                  <a:lnTo>
                    <a:pt x="141" y="14"/>
                  </a:lnTo>
                  <a:lnTo>
                    <a:pt x="141" y="14"/>
                  </a:lnTo>
                  <a:lnTo>
                    <a:pt x="137" y="17"/>
                  </a:lnTo>
                  <a:lnTo>
                    <a:pt x="137" y="17"/>
                  </a:lnTo>
                  <a:lnTo>
                    <a:pt x="134" y="14"/>
                  </a:lnTo>
                  <a:lnTo>
                    <a:pt x="134" y="14"/>
                  </a:lnTo>
                  <a:lnTo>
                    <a:pt x="131" y="10"/>
                  </a:lnTo>
                  <a:lnTo>
                    <a:pt x="131" y="10"/>
                  </a:lnTo>
                  <a:lnTo>
                    <a:pt x="131" y="10"/>
                  </a:lnTo>
                  <a:lnTo>
                    <a:pt x="131" y="10"/>
                  </a:lnTo>
                  <a:lnTo>
                    <a:pt x="127" y="7"/>
                  </a:lnTo>
                  <a:lnTo>
                    <a:pt x="127" y="7"/>
                  </a:lnTo>
                  <a:lnTo>
                    <a:pt x="127" y="4"/>
                  </a:lnTo>
                  <a:lnTo>
                    <a:pt x="127" y="4"/>
                  </a:lnTo>
                  <a:lnTo>
                    <a:pt x="121" y="4"/>
                  </a:lnTo>
                  <a:lnTo>
                    <a:pt x="121" y="4"/>
                  </a:lnTo>
                  <a:lnTo>
                    <a:pt x="117" y="4"/>
                  </a:lnTo>
                  <a:lnTo>
                    <a:pt x="117" y="4"/>
                  </a:lnTo>
                  <a:lnTo>
                    <a:pt x="114" y="0"/>
                  </a:lnTo>
                  <a:lnTo>
                    <a:pt x="114" y="0"/>
                  </a:lnTo>
                  <a:lnTo>
                    <a:pt x="114" y="0"/>
                  </a:lnTo>
                  <a:lnTo>
                    <a:pt x="114" y="0"/>
                  </a:lnTo>
                  <a:lnTo>
                    <a:pt x="111" y="4"/>
                  </a:lnTo>
                  <a:lnTo>
                    <a:pt x="111" y="4"/>
                  </a:lnTo>
                  <a:lnTo>
                    <a:pt x="114" y="10"/>
                  </a:lnTo>
                  <a:lnTo>
                    <a:pt x="114" y="10"/>
                  </a:lnTo>
                  <a:lnTo>
                    <a:pt x="114" y="14"/>
                  </a:lnTo>
                  <a:lnTo>
                    <a:pt x="111" y="14"/>
                  </a:lnTo>
                  <a:lnTo>
                    <a:pt x="104" y="14"/>
                  </a:lnTo>
                  <a:lnTo>
                    <a:pt x="104" y="14"/>
                  </a:lnTo>
                  <a:lnTo>
                    <a:pt x="97" y="14"/>
                  </a:lnTo>
                  <a:lnTo>
                    <a:pt x="97" y="14"/>
                  </a:lnTo>
                  <a:lnTo>
                    <a:pt x="87" y="17"/>
                  </a:lnTo>
                  <a:lnTo>
                    <a:pt x="87" y="17"/>
                  </a:lnTo>
                  <a:lnTo>
                    <a:pt x="77" y="17"/>
                  </a:lnTo>
                  <a:lnTo>
                    <a:pt x="77" y="17"/>
                  </a:lnTo>
                  <a:lnTo>
                    <a:pt x="70" y="20"/>
                  </a:lnTo>
                  <a:lnTo>
                    <a:pt x="70" y="20"/>
                  </a:lnTo>
                  <a:lnTo>
                    <a:pt x="70" y="20"/>
                  </a:lnTo>
                  <a:lnTo>
                    <a:pt x="70" y="20"/>
                  </a:lnTo>
                  <a:lnTo>
                    <a:pt x="63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57" y="24"/>
                  </a:lnTo>
                  <a:lnTo>
                    <a:pt x="53" y="27"/>
                  </a:lnTo>
                  <a:lnTo>
                    <a:pt x="53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47" y="30"/>
                  </a:lnTo>
                  <a:lnTo>
                    <a:pt x="47" y="30"/>
                  </a:lnTo>
                  <a:lnTo>
                    <a:pt x="43" y="34"/>
                  </a:lnTo>
                  <a:lnTo>
                    <a:pt x="43" y="34"/>
                  </a:lnTo>
                  <a:lnTo>
                    <a:pt x="33" y="34"/>
                  </a:lnTo>
                  <a:lnTo>
                    <a:pt x="33" y="34"/>
                  </a:lnTo>
                  <a:lnTo>
                    <a:pt x="33" y="37"/>
                  </a:lnTo>
                  <a:lnTo>
                    <a:pt x="33" y="37"/>
                  </a:lnTo>
                  <a:lnTo>
                    <a:pt x="23" y="37"/>
                  </a:lnTo>
                  <a:lnTo>
                    <a:pt x="23" y="37"/>
                  </a:lnTo>
                  <a:lnTo>
                    <a:pt x="16" y="41"/>
                  </a:lnTo>
                  <a:lnTo>
                    <a:pt x="16" y="41"/>
                  </a:lnTo>
                  <a:lnTo>
                    <a:pt x="13" y="47"/>
                  </a:lnTo>
                  <a:lnTo>
                    <a:pt x="13" y="47"/>
                  </a:lnTo>
                  <a:lnTo>
                    <a:pt x="10" y="47"/>
                  </a:lnTo>
                  <a:lnTo>
                    <a:pt x="10" y="44"/>
                  </a:lnTo>
                  <a:lnTo>
                    <a:pt x="10" y="44"/>
                  </a:lnTo>
                  <a:lnTo>
                    <a:pt x="6" y="41"/>
                  </a:lnTo>
                  <a:lnTo>
                    <a:pt x="6" y="41"/>
                  </a:lnTo>
                  <a:lnTo>
                    <a:pt x="3" y="37"/>
                  </a:lnTo>
                  <a:lnTo>
                    <a:pt x="3" y="37"/>
                  </a:lnTo>
                  <a:lnTo>
                    <a:pt x="3" y="37"/>
                  </a:lnTo>
                  <a:lnTo>
                    <a:pt x="0" y="41"/>
                  </a:lnTo>
                  <a:lnTo>
                    <a:pt x="0" y="41"/>
                  </a:lnTo>
                  <a:lnTo>
                    <a:pt x="0" y="41"/>
                  </a:lnTo>
                  <a:lnTo>
                    <a:pt x="0" y="41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7"/>
                  </a:lnTo>
                  <a:lnTo>
                    <a:pt x="0" y="47"/>
                  </a:lnTo>
                  <a:lnTo>
                    <a:pt x="0" y="51"/>
                  </a:lnTo>
                  <a:lnTo>
                    <a:pt x="0" y="51"/>
                  </a:lnTo>
                  <a:lnTo>
                    <a:pt x="3" y="57"/>
                  </a:lnTo>
                  <a:lnTo>
                    <a:pt x="3" y="57"/>
                  </a:lnTo>
                  <a:lnTo>
                    <a:pt x="6" y="61"/>
                  </a:lnTo>
                  <a:lnTo>
                    <a:pt x="6" y="61"/>
                  </a:lnTo>
                  <a:lnTo>
                    <a:pt x="13" y="64"/>
                  </a:lnTo>
                  <a:lnTo>
                    <a:pt x="13" y="64"/>
                  </a:lnTo>
                  <a:lnTo>
                    <a:pt x="16" y="67"/>
                  </a:lnTo>
                  <a:lnTo>
                    <a:pt x="16" y="67"/>
                  </a:lnTo>
                  <a:lnTo>
                    <a:pt x="16" y="71"/>
                  </a:lnTo>
                  <a:lnTo>
                    <a:pt x="16" y="71"/>
                  </a:lnTo>
                  <a:lnTo>
                    <a:pt x="13" y="74"/>
                  </a:lnTo>
                  <a:lnTo>
                    <a:pt x="10" y="74"/>
                  </a:lnTo>
                  <a:lnTo>
                    <a:pt x="10" y="74"/>
                  </a:lnTo>
                  <a:lnTo>
                    <a:pt x="10" y="81"/>
                  </a:lnTo>
                  <a:lnTo>
                    <a:pt x="10" y="81"/>
                  </a:lnTo>
                  <a:lnTo>
                    <a:pt x="10" y="84"/>
                  </a:lnTo>
                  <a:lnTo>
                    <a:pt x="10" y="84"/>
                  </a:lnTo>
                  <a:lnTo>
                    <a:pt x="13" y="88"/>
                  </a:lnTo>
                  <a:lnTo>
                    <a:pt x="13" y="88"/>
                  </a:lnTo>
                  <a:lnTo>
                    <a:pt x="16" y="98"/>
                  </a:lnTo>
                  <a:lnTo>
                    <a:pt x="16" y="98"/>
                  </a:lnTo>
                  <a:lnTo>
                    <a:pt x="16" y="101"/>
                  </a:lnTo>
                  <a:lnTo>
                    <a:pt x="16" y="101"/>
                  </a:lnTo>
                  <a:lnTo>
                    <a:pt x="20" y="101"/>
                  </a:lnTo>
                  <a:lnTo>
                    <a:pt x="20" y="101"/>
                  </a:lnTo>
                  <a:lnTo>
                    <a:pt x="20" y="104"/>
                  </a:lnTo>
                  <a:lnTo>
                    <a:pt x="20" y="104"/>
                  </a:lnTo>
                  <a:lnTo>
                    <a:pt x="23" y="108"/>
                  </a:lnTo>
                  <a:lnTo>
                    <a:pt x="23" y="108"/>
                  </a:lnTo>
                  <a:lnTo>
                    <a:pt x="30" y="111"/>
                  </a:lnTo>
                  <a:lnTo>
                    <a:pt x="30" y="111"/>
                  </a:lnTo>
                  <a:lnTo>
                    <a:pt x="37" y="115"/>
                  </a:lnTo>
                  <a:lnTo>
                    <a:pt x="37" y="115"/>
                  </a:lnTo>
                  <a:lnTo>
                    <a:pt x="37" y="121"/>
                  </a:lnTo>
                  <a:lnTo>
                    <a:pt x="37" y="121"/>
                  </a:lnTo>
                  <a:lnTo>
                    <a:pt x="40" y="128"/>
                  </a:lnTo>
                  <a:lnTo>
                    <a:pt x="40" y="128"/>
                  </a:lnTo>
                  <a:lnTo>
                    <a:pt x="43" y="128"/>
                  </a:lnTo>
                  <a:lnTo>
                    <a:pt x="43" y="128"/>
                  </a:lnTo>
                  <a:lnTo>
                    <a:pt x="43" y="131"/>
                  </a:lnTo>
                  <a:lnTo>
                    <a:pt x="43" y="131"/>
                  </a:lnTo>
                  <a:lnTo>
                    <a:pt x="50" y="135"/>
                  </a:lnTo>
                  <a:lnTo>
                    <a:pt x="50" y="135"/>
                  </a:lnTo>
                  <a:lnTo>
                    <a:pt x="50" y="138"/>
                  </a:lnTo>
                  <a:lnTo>
                    <a:pt x="50" y="138"/>
                  </a:lnTo>
                  <a:lnTo>
                    <a:pt x="50" y="138"/>
                  </a:lnTo>
                  <a:lnTo>
                    <a:pt x="50" y="138"/>
                  </a:lnTo>
                  <a:lnTo>
                    <a:pt x="53" y="141"/>
                  </a:lnTo>
                  <a:lnTo>
                    <a:pt x="53" y="141"/>
                  </a:lnTo>
                  <a:lnTo>
                    <a:pt x="60" y="145"/>
                  </a:lnTo>
                  <a:lnTo>
                    <a:pt x="60" y="145"/>
                  </a:lnTo>
                  <a:lnTo>
                    <a:pt x="63" y="148"/>
                  </a:lnTo>
                  <a:lnTo>
                    <a:pt x="63" y="148"/>
                  </a:lnTo>
                  <a:lnTo>
                    <a:pt x="70" y="151"/>
                  </a:lnTo>
                  <a:lnTo>
                    <a:pt x="70" y="151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80" y="158"/>
                  </a:lnTo>
                  <a:lnTo>
                    <a:pt x="80" y="158"/>
                  </a:lnTo>
                  <a:lnTo>
                    <a:pt x="84" y="162"/>
                  </a:lnTo>
                  <a:lnTo>
                    <a:pt x="84" y="162"/>
                  </a:lnTo>
                  <a:lnTo>
                    <a:pt x="90" y="165"/>
                  </a:lnTo>
                  <a:lnTo>
                    <a:pt x="90" y="165"/>
                  </a:lnTo>
                  <a:lnTo>
                    <a:pt x="90" y="168"/>
                  </a:lnTo>
                  <a:lnTo>
                    <a:pt x="90" y="168"/>
                  </a:lnTo>
                  <a:lnTo>
                    <a:pt x="90" y="168"/>
                  </a:lnTo>
                  <a:lnTo>
                    <a:pt x="94" y="172"/>
                  </a:lnTo>
                  <a:lnTo>
                    <a:pt x="94" y="172"/>
                  </a:lnTo>
                  <a:lnTo>
                    <a:pt x="97" y="172"/>
                  </a:lnTo>
                  <a:lnTo>
                    <a:pt x="97" y="172"/>
                  </a:lnTo>
                  <a:lnTo>
                    <a:pt x="104" y="172"/>
                  </a:lnTo>
                  <a:lnTo>
                    <a:pt x="104" y="172"/>
                  </a:lnTo>
                  <a:lnTo>
                    <a:pt x="107" y="172"/>
                  </a:lnTo>
                  <a:lnTo>
                    <a:pt x="111" y="168"/>
                  </a:lnTo>
                  <a:lnTo>
                    <a:pt x="111" y="168"/>
                  </a:lnTo>
                  <a:lnTo>
                    <a:pt x="114" y="168"/>
                  </a:lnTo>
                  <a:lnTo>
                    <a:pt x="114" y="168"/>
                  </a:lnTo>
                  <a:lnTo>
                    <a:pt x="114" y="172"/>
                  </a:lnTo>
                  <a:lnTo>
                    <a:pt x="117" y="175"/>
                  </a:lnTo>
                  <a:lnTo>
                    <a:pt x="117" y="175"/>
                  </a:lnTo>
                  <a:lnTo>
                    <a:pt x="121" y="172"/>
                  </a:lnTo>
                  <a:lnTo>
                    <a:pt x="121" y="168"/>
                  </a:lnTo>
                  <a:lnTo>
                    <a:pt x="121" y="165"/>
                  </a:lnTo>
                  <a:lnTo>
                    <a:pt x="121" y="165"/>
                  </a:lnTo>
                  <a:lnTo>
                    <a:pt x="124" y="162"/>
                  </a:lnTo>
                  <a:lnTo>
                    <a:pt x="124" y="162"/>
                  </a:lnTo>
                  <a:lnTo>
                    <a:pt x="127" y="158"/>
                  </a:lnTo>
                  <a:lnTo>
                    <a:pt x="127" y="158"/>
                  </a:lnTo>
                  <a:lnTo>
                    <a:pt x="131" y="158"/>
                  </a:lnTo>
                  <a:lnTo>
                    <a:pt x="131" y="158"/>
                  </a:lnTo>
                  <a:lnTo>
                    <a:pt x="134" y="158"/>
                  </a:lnTo>
                  <a:lnTo>
                    <a:pt x="131" y="155"/>
                  </a:lnTo>
                  <a:lnTo>
                    <a:pt x="131" y="155"/>
                  </a:lnTo>
                  <a:lnTo>
                    <a:pt x="134" y="148"/>
                  </a:lnTo>
                  <a:lnTo>
                    <a:pt x="134" y="148"/>
                  </a:lnTo>
                  <a:lnTo>
                    <a:pt x="131" y="145"/>
                  </a:lnTo>
                  <a:lnTo>
                    <a:pt x="134" y="145"/>
                  </a:lnTo>
                  <a:lnTo>
                    <a:pt x="134" y="145"/>
                  </a:lnTo>
                  <a:lnTo>
                    <a:pt x="134" y="145"/>
                  </a:lnTo>
                  <a:lnTo>
                    <a:pt x="134" y="145"/>
                  </a:lnTo>
                  <a:lnTo>
                    <a:pt x="141" y="145"/>
                  </a:lnTo>
                  <a:lnTo>
                    <a:pt x="141" y="145"/>
                  </a:lnTo>
                  <a:lnTo>
                    <a:pt x="141" y="148"/>
                  </a:lnTo>
                  <a:lnTo>
                    <a:pt x="141" y="148"/>
                  </a:lnTo>
                  <a:lnTo>
                    <a:pt x="141" y="148"/>
                  </a:lnTo>
                  <a:lnTo>
                    <a:pt x="144" y="145"/>
                  </a:lnTo>
                  <a:lnTo>
                    <a:pt x="144" y="145"/>
                  </a:lnTo>
                  <a:lnTo>
                    <a:pt x="147" y="145"/>
                  </a:lnTo>
                  <a:lnTo>
                    <a:pt x="147" y="145"/>
                  </a:lnTo>
                  <a:lnTo>
                    <a:pt x="151" y="145"/>
                  </a:lnTo>
                  <a:lnTo>
                    <a:pt x="151" y="145"/>
                  </a:lnTo>
                  <a:lnTo>
                    <a:pt x="158" y="145"/>
                  </a:lnTo>
                  <a:lnTo>
                    <a:pt x="158" y="145"/>
                  </a:lnTo>
                  <a:lnTo>
                    <a:pt x="164" y="148"/>
                  </a:lnTo>
                  <a:lnTo>
                    <a:pt x="164" y="148"/>
                  </a:lnTo>
                  <a:lnTo>
                    <a:pt x="164" y="151"/>
                  </a:lnTo>
                  <a:lnTo>
                    <a:pt x="164" y="151"/>
                  </a:lnTo>
                  <a:lnTo>
                    <a:pt x="168" y="151"/>
                  </a:lnTo>
                  <a:lnTo>
                    <a:pt x="171" y="151"/>
                  </a:lnTo>
                  <a:lnTo>
                    <a:pt x="171" y="151"/>
                  </a:lnTo>
                  <a:lnTo>
                    <a:pt x="174" y="155"/>
                  </a:lnTo>
                  <a:lnTo>
                    <a:pt x="174" y="155"/>
                  </a:lnTo>
                  <a:lnTo>
                    <a:pt x="181" y="158"/>
                  </a:lnTo>
                  <a:lnTo>
                    <a:pt x="181" y="158"/>
                  </a:lnTo>
                  <a:lnTo>
                    <a:pt x="181" y="162"/>
                  </a:lnTo>
                  <a:lnTo>
                    <a:pt x="181" y="162"/>
                  </a:lnTo>
                  <a:lnTo>
                    <a:pt x="188" y="162"/>
                  </a:lnTo>
                  <a:lnTo>
                    <a:pt x="188" y="162"/>
                  </a:lnTo>
                  <a:lnTo>
                    <a:pt x="188" y="165"/>
                  </a:lnTo>
                  <a:lnTo>
                    <a:pt x="188" y="165"/>
                  </a:lnTo>
                  <a:lnTo>
                    <a:pt x="198" y="165"/>
                  </a:lnTo>
                  <a:lnTo>
                    <a:pt x="198" y="165"/>
                  </a:lnTo>
                  <a:lnTo>
                    <a:pt x="205" y="165"/>
                  </a:lnTo>
                  <a:lnTo>
                    <a:pt x="205" y="165"/>
                  </a:lnTo>
                  <a:lnTo>
                    <a:pt x="208" y="162"/>
                  </a:lnTo>
                  <a:lnTo>
                    <a:pt x="208" y="162"/>
                  </a:lnTo>
                  <a:lnTo>
                    <a:pt x="215" y="165"/>
                  </a:lnTo>
                  <a:lnTo>
                    <a:pt x="215" y="165"/>
                  </a:lnTo>
                  <a:lnTo>
                    <a:pt x="221" y="168"/>
                  </a:lnTo>
                  <a:lnTo>
                    <a:pt x="221" y="168"/>
                  </a:lnTo>
                  <a:lnTo>
                    <a:pt x="225" y="168"/>
                  </a:lnTo>
                  <a:lnTo>
                    <a:pt x="225" y="168"/>
                  </a:lnTo>
                  <a:lnTo>
                    <a:pt x="225" y="168"/>
                  </a:lnTo>
                  <a:lnTo>
                    <a:pt x="225" y="168"/>
                  </a:lnTo>
                  <a:lnTo>
                    <a:pt x="228" y="168"/>
                  </a:lnTo>
                  <a:lnTo>
                    <a:pt x="228" y="168"/>
                  </a:lnTo>
                  <a:lnTo>
                    <a:pt x="228" y="175"/>
                  </a:lnTo>
                  <a:lnTo>
                    <a:pt x="228" y="175"/>
                  </a:lnTo>
                  <a:close/>
                </a:path>
              </a:pathLst>
            </a:custGeom>
            <a:solidFill>
              <a:srgbClr val="C0C0C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EYInterstate" pitchFamily="2" charset="0"/>
                <a:cs typeface="Arial" charset="0"/>
              </a:endParaRPr>
            </a:p>
          </p:txBody>
        </p:sp>
        <p:sp>
          <p:nvSpPr>
            <p:cNvPr id="50" name="Freeform 64"/>
            <p:cNvSpPr>
              <a:spLocks/>
            </p:cNvSpPr>
            <p:nvPr/>
          </p:nvSpPr>
          <p:spPr bwMode="auto">
            <a:xfrm>
              <a:off x="4081" y="3606"/>
              <a:ext cx="115" cy="49"/>
            </a:xfrm>
            <a:custGeom>
              <a:avLst/>
              <a:gdLst/>
              <a:ahLst/>
              <a:cxnLst>
                <a:cxn ang="0">
                  <a:pos x="104" y="0"/>
                </a:cxn>
                <a:cxn ang="0">
                  <a:pos x="104" y="0"/>
                </a:cxn>
                <a:cxn ang="0">
                  <a:pos x="104" y="3"/>
                </a:cxn>
                <a:cxn ang="0">
                  <a:pos x="104" y="3"/>
                </a:cxn>
                <a:cxn ang="0">
                  <a:pos x="111" y="6"/>
                </a:cxn>
                <a:cxn ang="0">
                  <a:pos x="111" y="6"/>
                </a:cxn>
                <a:cxn ang="0">
                  <a:pos x="114" y="13"/>
                </a:cxn>
                <a:cxn ang="0">
                  <a:pos x="114" y="13"/>
                </a:cxn>
                <a:cxn ang="0">
                  <a:pos x="94" y="13"/>
                </a:cxn>
                <a:cxn ang="0">
                  <a:pos x="94" y="13"/>
                </a:cxn>
                <a:cxn ang="0">
                  <a:pos x="91" y="16"/>
                </a:cxn>
                <a:cxn ang="0">
                  <a:pos x="87" y="20"/>
                </a:cxn>
                <a:cxn ang="0">
                  <a:pos x="81" y="30"/>
                </a:cxn>
                <a:cxn ang="0">
                  <a:pos x="81" y="30"/>
                </a:cxn>
                <a:cxn ang="0">
                  <a:pos x="67" y="37"/>
                </a:cxn>
                <a:cxn ang="0">
                  <a:pos x="54" y="43"/>
                </a:cxn>
                <a:cxn ang="0">
                  <a:pos x="54" y="43"/>
                </a:cxn>
                <a:cxn ang="0">
                  <a:pos x="54" y="47"/>
                </a:cxn>
                <a:cxn ang="0">
                  <a:pos x="54" y="50"/>
                </a:cxn>
                <a:cxn ang="0">
                  <a:pos x="54" y="50"/>
                </a:cxn>
                <a:cxn ang="0">
                  <a:pos x="50" y="53"/>
                </a:cxn>
                <a:cxn ang="0">
                  <a:pos x="50" y="53"/>
                </a:cxn>
                <a:cxn ang="0">
                  <a:pos x="44" y="50"/>
                </a:cxn>
                <a:cxn ang="0">
                  <a:pos x="44" y="50"/>
                </a:cxn>
                <a:cxn ang="0">
                  <a:pos x="30" y="50"/>
                </a:cxn>
                <a:cxn ang="0">
                  <a:pos x="23" y="50"/>
                </a:cxn>
                <a:cxn ang="0">
                  <a:pos x="17" y="47"/>
                </a:cxn>
                <a:cxn ang="0">
                  <a:pos x="17" y="47"/>
                </a:cxn>
                <a:cxn ang="0">
                  <a:pos x="13" y="40"/>
                </a:cxn>
                <a:cxn ang="0">
                  <a:pos x="13" y="40"/>
                </a:cxn>
                <a:cxn ang="0">
                  <a:pos x="7" y="37"/>
                </a:cxn>
                <a:cxn ang="0">
                  <a:pos x="7" y="37"/>
                </a:cxn>
                <a:cxn ang="0">
                  <a:pos x="3" y="26"/>
                </a:cxn>
                <a:cxn ang="0">
                  <a:pos x="0" y="16"/>
                </a:cxn>
                <a:cxn ang="0">
                  <a:pos x="0" y="16"/>
                </a:cxn>
                <a:cxn ang="0">
                  <a:pos x="3" y="20"/>
                </a:cxn>
                <a:cxn ang="0">
                  <a:pos x="7" y="23"/>
                </a:cxn>
                <a:cxn ang="0">
                  <a:pos x="7" y="23"/>
                </a:cxn>
                <a:cxn ang="0">
                  <a:pos x="17" y="13"/>
                </a:cxn>
                <a:cxn ang="0">
                  <a:pos x="30" y="10"/>
                </a:cxn>
                <a:cxn ang="0">
                  <a:pos x="30" y="10"/>
                </a:cxn>
                <a:cxn ang="0">
                  <a:pos x="34" y="13"/>
                </a:cxn>
                <a:cxn ang="0">
                  <a:pos x="37" y="16"/>
                </a:cxn>
                <a:cxn ang="0">
                  <a:pos x="50" y="16"/>
                </a:cxn>
                <a:cxn ang="0">
                  <a:pos x="50" y="16"/>
                </a:cxn>
                <a:cxn ang="0">
                  <a:pos x="50" y="13"/>
                </a:cxn>
                <a:cxn ang="0">
                  <a:pos x="50" y="13"/>
                </a:cxn>
                <a:cxn ang="0">
                  <a:pos x="50" y="10"/>
                </a:cxn>
                <a:cxn ang="0">
                  <a:pos x="50" y="6"/>
                </a:cxn>
                <a:cxn ang="0">
                  <a:pos x="50" y="6"/>
                </a:cxn>
                <a:cxn ang="0">
                  <a:pos x="60" y="3"/>
                </a:cxn>
                <a:cxn ang="0">
                  <a:pos x="71" y="3"/>
                </a:cxn>
                <a:cxn ang="0">
                  <a:pos x="71" y="3"/>
                </a:cxn>
                <a:cxn ang="0">
                  <a:pos x="74" y="3"/>
                </a:cxn>
                <a:cxn ang="0">
                  <a:pos x="74" y="6"/>
                </a:cxn>
                <a:cxn ang="0">
                  <a:pos x="74" y="10"/>
                </a:cxn>
                <a:cxn ang="0">
                  <a:pos x="74" y="13"/>
                </a:cxn>
                <a:cxn ang="0">
                  <a:pos x="74" y="13"/>
                </a:cxn>
                <a:cxn ang="0">
                  <a:pos x="84" y="10"/>
                </a:cxn>
                <a:cxn ang="0">
                  <a:pos x="91" y="6"/>
                </a:cxn>
                <a:cxn ang="0">
                  <a:pos x="104" y="0"/>
                </a:cxn>
                <a:cxn ang="0">
                  <a:pos x="104" y="0"/>
                </a:cxn>
              </a:cxnLst>
              <a:rect l="0" t="0" r="r" b="b"/>
              <a:pathLst>
                <a:path w="114" h="53">
                  <a:moveTo>
                    <a:pt x="104" y="0"/>
                  </a:moveTo>
                  <a:lnTo>
                    <a:pt x="104" y="0"/>
                  </a:lnTo>
                  <a:lnTo>
                    <a:pt x="104" y="3"/>
                  </a:lnTo>
                  <a:lnTo>
                    <a:pt x="104" y="3"/>
                  </a:lnTo>
                  <a:lnTo>
                    <a:pt x="111" y="6"/>
                  </a:lnTo>
                  <a:lnTo>
                    <a:pt x="111" y="6"/>
                  </a:lnTo>
                  <a:lnTo>
                    <a:pt x="114" y="13"/>
                  </a:lnTo>
                  <a:lnTo>
                    <a:pt x="114" y="13"/>
                  </a:lnTo>
                  <a:lnTo>
                    <a:pt x="94" y="13"/>
                  </a:lnTo>
                  <a:lnTo>
                    <a:pt x="94" y="13"/>
                  </a:lnTo>
                  <a:lnTo>
                    <a:pt x="91" y="16"/>
                  </a:lnTo>
                  <a:lnTo>
                    <a:pt x="87" y="20"/>
                  </a:lnTo>
                  <a:lnTo>
                    <a:pt x="81" y="30"/>
                  </a:lnTo>
                  <a:lnTo>
                    <a:pt x="81" y="30"/>
                  </a:lnTo>
                  <a:lnTo>
                    <a:pt x="67" y="37"/>
                  </a:lnTo>
                  <a:lnTo>
                    <a:pt x="54" y="43"/>
                  </a:lnTo>
                  <a:lnTo>
                    <a:pt x="54" y="43"/>
                  </a:lnTo>
                  <a:lnTo>
                    <a:pt x="54" y="47"/>
                  </a:lnTo>
                  <a:lnTo>
                    <a:pt x="54" y="50"/>
                  </a:lnTo>
                  <a:lnTo>
                    <a:pt x="54" y="50"/>
                  </a:lnTo>
                  <a:lnTo>
                    <a:pt x="50" y="53"/>
                  </a:lnTo>
                  <a:lnTo>
                    <a:pt x="50" y="53"/>
                  </a:lnTo>
                  <a:lnTo>
                    <a:pt x="44" y="50"/>
                  </a:lnTo>
                  <a:lnTo>
                    <a:pt x="44" y="50"/>
                  </a:lnTo>
                  <a:lnTo>
                    <a:pt x="30" y="50"/>
                  </a:lnTo>
                  <a:lnTo>
                    <a:pt x="23" y="50"/>
                  </a:lnTo>
                  <a:lnTo>
                    <a:pt x="17" y="47"/>
                  </a:lnTo>
                  <a:lnTo>
                    <a:pt x="17" y="47"/>
                  </a:lnTo>
                  <a:lnTo>
                    <a:pt x="13" y="40"/>
                  </a:lnTo>
                  <a:lnTo>
                    <a:pt x="13" y="40"/>
                  </a:lnTo>
                  <a:lnTo>
                    <a:pt x="7" y="37"/>
                  </a:lnTo>
                  <a:lnTo>
                    <a:pt x="7" y="37"/>
                  </a:lnTo>
                  <a:lnTo>
                    <a:pt x="3" y="2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3" y="20"/>
                  </a:lnTo>
                  <a:lnTo>
                    <a:pt x="7" y="23"/>
                  </a:lnTo>
                  <a:lnTo>
                    <a:pt x="7" y="23"/>
                  </a:lnTo>
                  <a:lnTo>
                    <a:pt x="17" y="13"/>
                  </a:lnTo>
                  <a:lnTo>
                    <a:pt x="30" y="10"/>
                  </a:lnTo>
                  <a:lnTo>
                    <a:pt x="30" y="10"/>
                  </a:lnTo>
                  <a:lnTo>
                    <a:pt x="34" y="13"/>
                  </a:lnTo>
                  <a:lnTo>
                    <a:pt x="37" y="16"/>
                  </a:lnTo>
                  <a:lnTo>
                    <a:pt x="50" y="16"/>
                  </a:lnTo>
                  <a:lnTo>
                    <a:pt x="50" y="16"/>
                  </a:lnTo>
                  <a:lnTo>
                    <a:pt x="50" y="13"/>
                  </a:lnTo>
                  <a:lnTo>
                    <a:pt x="50" y="13"/>
                  </a:lnTo>
                  <a:lnTo>
                    <a:pt x="50" y="10"/>
                  </a:lnTo>
                  <a:lnTo>
                    <a:pt x="50" y="6"/>
                  </a:lnTo>
                  <a:lnTo>
                    <a:pt x="50" y="6"/>
                  </a:lnTo>
                  <a:lnTo>
                    <a:pt x="60" y="3"/>
                  </a:lnTo>
                  <a:lnTo>
                    <a:pt x="71" y="3"/>
                  </a:lnTo>
                  <a:lnTo>
                    <a:pt x="71" y="3"/>
                  </a:lnTo>
                  <a:lnTo>
                    <a:pt x="74" y="3"/>
                  </a:lnTo>
                  <a:lnTo>
                    <a:pt x="74" y="6"/>
                  </a:lnTo>
                  <a:lnTo>
                    <a:pt x="74" y="10"/>
                  </a:lnTo>
                  <a:lnTo>
                    <a:pt x="74" y="13"/>
                  </a:lnTo>
                  <a:lnTo>
                    <a:pt x="74" y="13"/>
                  </a:lnTo>
                  <a:lnTo>
                    <a:pt x="84" y="10"/>
                  </a:lnTo>
                  <a:lnTo>
                    <a:pt x="91" y="6"/>
                  </a:lnTo>
                  <a:lnTo>
                    <a:pt x="104" y="0"/>
                  </a:lnTo>
                  <a:lnTo>
                    <a:pt x="104" y="0"/>
                  </a:lnTo>
                  <a:close/>
                </a:path>
              </a:pathLst>
            </a:custGeom>
            <a:solidFill>
              <a:srgbClr val="C0C0C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EYInterstate" pitchFamily="2" charset="0"/>
                <a:cs typeface="Arial" charset="0"/>
              </a:endParaRPr>
            </a:p>
          </p:txBody>
        </p:sp>
        <p:sp>
          <p:nvSpPr>
            <p:cNvPr id="51" name="Freeform 65"/>
            <p:cNvSpPr>
              <a:spLocks/>
            </p:cNvSpPr>
            <p:nvPr/>
          </p:nvSpPr>
          <p:spPr bwMode="auto">
            <a:xfrm>
              <a:off x="3678" y="3162"/>
              <a:ext cx="173" cy="150"/>
            </a:xfrm>
            <a:custGeom>
              <a:avLst/>
              <a:gdLst/>
              <a:ahLst/>
              <a:cxnLst>
                <a:cxn ang="0">
                  <a:pos x="40" y="137"/>
                </a:cxn>
                <a:cxn ang="0">
                  <a:pos x="16" y="161"/>
                </a:cxn>
                <a:cxn ang="0">
                  <a:pos x="27" y="158"/>
                </a:cxn>
                <a:cxn ang="0">
                  <a:pos x="37" y="144"/>
                </a:cxn>
                <a:cxn ang="0">
                  <a:pos x="43" y="144"/>
                </a:cxn>
                <a:cxn ang="0">
                  <a:pos x="60" y="131"/>
                </a:cxn>
                <a:cxn ang="0">
                  <a:pos x="67" y="127"/>
                </a:cxn>
                <a:cxn ang="0">
                  <a:pos x="77" y="121"/>
                </a:cxn>
                <a:cxn ang="0">
                  <a:pos x="84" y="104"/>
                </a:cxn>
                <a:cxn ang="0">
                  <a:pos x="87" y="97"/>
                </a:cxn>
                <a:cxn ang="0">
                  <a:pos x="97" y="97"/>
                </a:cxn>
                <a:cxn ang="0">
                  <a:pos x="107" y="97"/>
                </a:cxn>
                <a:cxn ang="0">
                  <a:pos x="117" y="90"/>
                </a:cxn>
                <a:cxn ang="0">
                  <a:pos x="131" y="90"/>
                </a:cxn>
                <a:cxn ang="0">
                  <a:pos x="144" y="90"/>
                </a:cxn>
                <a:cxn ang="0">
                  <a:pos x="161" y="87"/>
                </a:cxn>
                <a:cxn ang="0">
                  <a:pos x="171" y="74"/>
                </a:cxn>
                <a:cxn ang="0">
                  <a:pos x="171" y="67"/>
                </a:cxn>
                <a:cxn ang="0">
                  <a:pos x="174" y="64"/>
                </a:cxn>
                <a:cxn ang="0">
                  <a:pos x="154" y="53"/>
                </a:cxn>
                <a:cxn ang="0">
                  <a:pos x="141" y="53"/>
                </a:cxn>
                <a:cxn ang="0">
                  <a:pos x="114" y="30"/>
                </a:cxn>
                <a:cxn ang="0">
                  <a:pos x="117" y="16"/>
                </a:cxn>
                <a:cxn ang="0">
                  <a:pos x="90" y="10"/>
                </a:cxn>
                <a:cxn ang="0">
                  <a:pos x="80" y="13"/>
                </a:cxn>
                <a:cxn ang="0">
                  <a:pos x="64" y="3"/>
                </a:cxn>
                <a:cxn ang="0">
                  <a:pos x="47" y="13"/>
                </a:cxn>
                <a:cxn ang="0">
                  <a:pos x="33" y="20"/>
                </a:cxn>
                <a:cxn ang="0">
                  <a:pos x="30" y="37"/>
                </a:cxn>
                <a:cxn ang="0">
                  <a:pos x="33" y="57"/>
                </a:cxn>
                <a:cxn ang="0">
                  <a:pos x="37" y="80"/>
                </a:cxn>
                <a:cxn ang="0">
                  <a:pos x="20" y="87"/>
                </a:cxn>
                <a:cxn ang="0">
                  <a:pos x="20" y="104"/>
                </a:cxn>
                <a:cxn ang="0">
                  <a:pos x="3" y="117"/>
                </a:cxn>
                <a:cxn ang="0">
                  <a:pos x="0" y="121"/>
                </a:cxn>
                <a:cxn ang="0">
                  <a:pos x="3" y="137"/>
                </a:cxn>
                <a:cxn ang="0">
                  <a:pos x="40" y="131"/>
                </a:cxn>
                <a:cxn ang="0">
                  <a:pos x="40" y="137"/>
                </a:cxn>
              </a:cxnLst>
              <a:rect l="0" t="0" r="r" b="b"/>
              <a:pathLst>
                <a:path w="174" h="161">
                  <a:moveTo>
                    <a:pt x="40" y="137"/>
                  </a:moveTo>
                  <a:lnTo>
                    <a:pt x="40" y="137"/>
                  </a:lnTo>
                  <a:lnTo>
                    <a:pt x="13" y="154"/>
                  </a:lnTo>
                  <a:lnTo>
                    <a:pt x="16" y="161"/>
                  </a:lnTo>
                  <a:lnTo>
                    <a:pt x="20" y="161"/>
                  </a:lnTo>
                  <a:lnTo>
                    <a:pt x="27" y="158"/>
                  </a:lnTo>
                  <a:lnTo>
                    <a:pt x="30" y="151"/>
                  </a:lnTo>
                  <a:lnTo>
                    <a:pt x="37" y="144"/>
                  </a:lnTo>
                  <a:lnTo>
                    <a:pt x="43" y="144"/>
                  </a:lnTo>
                  <a:lnTo>
                    <a:pt x="43" y="144"/>
                  </a:lnTo>
                  <a:lnTo>
                    <a:pt x="50" y="137"/>
                  </a:lnTo>
                  <a:lnTo>
                    <a:pt x="60" y="131"/>
                  </a:lnTo>
                  <a:lnTo>
                    <a:pt x="60" y="131"/>
                  </a:lnTo>
                  <a:lnTo>
                    <a:pt x="67" y="127"/>
                  </a:lnTo>
                  <a:lnTo>
                    <a:pt x="77" y="121"/>
                  </a:lnTo>
                  <a:lnTo>
                    <a:pt x="77" y="121"/>
                  </a:lnTo>
                  <a:lnTo>
                    <a:pt x="80" y="107"/>
                  </a:lnTo>
                  <a:lnTo>
                    <a:pt x="84" y="104"/>
                  </a:lnTo>
                  <a:lnTo>
                    <a:pt x="87" y="101"/>
                  </a:lnTo>
                  <a:lnTo>
                    <a:pt x="87" y="97"/>
                  </a:lnTo>
                  <a:lnTo>
                    <a:pt x="87" y="97"/>
                  </a:lnTo>
                  <a:lnTo>
                    <a:pt x="97" y="97"/>
                  </a:lnTo>
                  <a:lnTo>
                    <a:pt x="107" y="97"/>
                  </a:lnTo>
                  <a:lnTo>
                    <a:pt x="107" y="97"/>
                  </a:lnTo>
                  <a:lnTo>
                    <a:pt x="111" y="94"/>
                  </a:lnTo>
                  <a:lnTo>
                    <a:pt x="117" y="90"/>
                  </a:lnTo>
                  <a:lnTo>
                    <a:pt x="117" y="90"/>
                  </a:lnTo>
                  <a:lnTo>
                    <a:pt x="131" y="90"/>
                  </a:lnTo>
                  <a:lnTo>
                    <a:pt x="144" y="90"/>
                  </a:lnTo>
                  <a:lnTo>
                    <a:pt x="144" y="90"/>
                  </a:lnTo>
                  <a:lnTo>
                    <a:pt x="158" y="87"/>
                  </a:lnTo>
                  <a:lnTo>
                    <a:pt x="161" y="87"/>
                  </a:lnTo>
                  <a:lnTo>
                    <a:pt x="168" y="77"/>
                  </a:lnTo>
                  <a:lnTo>
                    <a:pt x="171" y="74"/>
                  </a:lnTo>
                  <a:lnTo>
                    <a:pt x="171" y="67"/>
                  </a:lnTo>
                  <a:lnTo>
                    <a:pt x="171" y="67"/>
                  </a:lnTo>
                  <a:lnTo>
                    <a:pt x="174" y="64"/>
                  </a:lnTo>
                  <a:lnTo>
                    <a:pt x="174" y="64"/>
                  </a:lnTo>
                  <a:lnTo>
                    <a:pt x="164" y="57"/>
                  </a:lnTo>
                  <a:lnTo>
                    <a:pt x="154" y="53"/>
                  </a:lnTo>
                  <a:lnTo>
                    <a:pt x="154" y="53"/>
                  </a:lnTo>
                  <a:lnTo>
                    <a:pt x="141" y="53"/>
                  </a:lnTo>
                  <a:lnTo>
                    <a:pt x="114" y="30"/>
                  </a:lnTo>
                  <a:lnTo>
                    <a:pt x="114" y="30"/>
                  </a:lnTo>
                  <a:lnTo>
                    <a:pt x="117" y="16"/>
                  </a:lnTo>
                  <a:lnTo>
                    <a:pt x="117" y="16"/>
                  </a:lnTo>
                  <a:lnTo>
                    <a:pt x="104" y="6"/>
                  </a:lnTo>
                  <a:lnTo>
                    <a:pt x="90" y="10"/>
                  </a:lnTo>
                  <a:lnTo>
                    <a:pt x="87" y="13"/>
                  </a:lnTo>
                  <a:lnTo>
                    <a:pt x="80" y="13"/>
                  </a:lnTo>
                  <a:lnTo>
                    <a:pt x="74" y="0"/>
                  </a:lnTo>
                  <a:lnTo>
                    <a:pt x="64" y="3"/>
                  </a:lnTo>
                  <a:lnTo>
                    <a:pt x="57" y="10"/>
                  </a:lnTo>
                  <a:lnTo>
                    <a:pt x="47" y="13"/>
                  </a:lnTo>
                  <a:lnTo>
                    <a:pt x="37" y="20"/>
                  </a:lnTo>
                  <a:lnTo>
                    <a:pt x="33" y="20"/>
                  </a:lnTo>
                  <a:lnTo>
                    <a:pt x="37" y="30"/>
                  </a:lnTo>
                  <a:lnTo>
                    <a:pt x="30" y="37"/>
                  </a:lnTo>
                  <a:lnTo>
                    <a:pt x="23" y="47"/>
                  </a:lnTo>
                  <a:lnTo>
                    <a:pt x="33" y="57"/>
                  </a:lnTo>
                  <a:lnTo>
                    <a:pt x="33" y="67"/>
                  </a:lnTo>
                  <a:lnTo>
                    <a:pt x="37" y="80"/>
                  </a:lnTo>
                  <a:lnTo>
                    <a:pt x="23" y="80"/>
                  </a:lnTo>
                  <a:lnTo>
                    <a:pt x="20" y="87"/>
                  </a:lnTo>
                  <a:lnTo>
                    <a:pt x="20" y="94"/>
                  </a:lnTo>
                  <a:lnTo>
                    <a:pt x="20" y="104"/>
                  </a:lnTo>
                  <a:lnTo>
                    <a:pt x="13" y="111"/>
                  </a:lnTo>
                  <a:lnTo>
                    <a:pt x="3" y="117"/>
                  </a:lnTo>
                  <a:lnTo>
                    <a:pt x="0" y="121"/>
                  </a:lnTo>
                  <a:lnTo>
                    <a:pt x="0" y="121"/>
                  </a:lnTo>
                  <a:lnTo>
                    <a:pt x="3" y="137"/>
                  </a:lnTo>
                  <a:lnTo>
                    <a:pt x="3" y="137"/>
                  </a:lnTo>
                  <a:lnTo>
                    <a:pt x="23" y="134"/>
                  </a:lnTo>
                  <a:lnTo>
                    <a:pt x="40" y="131"/>
                  </a:lnTo>
                  <a:lnTo>
                    <a:pt x="40" y="131"/>
                  </a:lnTo>
                  <a:lnTo>
                    <a:pt x="40" y="137"/>
                  </a:lnTo>
                  <a:lnTo>
                    <a:pt x="40" y="137"/>
                  </a:lnTo>
                  <a:close/>
                </a:path>
              </a:pathLst>
            </a:custGeom>
            <a:solidFill>
              <a:srgbClr val="C0C0C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EYInterstate" pitchFamily="2" charset="0"/>
                <a:cs typeface="Arial" charset="0"/>
              </a:endParaRPr>
            </a:p>
          </p:txBody>
        </p:sp>
        <p:sp>
          <p:nvSpPr>
            <p:cNvPr id="52" name="Freeform 66"/>
            <p:cNvSpPr>
              <a:spLocks noEditPoints="1"/>
            </p:cNvSpPr>
            <p:nvPr/>
          </p:nvSpPr>
          <p:spPr bwMode="auto">
            <a:xfrm>
              <a:off x="3683" y="3048"/>
              <a:ext cx="849" cy="572"/>
            </a:xfrm>
            <a:custGeom>
              <a:avLst/>
              <a:gdLst/>
              <a:ahLst/>
              <a:cxnLst>
                <a:cxn ang="0">
                  <a:pos x="481" y="605"/>
                </a:cxn>
                <a:cxn ang="0">
                  <a:pos x="447" y="601"/>
                </a:cxn>
                <a:cxn ang="0">
                  <a:pos x="437" y="605"/>
                </a:cxn>
                <a:cxn ang="0">
                  <a:pos x="478" y="581"/>
                </a:cxn>
                <a:cxn ang="0">
                  <a:pos x="525" y="554"/>
                </a:cxn>
                <a:cxn ang="0">
                  <a:pos x="800" y="53"/>
                </a:cxn>
                <a:cxn ang="0">
                  <a:pos x="740" y="80"/>
                </a:cxn>
                <a:cxn ang="0">
                  <a:pos x="713" y="87"/>
                </a:cxn>
                <a:cxn ang="0">
                  <a:pos x="646" y="97"/>
                </a:cxn>
                <a:cxn ang="0">
                  <a:pos x="612" y="104"/>
                </a:cxn>
                <a:cxn ang="0">
                  <a:pos x="575" y="104"/>
                </a:cxn>
                <a:cxn ang="0">
                  <a:pos x="535" y="77"/>
                </a:cxn>
                <a:cxn ang="0">
                  <a:pos x="491" y="67"/>
                </a:cxn>
                <a:cxn ang="0">
                  <a:pos x="464" y="77"/>
                </a:cxn>
                <a:cxn ang="0">
                  <a:pos x="404" y="87"/>
                </a:cxn>
                <a:cxn ang="0">
                  <a:pos x="350" y="117"/>
                </a:cxn>
                <a:cxn ang="0">
                  <a:pos x="279" y="178"/>
                </a:cxn>
                <a:cxn ang="0">
                  <a:pos x="185" y="185"/>
                </a:cxn>
                <a:cxn ang="0">
                  <a:pos x="165" y="218"/>
                </a:cxn>
                <a:cxn ang="0">
                  <a:pos x="125" y="252"/>
                </a:cxn>
                <a:cxn ang="0">
                  <a:pos x="91" y="258"/>
                </a:cxn>
                <a:cxn ang="0">
                  <a:pos x="54" y="262"/>
                </a:cxn>
                <a:cxn ang="0">
                  <a:pos x="7" y="302"/>
                </a:cxn>
                <a:cxn ang="0">
                  <a:pos x="7" y="346"/>
                </a:cxn>
                <a:cxn ang="0">
                  <a:pos x="34" y="346"/>
                </a:cxn>
                <a:cxn ang="0">
                  <a:pos x="54" y="379"/>
                </a:cxn>
                <a:cxn ang="0">
                  <a:pos x="47" y="403"/>
                </a:cxn>
                <a:cxn ang="0">
                  <a:pos x="37" y="413"/>
                </a:cxn>
                <a:cxn ang="0">
                  <a:pos x="24" y="416"/>
                </a:cxn>
                <a:cxn ang="0">
                  <a:pos x="41" y="437"/>
                </a:cxn>
                <a:cxn ang="0">
                  <a:pos x="61" y="443"/>
                </a:cxn>
                <a:cxn ang="0">
                  <a:pos x="64" y="474"/>
                </a:cxn>
                <a:cxn ang="0">
                  <a:pos x="88" y="500"/>
                </a:cxn>
                <a:cxn ang="0">
                  <a:pos x="101" y="521"/>
                </a:cxn>
                <a:cxn ang="0">
                  <a:pos x="98" y="537"/>
                </a:cxn>
                <a:cxn ang="0">
                  <a:pos x="115" y="534"/>
                </a:cxn>
                <a:cxn ang="0">
                  <a:pos x="145" y="527"/>
                </a:cxn>
                <a:cxn ang="0">
                  <a:pos x="162" y="531"/>
                </a:cxn>
                <a:cxn ang="0">
                  <a:pos x="182" y="531"/>
                </a:cxn>
                <a:cxn ang="0">
                  <a:pos x="219" y="561"/>
                </a:cxn>
                <a:cxn ang="0">
                  <a:pos x="246" y="554"/>
                </a:cxn>
                <a:cxn ang="0">
                  <a:pos x="286" y="534"/>
                </a:cxn>
                <a:cxn ang="0">
                  <a:pos x="293" y="504"/>
                </a:cxn>
                <a:cxn ang="0">
                  <a:pos x="363" y="511"/>
                </a:cxn>
                <a:cxn ang="0">
                  <a:pos x="397" y="534"/>
                </a:cxn>
                <a:cxn ang="0">
                  <a:pos x="441" y="527"/>
                </a:cxn>
                <a:cxn ang="0">
                  <a:pos x="478" y="511"/>
                </a:cxn>
                <a:cxn ang="0">
                  <a:pos x="508" y="474"/>
                </a:cxn>
                <a:cxn ang="0">
                  <a:pos x="575" y="467"/>
                </a:cxn>
                <a:cxn ang="0">
                  <a:pos x="605" y="453"/>
                </a:cxn>
                <a:cxn ang="0">
                  <a:pos x="589" y="487"/>
                </a:cxn>
                <a:cxn ang="0">
                  <a:pos x="625" y="487"/>
                </a:cxn>
                <a:cxn ang="0">
                  <a:pos x="642" y="470"/>
                </a:cxn>
                <a:cxn ang="0">
                  <a:pos x="649" y="427"/>
                </a:cxn>
                <a:cxn ang="0">
                  <a:pos x="673" y="437"/>
                </a:cxn>
                <a:cxn ang="0">
                  <a:pos x="750" y="403"/>
                </a:cxn>
                <a:cxn ang="0">
                  <a:pos x="804" y="396"/>
                </a:cxn>
                <a:cxn ang="0">
                  <a:pos x="834" y="0"/>
                </a:cxn>
              </a:cxnLst>
              <a:rect l="0" t="0" r="r" b="b"/>
              <a:pathLst>
                <a:path w="847" h="611">
                  <a:moveTo>
                    <a:pt x="525" y="554"/>
                  </a:moveTo>
                  <a:lnTo>
                    <a:pt x="525" y="554"/>
                  </a:lnTo>
                  <a:lnTo>
                    <a:pt x="518" y="561"/>
                  </a:lnTo>
                  <a:lnTo>
                    <a:pt x="518" y="561"/>
                  </a:lnTo>
                  <a:lnTo>
                    <a:pt x="504" y="574"/>
                  </a:lnTo>
                  <a:lnTo>
                    <a:pt x="501" y="584"/>
                  </a:lnTo>
                  <a:lnTo>
                    <a:pt x="501" y="595"/>
                  </a:lnTo>
                  <a:lnTo>
                    <a:pt x="501" y="595"/>
                  </a:lnTo>
                  <a:lnTo>
                    <a:pt x="488" y="601"/>
                  </a:lnTo>
                  <a:lnTo>
                    <a:pt x="481" y="605"/>
                  </a:lnTo>
                  <a:lnTo>
                    <a:pt x="471" y="608"/>
                  </a:lnTo>
                  <a:lnTo>
                    <a:pt x="471" y="608"/>
                  </a:lnTo>
                  <a:lnTo>
                    <a:pt x="471" y="605"/>
                  </a:lnTo>
                  <a:lnTo>
                    <a:pt x="471" y="601"/>
                  </a:lnTo>
                  <a:lnTo>
                    <a:pt x="471" y="598"/>
                  </a:lnTo>
                  <a:lnTo>
                    <a:pt x="468" y="598"/>
                  </a:lnTo>
                  <a:lnTo>
                    <a:pt x="468" y="598"/>
                  </a:lnTo>
                  <a:lnTo>
                    <a:pt x="457" y="598"/>
                  </a:lnTo>
                  <a:lnTo>
                    <a:pt x="447" y="601"/>
                  </a:lnTo>
                  <a:lnTo>
                    <a:pt x="447" y="601"/>
                  </a:lnTo>
                  <a:lnTo>
                    <a:pt x="447" y="605"/>
                  </a:lnTo>
                  <a:lnTo>
                    <a:pt x="447" y="608"/>
                  </a:lnTo>
                  <a:lnTo>
                    <a:pt x="447" y="608"/>
                  </a:lnTo>
                  <a:lnTo>
                    <a:pt x="447" y="611"/>
                  </a:lnTo>
                  <a:lnTo>
                    <a:pt x="447" y="611"/>
                  </a:lnTo>
                  <a:lnTo>
                    <a:pt x="434" y="611"/>
                  </a:lnTo>
                  <a:lnTo>
                    <a:pt x="431" y="608"/>
                  </a:lnTo>
                  <a:lnTo>
                    <a:pt x="427" y="605"/>
                  </a:lnTo>
                  <a:lnTo>
                    <a:pt x="427" y="605"/>
                  </a:lnTo>
                  <a:lnTo>
                    <a:pt x="437" y="605"/>
                  </a:lnTo>
                  <a:lnTo>
                    <a:pt x="437" y="605"/>
                  </a:lnTo>
                  <a:lnTo>
                    <a:pt x="437" y="601"/>
                  </a:lnTo>
                  <a:lnTo>
                    <a:pt x="437" y="598"/>
                  </a:lnTo>
                  <a:lnTo>
                    <a:pt x="434" y="598"/>
                  </a:lnTo>
                  <a:lnTo>
                    <a:pt x="434" y="598"/>
                  </a:lnTo>
                  <a:lnTo>
                    <a:pt x="437" y="588"/>
                  </a:lnTo>
                  <a:lnTo>
                    <a:pt x="437" y="588"/>
                  </a:lnTo>
                  <a:lnTo>
                    <a:pt x="457" y="584"/>
                  </a:lnTo>
                  <a:lnTo>
                    <a:pt x="478" y="581"/>
                  </a:lnTo>
                  <a:lnTo>
                    <a:pt x="478" y="581"/>
                  </a:lnTo>
                  <a:lnTo>
                    <a:pt x="491" y="571"/>
                  </a:lnTo>
                  <a:lnTo>
                    <a:pt x="491" y="571"/>
                  </a:lnTo>
                  <a:lnTo>
                    <a:pt x="498" y="571"/>
                  </a:lnTo>
                  <a:lnTo>
                    <a:pt x="498" y="571"/>
                  </a:lnTo>
                  <a:lnTo>
                    <a:pt x="511" y="561"/>
                  </a:lnTo>
                  <a:lnTo>
                    <a:pt x="521" y="551"/>
                  </a:lnTo>
                  <a:lnTo>
                    <a:pt x="521" y="551"/>
                  </a:lnTo>
                  <a:lnTo>
                    <a:pt x="525" y="551"/>
                  </a:lnTo>
                  <a:lnTo>
                    <a:pt x="525" y="554"/>
                  </a:lnTo>
                  <a:lnTo>
                    <a:pt x="525" y="554"/>
                  </a:lnTo>
                  <a:close/>
                  <a:moveTo>
                    <a:pt x="834" y="0"/>
                  </a:moveTo>
                  <a:lnTo>
                    <a:pt x="834" y="0"/>
                  </a:lnTo>
                  <a:lnTo>
                    <a:pt x="830" y="17"/>
                  </a:lnTo>
                  <a:lnTo>
                    <a:pt x="820" y="30"/>
                  </a:lnTo>
                  <a:lnTo>
                    <a:pt x="820" y="30"/>
                  </a:lnTo>
                  <a:lnTo>
                    <a:pt x="814" y="37"/>
                  </a:lnTo>
                  <a:lnTo>
                    <a:pt x="807" y="43"/>
                  </a:lnTo>
                  <a:lnTo>
                    <a:pt x="807" y="43"/>
                  </a:lnTo>
                  <a:lnTo>
                    <a:pt x="804" y="50"/>
                  </a:lnTo>
                  <a:lnTo>
                    <a:pt x="800" y="53"/>
                  </a:lnTo>
                  <a:lnTo>
                    <a:pt x="800" y="53"/>
                  </a:lnTo>
                  <a:lnTo>
                    <a:pt x="790" y="60"/>
                  </a:lnTo>
                  <a:lnTo>
                    <a:pt x="780" y="67"/>
                  </a:lnTo>
                  <a:lnTo>
                    <a:pt x="780" y="67"/>
                  </a:lnTo>
                  <a:lnTo>
                    <a:pt x="773" y="74"/>
                  </a:lnTo>
                  <a:lnTo>
                    <a:pt x="767" y="77"/>
                  </a:lnTo>
                  <a:lnTo>
                    <a:pt x="767" y="77"/>
                  </a:lnTo>
                  <a:lnTo>
                    <a:pt x="753" y="80"/>
                  </a:lnTo>
                  <a:lnTo>
                    <a:pt x="740" y="80"/>
                  </a:lnTo>
                  <a:lnTo>
                    <a:pt x="740" y="80"/>
                  </a:lnTo>
                  <a:lnTo>
                    <a:pt x="736" y="77"/>
                  </a:lnTo>
                  <a:lnTo>
                    <a:pt x="733" y="77"/>
                  </a:lnTo>
                  <a:lnTo>
                    <a:pt x="730" y="77"/>
                  </a:lnTo>
                  <a:lnTo>
                    <a:pt x="730" y="77"/>
                  </a:lnTo>
                  <a:lnTo>
                    <a:pt x="726" y="80"/>
                  </a:lnTo>
                  <a:lnTo>
                    <a:pt x="726" y="84"/>
                  </a:lnTo>
                  <a:lnTo>
                    <a:pt x="726" y="84"/>
                  </a:lnTo>
                  <a:lnTo>
                    <a:pt x="720" y="87"/>
                  </a:lnTo>
                  <a:lnTo>
                    <a:pt x="713" y="87"/>
                  </a:lnTo>
                  <a:lnTo>
                    <a:pt x="713" y="87"/>
                  </a:lnTo>
                  <a:lnTo>
                    <a:pt x="706" y="94"/>
                  </a:lnTo>
                  <a:lnTo>
                    <a:pt x="706" y="94"/>
                  </a:lnTo>
                  <a:lnTo>
                    <a:pt x="689" y="101"/>
                  </a:lnTo>
                  <a:lnTo>
                    <a:pt x="673" y="107"/>
                  </a:lnTo>
                  <a:lnTo>
                    <a:pt x="673" y="107"/>
                  </a:lnTo>
                  <a:lnTo>
                    <a:pt x="659" y="104"/>
                  </a:lnTo>
                  <a:lnTo>
                    <a:pt x="649" y="104"/>
                  </a:lnTo>
                  <a:lnTo>
                    <a:pt x="649" y="104"/>
                  </a:lnTo>
                  <a:lnTo>
                    <a:pt x="649" y="101"/>
                  </a:lnTo>
                  <a:lnTo>
                    <a:pt x="646" y="97"/>
                  </a:lnTo>
                  <a:lnTo>
                    <a:pt x="646" y="97"/>
                  </a:lnTo>
                  <a:lnTo>
                    <a:pt x="639" y="97"/>
                  </a:lnTo>
                  <a:lnTo>
                    <a:pt x="636" y="97"/>
                  </a:lnTo>
                  <a:lnTo>
                    <a:pt x="636" y="97"/>
                  </a:lnTo>
                  <a:lnTo>
                    <a:pt x="636" y="107"/>
                  </a:lnTo>
                  <a:lnTo>
                    <a:pt x="636" y="107"/>
                  </a:lnTo>
                  <a:lnTo>
                    <a:pt x="629" y="104"/>
                  </a:lnTo>
                  <a:lnTo>
                    <a:pt x="622" y="101"/>
                  </a:lnTo>
                  <a:lnTo>
                    <a:pt x="622" y="101"/>
                  </a:lnTo>
                  <a:lnTo>
                    <a:pt x="612" y="104"/>
                  </a:lnTo>
                  <a:lnTo>
                    <a:pt x="602" y="104"/>
                  </a:lnTo>
                  <a:lnTo>
                    <a:pt x="602" y="101"/>
                  </a:lnTo>
                  <a:lnTo>
                    <a:pt x="602" y="101"/>
                  </a:lnTo>
                  <a:lnTo>
                    <a:pt x="599" y="97"/>
                  </a:lnTo>
                  <a:lnTo>
                    <a:pt x="599" y="97"/>
                  </a:lnTo>
                  <a:lnTo>
                    <a:pt x="589" y="94"/>
                  </a:lnTo>
                  <a:lnTo>
                    <a:pt x="585" y="97"/>
                  </a:lnTo>
                  <a:lnTo>
                    <a:pt x="575" y="97"/>
                  </a:lnTo>
                  <a:lnTo>
                    <a:pt x="575" y="97"/>
                  </a:lnTo>
                  <a:lnTo>
                    <a:pt x="575" y="104"/>
                  </a:lnTo>
                  <a:lnTo>
                    <a:pt x="572" y="107"/>
                  </a:lnTo>
                  <a:lnTo>
                    <a:pt x="572" y="107"/>
                  </a:lnTo>
                  <a:lnTo>
                    <a:pt x="565" y="107"/>
                  </a:lnTo>
                  <a:lnTo>
                    <a:pt x="565" y="107"/>
                  </a:lnTo>
                  <a:lnTo>
                    <a:pt x="558" y="101"/>
                  </a:lnTo>
                  <a:lnTo>
                    <a:pt x="552" y="94"/>
                  </a:lnTo>
                  <a:lnTo>
                    <a:pt x="541" y="77"/>
                  </a:lnTo>
                  <a:lnTo>
                    <a:pt x="541" y="77"/>
                  </a:lnTo>
                  <a:lnTo>
                    <a:pt x="535" y="77"/>
                  </a:lnTo>
                  <a:lnTo>
                    <a:pt x="535" y="77"/>
                  </a:lnTo>
                  <a:lnTo>
                    <a:pt x="528" y="87"/>
                  </a:lnTo>
                  <a:lnTo>
                    <a:pt x="528" y="87"/>
                  </a:lnTo>
                  <a:lnTo>
                    <a:pt x="521" y="87"/>
                  </a:lnTo>
                  <a:lnTo>
                    <a:pt x="511" y="87"/>
                  </a:lnTo>
                  <a:lnTo>
                    <a:pt x="498" y="84"/>
                  </a:lnTo>
                  <a:lnTo>
                    <a:pt x="498" y="84"/>
                  </a:lnTo>
                  <a:lnTo>
                    <a:pt x="494" y="80"/>
                  </a:lnTo>
                  <a:lnTo>
                    <a:pt x="494" y="77"/>
                  </a:lnTo>
                  <a:lnTo>
                    <a:pt x="491" y="67"/>
                  </a:lnTo>
                  <a:lnTo>
                    <a:pt x="491" y="67"/>
                  </a:lnTo>
                  <a:lnTo>
                    <a:pt x="494" y="64"/>
                  </a:lnTo>
                  <a:lnTo>
                    <a:pt x="498" y="60"/>
                  </a:lnTo>
                  <a:lnTo>
                    <a:pt x="498" y="60"/>
                  </a:lnTo>
                  <a:lnTo>
                    <a:pt x="488" y="60"/>
                  </a:lnTo>
                  <a:lnTo>
                    <a:pt x="488" y="60"/>
                  </a:lnTo>
                  <a:lnTo>
                    <a:pt x="478" y="60"/>
                  </a:lnTo>
                  <a:lnTo>
                    <a:pt x="478" y="60"/>
                  </a:lnTo>
                  <a:lnTo>
                    <a:pt x="471" y="77"/>
                  </a:lnTo>
                  <a:lnTo>
                    <a:pt x="471" y="77"/>
                  </a:lnTo>
                  <a:lnTo>
                    <a:pt x="464" y="77"/>
                  </a:lnTo>
                  <a:lnTo>
                    <a:pt x="457" y="77"/>
                  </a:lnTo>
                  <a:lnTo>
                    <a:pt x="457" y="77"/>
                  </a:lnTo>
                  <a:lnTo>
                    <a:pt x="444" y="84"/>
                  </a:lnTo>
                  <a:lnTo>
                    <a:pt x="444" y="84"/>
                  </a:lnTo>
                  <a:lnTo>
                    <a:pt x="427" y="84"/>
                  </a:lnTo>
                  <a:lnTo>
                    <a:pt x="424" y="87"/>
                  </a:lnTo>
                  <a:lnTo>
                    <a:pt x="424" y="87"/>
                  </a:lnTo>
                  <a:lnTo>
                    <a:pt x="414" y="84"/>
                  </a:lnTo>
                  <a:lnTo>
                    <a:pt x="404" y="84"/>
                  </a:lnTo>
                  <a:lnTo>
                    <a:pt x="404" y="87"/>
                  </a:lnTo>
                  <a:lnTo>
                    <a:pt x="404" y="87"/>
                  </a:lnTo>
                  <a:lnTo>
                    <a:pt x="394" y="87"/>
                  </a:lnTo>
                  <a:lnTo>
                    <a:pt x="394" y="87"/>
                  </a:lnTo>
                  <a:lnTo>
                    <a:pt x="387" y="94"/>
                  </a:lnTo>
                  <a:lnTo>
                    <a:pt x="377" y="101"/>
                  </a:lnTo>
                  <a:lnTo>
                    <a:pt x="377" y="101"/>
                  </a:lnTo>
                  <a:lnTo>
                    <a:pt x="367" y="104"/>
                  </a:lnTo>
                  <a:lnTo>
                    <a:pt x="357" y="107"/>
                  </a:lnTo>
                  <a:lnTo>
                    <a:pt x="357" y="107"/>
                  </a:lnTo>
                  <a:lnTo>
                    <a:pt x="350" y="117"/>
                  </a:lnTo>
                  <a:lnTo>
                    <a:pt x="340" y="127"/>
                  </a:lnTo>
                  <a:lnTo>
                    <a:pt x="340" y="127"/>
                  </a:lnTo>
                  <a:lnTo>
                    <a:pt x="326" y="141"/>
                  </a:lnTo>
                  <a:lnTo>
                    <a:pt x="310" y="151"/>
                  </a:lnTo>
                  <a:lnTo>
                    <a:pt x="310" y="151"/>
                  </a:lnTo>
                  <a:lnTo>
                    <a:pt x="303" y="168"/>
                  </a:lnTo>
                  <a:lnTo>
                    <a:pt x="303" y="168"/>
                  </a:lnTo>
                  <a:lnTo>
                    <a:pt x="289" y="178"/>
                  </a:lnTo>
                  <a:lnTo>
                    <a:pt x="289" y="178"/>
                  </a:lnTo>
                  <a:lnTo>
                    <a:pt x="279" y="178"/>
                  </a:lnTo>
                  <a:lnTo>
                    <a:pt x="266" y="178"/>
                  </a:lnTo>
                  <a:lnTo>
                    <a:pt x="252" y="174"/>
                  </a:lnTo>
                  <a:lnTo>
                    <a:pt x="242" y="174"/>
                  </a:lnTo>
                  <a:lnTo>
                    <a:pt x="242" y="174"/>
                  </a:lnTo>
                  <a:lnTo>
                    <a:pt x="236" y="185"/>
                  </a:lnTo>
                  <a:lnTo>
                    <a:pt x="236" y="185"/>
                  </a:lnTo>
                  <a:lnTo>
                    <a:pt x="226" y="188"/>
                  </a:lnTo>
                  <a:lnTo>
                    <a:pt x="212" y="188"/>
                  </a:lnTo>
                  <a:lnTo>
                    <a:pt x="185" y="185"/>
                  </a:lnTo>
                  <a:lnTo>
                    <a:pt x="185" y="185"/>
                  </a:lnTo>
                  <a:lnTo>
                    <a:pt x="172" y="185"/>
                  </a:lnTo>
                  <a:lnTo>
                    <a:pt x="172" y="185"/>
                  </a:lnTo>
                  <a:lnTo>
                    <a:pt x="168" y="188"/>
                  </a:lnTo>
                  <a:lnTo>
                    <a:pt x="168" y="191"/>
                  </a:lnTo>
                  <a:lnTo>
                    <a:pt x="165" y="201"/>
                  </a:lnTo>
                  <a:lnTo>
                    <a:pt x="162" y="205"/>
                  </a:lnTo>
                  <a:lnTo>
                    <a:pt x="155" y="211"/>
                  </a:lnTo>
                  <a:lnTo>
                    <a:pt x="155" y="211"/>
                  </a:lnTo>
                  <a:lnTo>
                    <a:pt x="165" y="218"/>
                  </a:lnTo>
                  <a:lnTo>
                    <a:pt x="165" y="218"/>
                  </a:lnTo>
                  <a:lnTo>
                    <a:pt x="178" y="225"/>
                  </a:lnTo>
                  <a:lnTo>
                    <a:pt x="178" y="225"/>
                  </a:lnTo>
                  <a:lnTo>
                    <a:pt x="148" y="238"/>
                  </a:lnTo>
                  <a:lnTo>
                    <a:pt x="152" y="245"/>
                  </a:lnTo>
                  <a:lnTo>
                    <a:pt x="152" y="245"/>
                  </a:lnTo>
                  <a:lnTo>
                    <a:pt x="165" y="245"/>
                  </a:lnTo>
                  <a:lnTo>
                    <a:pt x="165" y="248"/>
                  </a:lnTo>
                  <a:lnTo>
                    <a:pt x="165" y="248"/>
                  </a:lnTo>
                  <a:lnTo>
                    <a:pt x="125" y="252"/>
                  </a:lnTo>
                  <a:lnTo>
                    <a:pt x="125" y="252"/>
                  </a:lnTo>
                  <a:lnTo>
                    <a:pt x="115" y="255"/>
                  </a:lnTo>
                  <a:lnTo>
                    <a:pt x="115" y="255"/>
                  </a:lnTo>
                  <a:lnTo>
                    <a:pt x="105" y="252"/>
                  </a:lnTo>
                  <a:lnTo>
                    <a:pt x="94" y="252"/>
                  </a:lnTo>
                  <a:lnTo>
                    <a:pt x="94" y="252"/>
                  </a:lnTo>
                  <a:lnTo>
                    <a:pt x="91" y="252"/>
                  </a:lnTo>
                  <a:lnTo>
                    <a:pt x="88" y="255"/>
                  </a:lnTo>
                  <a:lnTo>
                    <a:pt x="88" y="258"/>
                  </a:lnTo>
                  <a:lnTo>
                    <a:pt x="91" y="258"/>
                  </a:lnTo>
                  <a:lnTo>
                    <a:pt x="91" y="258"/>
                  </a:lnTo>
                  <a:lnTo>
                    <a:pt x="91" y="265"/>
                  </a:lnTo>
                  <a:lnTo>
                    <a:pt x="91" y="265"/>
                  </a:lnTo>
                  <a:lnTo>
                    <a:pt x="84" y="269"/>
                  </a:lnTo>
                  <a:lnTo>
                    <a:pt x="81" y="269"/>
                  </a:lnTo>
                  <a:lnTo>
                    <a:pt x="71" y="269"/>
                  </a:lnTo>
                  <a:lnTo>
                    <a:pt x="71" y="269"/>
                  </a:lnTo>
                  <a:lnTo>
                    <a:pt x="71" y="262"/>
                  </a:lnTo>
                  <a:lnTo>
                    <a:pt x="71" y="262"/>
                  </a:lnTo>
                  <a:lnTo>
                    <a:pt x="64" y="262"/>
                  </a:lnTo>
                  <a:lnTo>
                    <a:pt x="54" y="262"/>
                  </a:lnTo>
                  <a:lnTo>
                    <a:pt x="41" y="269"/>
                  </a:lnTo>
                  <a:lnTo>
                    <a:pt x="37" y="269"/>
                  </a:lnTo>
                  <a:lnTo>
                    <a:pt x="31" y="272"/>
                  </a:lnTo>
                  <a:lnTo>
                    <a:pt x="24" y="275"/>
                  </a:lnTo>
                  <a:lnTo>
                    <a:pt x="21" y="282"/>
                  </a:lnTo>
                  <a:lnTo>
                    <a:pt x="14" y="285"/>
                  </a:lnTo>
                  <a:lnTo>
                    <a:pt x="10" y="285"/>
                  </a:lnTo>
                  <a:lnTo>
                    <a:pt x="10" y="285"/>
                  </a:lnTo>
                  <a:lnTo>
                    <a:pt x="7" y="295"/>
                  </a:lnTo>
                  <a:lnTo>
                    <a:pt x="7" y="302"/>
                  </a:lnTo>
                  <a:lnTo>
                    <a:pt x="7" y="302"/>
                  </a:lnTo>
                  <a:lnTo>
                    <a:pt x="4" y="306"/>
                  </a:lnTo>
                  <a:lnTo>
                    <a:pt x="0" y="312"/>
                  </a:lnTo>
                  <a:lnTo>
                    <a:pt x="0" y="312"/>
                  </a:lnTo>
                  <a:lnTo>
                    <a:pt x="0" y="326"/>
                  </a:lnTo>
                  <a:lnTo>
                    <a:pt x="0" y="342"/>
                  </a:lnTo>
                  <a:lnTo>
                    <a:pt x="0" y="342"/>
                  </a:lnTo>
                  <a:lnTo>
                    <a:pt x="4" y="342"/>
                  </a:lnTo>
                  <a:lnTo>
                    <a:pt x="7" y="346"/>
                  </a:lnTo>
                  <a:lnTo>
                    <a:pt x="7" y="346"/>
                  </a:lnTo>
                  <a:lnTo>
                    <a:pt x="24" y="336"/>
                  </a:lnTo>
                  <a:lnTo>
                    <a:pt x="24" y="336"/>
                  </a:lnTo>
                  <a:lnTo>
                    <a:pt x="47" y="332"/>
                  </a:lnTo>
                  <a:lnTo>
                    <a:pt x="47" y="336"/>
                  </a:lnTo>
                  <a:lnTo>
                    <a:pt x="47" y="336"/>
                  </a:lnTo>
                  <a:lnTo>
                    <a:pt x="44" y="339"/>
                  </a:lnTo>
                  <a:lnTo>
                    <a:pt x="41" y="342"/>
                  </a:lnTo>
                  <a:lnTo>
                    <a:pt x="41" y="349"/>
                  </a:lnTo>
                  <a:lnTo>
                    <a:pt x="41" y="349"/>
                  </a:lnTo>
                  <a:lnTo>
                    <a:pt x="34" y="346"/>
                  </a:lnTo>
                  <a:lnTo>
                    <a:pt x="34" y="346"/>
                  </a:lnTo>
                  <a:lnTo>
                    <a:pt x="27" y="349"/>
                  </a:lnTo>
                  <a:lnTo>
                    <a:pt x="27" y="349"/>
                  </a:lnTo>
                  <a:lnTo>
                    <a:pt x="31" y="353"/>
                  </a:lnTo>
                  <a:lnTo>
                    <a:pt x="41" y="359"/>
                  </a:lnTo>
                  <a:lnTo>
                    <a:pt x="41" y="366"/>
                  </a:lnTo>
                  <a:lnTo>
                    <a:pt x="44" y="366"/>
                  </a:lnTo>
                  <a:lnTo>
                    <a:pt x="44" y="379"/>
                  </a:lnTo>
                  <a:lnTo>
                    <a:pt x="44" y="379"/>
                  </a:lnTo>
                  <a:lnTo>
                    <a:pt x="54" y="379"/>
                  </a:lnTo>
                  <a:lnTo>
                    <a:pt x="54" y="379"/>
                  </a:lnTo>
                  <a:lnTo>
                    <a:pt x="51" y="386"/>
                  </a:lnTo>
                  <a:lnTo>
                    <a:pt x="51" y="386"/>
                  </a:lnTo>
                  <a:lnTo>
                    <a:pt x="51" y="393"/>
                  </a:lnTo>
                  <a:lnTo>
                    <a:pt x="51" y="393"/>
                  </a:lnTo>
                  <a:lnTo>
                    <a:pt x="44" y="393"/>
                  </a:lnTo>
                  <a:lnTo>
                    <a:pt x="44" y="393"/>
                  </a:lnTo>
                  <a:lnTo>
                    <a:pt x="44" y="400"/>
                  </a:lnTo>
                  <a:lnTo>
                    <a:pt x="44" y="403"/>
                  </a:lnTo>
                  <a:lnTo>
                    <a:pt x="47" y="403"/>
                  </a:lnTo>
                  <a:lnTo>
                    <a:pt x="47" y="403"/>
                  </a:lnTo>
                  <a:lnTo>
                    <a:pt x="47" y="410"/>
                  </a:lnTo>
                  <a:lnTo>
                    <a:pt x="47" y="410"/>
                  </a:lnTo>
                  <a:lnTo>
                    <a:pt x="54" y="413"/>
                  </a:lnTo>
                  <a:lnTo>
                    <a:pt x="58" y="416"/>
                  </a:lnTo>
                  <a:lnTo>
                    <a:pt x="54" y="416"/>
                  </a:lnTo>
                  <a:lnTo>
                    <a:pt x="54" y="416"/>
                  </a:lnTo>
                  <a:lnTo>
                    <a:pt x="41" y="416"/>
                  </a:lnTo>
                  <a:lnTo>
                    <a:pt x="37" y="416"/>
                  </a:lnTo>
                  <a:lnTo>
                    <a:pt x="37" y="413"/>
                  </a:lnTo>
                  <a:lnTo>
                    <a:pt x="37" y="406"/>
                  </a:lnTo>
                  <a:lnTo>
                    <a:pt x="34" y="403"/>
                  </a:lnTo>
                  <a:lnTo>
                    <a:pt x="31" y="400"/>
                  </a:lnTo>
                  <a:lnTo>
                    <a:pt x="31" y="400"/>
                  </a:lnTo>
                  <a:lnTo>
                    <a:pt x="24" y="400"/>
                  </a:lnTo>
                  <a:lnTo>
                    <a:pt x="21" y="400"/>
                  </a:lnTo>
                  <a:lnTo>
                    <a:pt x="21" y="400"/>
                  </a:lnTo>
                  <a:lnTo>
                    <a:pt x="21" y="410"/>
                  </a:lnTo>
                  <a:lnTo>
                    <a:pt x="21" y="410"/>
                  </a:lnTo>
                  <a:lnTo>
                    <a:pt x="24" y="416"/>
                  </a:lnTo>
                  <a:lnTo>
                    <a:pt x="27" y="420"/>
                  </a:lnTo>
                  <a:lnTo>
                    <a:pt x="27" y="420"/>
                  </a:lnTo>
                  <a:lnTo>
                    <a:pt x="27" y="423"/>
                  </a:lnTo>
                  <a:lnTo>
                    <a:pt x="27" y="423"/>
                  </a:lnTo>
                  <a:lnTo>
                    <a:pt x="17" y="430"/>
                  </a:lnTo>
                  <a:lnTo>
                    <a:pt x="17" y="433"/>
                  </a:lnTo>
                  <a:lnTo>
                    <a:pt x="17" y="433"/>
                  </a:lnTo>
                  <a:lnTo>
                    <a:pt x="27" y="437"/>
                  </a:lnTo>
                  <a:lnTo>
                    <a:pt x="41" y="437"/>
                  </a:lnTo>
                  <a:lnTo>
                    <a:pt x="41" y="437"/>
                  </a:lnTo>
                  <a:lnTo>
                    <a:pt x="41" y="437"/>
                  </a:lnTo>
                  <a:lnTo>
                    <a:pt x="41" y="433"/>
                  </a:lnTo>
                  <a:lnTo>
                    <a:pt x="41" y="433"/>
                  </a:lnTo>
                  <a:lnTo>
                    <a:pt x="44" y="437"/>
                  </a:lnTo>
                  <a:lnTo>
                    <a:pt x="47" y="440"/>
                  </a:lnTo>
                  <a:lnTo>
                    <a:pt x="51" y="443"/>
                  </a:lnTo>
                  <a:lnTo>
                    <a:pt x="51" y="443"/>
                  </a:lnTo>
                  <a:lnTo>
                    <a:pt x="58" y="443"/>
                  </a:lnTo>
                  <a:lnTo>
                    <a:pt x="61" y="443"/>
                  </a:lnTo>
                  <a:lnTo>
                    <a:pt x="61" y="443"/>
                  </a:lnTo>
                  <a:lnTo>
                    <a:pt x="61" y="443"/>
                  </a:lnTo>
                  <a:lnTo>
                    <a:pt x="74" y="447"/>
                  </a:lnTo>
                  <a:lnTo>
                    <a:pt x="74" y="447"/>
                  </a:lnTo>
                  <a:lnTo>
                    <a:pt x="74" y="460"/>
                  </a:lnTo>
                  <a:lnTo>
                    <a:pt x="74" y="460"/>
                  </a:lnTo>
                  <a:lnTo>
                    <a:pt x="68" y="467"/>
                  </a:lnTo>
                  <a:lnTo>
                    <a:pt x="64" y="470"/>
                  </a:lnTo>
                  <a:lnTo>
                    <a:pt x="64" y="470"/>
                  </a:lnTo>
                  <a:lnTo>
                    <a:pt x="64" y="474"/>
                  </a:lnTo>
                  <a:lnTo>
                    <a:pt x="64" y="474"/>
                  </a:lnTo>
                  <a:lnTo>
                    <a:pt x="71" y="484"/>
                  </a:lnTo>
                  <a:lnTo>
                    <a:pt x="74" y="494"/>
                  </a:lnTo>
                  <a:lnTo>
                    <a:pt x="74" y="494"/>
                  </a:lnTo>
                  <a:lnTo>
                    <a:pt x="81" y="497"/>
                  </a:lnTo>
                  <a:lnTo>
                    <a:pt x="81" y="497"/>
                  </a:lnTo>
                  <a:lnTo>
                    <a:pt x="81" y="494"/>
                  </a:lnTo>
                  <a:lnTo>
                    <a:pt x="84" y="494"/>
                  </a:lnTo>
                  <a:lnTo>
                    <a:pt x="84" y="494"/>
                  </a:lnTo>
                  <a:lnTo>
                    <a:pt x="88" y="500"/>
                  </a:lnTo>
                  <a:lnTo>
                    <a:pt x="88" y="500"/>
                  </a:lnTo>
                  <a:lnTo>
                    <a:pt x="94" y="500"/>
                  </a:lnTo>
                  <a:lnTo>
                    <a:pt x="94" y="500"/>
                  </a:lnTo>
                  <a:lnTo>
                    <a:pt x="91" y="504"/>
                  </a:lnTo>
                  <a:lnTo>
                    <a:pt x="91" y="511"/>
                  </a:lnTo>
                  <a:lnTo>
                    <a:pt x="91" y="511"/>
                  </a:lnTo>
                  <a:lnTo>
                    <a:pt x="78" y="507"/>
                  </a:lnTo>
                  <a:lnTo>
                    <a:pt x="78" y="507"/>
                  </a:lnTo>
                  <a:lnTo>
                    <a:pt x="78" y="521"/>
                  </a:lnTo>
                  <a:lnTo>
                    <a:pt x="78" y="521"/>
                  </a:lnTo>
                  <a:lnTo>
                    <a:pt x="101" y="521"/>
                  </a:lnTo>
                  <a:lnTo>
                    <a:pt x="125" y="517"/>
                  </a:lnTo>
                  <a:lnTo>
                    <a:pt x="125" y="517"/>
                  </a:lnTo>
                  <a:lnTo>
                    <a:pt x="121" y="531"/>
                  </a:lnTo>
                  <a:lnTo>
                    <a:pt x="121" y="531"/>
                  </a:lnTo>
                  <a:lnTo>
                    <a:pt x="111" y="531"/>
                  </a:lnTo>
                  <a:lnTo>
                    <a:pt x="105" y="531"/>
                  </a:lnTo>
                  <a:lnTo>
                    <a:pt x="105" y="534"/>
                  </a:lnTo>
                  <a:lnTo>
                    <a:pt x="105" y="534"/>
                  </a:lnTo>
                  <a:lnTo>
                    <a:pt x="98" y="537"/>
                  </a:lnTo>
                  <a:lnTo>
                    <a:pt x="98" y="537"/>
                  </a:lnTo>
                  <a:lnTo>
                    <a:pt x="91" y="537"/>
                  </a:lnTo>
                  <a:lnTo>
                    <a:pt x="91" y="537"/>
                  </a:lnTo>
                  <a:lnTo>
                    <a:pt x="91" y="544"/>
                  </a:lnTo>
                  <a:lnTo>
                    <a:pt x="91" y="544"/>
                  </a:lnTo>
                  <a:lnTo>
                    <a:pt x="101" y="544"/>
                  </a:lnTo>
                  <a:lnTo>
                    <a:pt x="101" y="544"/>
                  </a:lnTo>
                  <a:lnTo>
                    <a:pt x="105" y="537"/>
                  </a:lnTo>
                  <a:lnTo>
                    <a:pt x="108" y="534"/>
                  </a:lnTo>
                  <a:lnTo>
                    <a:pt x="108" y="534"/>
                  </a:lnTo>
                  <a:lnTo>
                    <a:pt x="115" y="534"/>
                  </a:lnTo>
                  <a:lnTo>
                    <a:pt x="121" y="537"/>
                  </a:lnTo>
                  <a:lnTo>
                    <a:pt x="135" y="544"/>
                  </a:lnTo>
                  <a:lnTo>
                    <a:pt x="135" y="544"/>
                  </a:lnTo>
                  <a:lnTo>
                    <a:pt x="138" y="537"/>
                  </a:lnTo>
                  <a:lnTo>
                    <a:pt x="142" y="534"/>
                  </a:lnTo>
                  <a:lnTo>
                    <a:pt x="142" y="534"/>
                  </a:lnTo>
                  <a:lnTo>
                    <a:pt x="142" y="524"/>
                  </a:lnTo>
                  <a:lnTo>
                    <a:pt x="148" y="524"/>
                  </a:lnTo>
                  <a:lnTo>
                    <a:pt x="148" y="524"/>
                  </a:lnTo>
                  <a:lnTo>
                    <a:pt x="145" y="527"/>
                  </a:lnTo>
                  <a:lnTo>
                    <a:pt x="148" y="527"/>
                  </a:lnTo>
                  <a:lnTo>
                    <a:pt x="152" y="527"/>
                  </a:lnTo>
                  <a:lnTo>
                    <a:pt x="152" y="527"/>
                  </a:lnTo>
                  <a:lnTo>
                    <a:pt x="152" y="524"/>
                  </a:lnTo>
                  <a:lnTo>
                    <a:pt x="152" y="521"/>
                  </a:lnTo>
                  <a:lnTo>
                    <a:pt x="152" y="521"/>
                  </a:lnTo>
                  <a:lnTo>
                    <a:pt x="152" y="524"/>
                  </a:lnTo>
                  <a:lnTo>
                    <a:pt x="152" y="524"/>
                  </a:lnTo>
                  <a:lnTo>
                    <a:pt x="162" y="531"/>
                  </a:lnTo>
                  <a:lnTo>
                    <a:pt x="162" y="531"/>
                  </a:lnTo>
                  <a:lnTo>
                    <a:pt x="162" y="534"/>
                  </a:lnTo>
                  <a:lnTo>
                    <a:pt x="162" y="534"/>
                  </a:lnTo>
                  <a:lnTo>
                    <a:pt x="172" y="534"/>
                  </a:lnTo>
                  <a:lnTo>
                    <a:pt x="172" y="537"/>
                  </a:lnTo>
                  <a:lnTo>
                    <a:pt x="172" y="537"/>
                  </a:lnTo>
                  <a:lnTo>
                    <a:pt x="175" y="537"/>
                  </a:lnTo>
                  <a:lnTo>
                    <a:pt x="178" y="537"/>
                  </a:lnTo>
                  <a:lnTo>
                    <a:pt x="178" y="537"/>
                  </a:lnTo>
                  <a:lnTo>
                    <a:pt x="178" y="534"/>
                  </a:lnTo>
                  <a:lnTo>
                    <a:pt x="182" y="531"/>
                  </a:lnTo>
                  <a:lnTo>
                    <a:pt x="182" y="531"/>
                  </a:lnTo>
                  <a:lnTo>
                    <a:pt x="189" y="537"/>
                  </a:lnTo>
                  <a:lnTo>
                    <a:pt x="189" y="537"/>
                  </a:lnTo>
                  <a:lnTo>
                    <a:pt x="189" y="544"/>
                  </a:lnTo>
                  <a:lnTo>
                    <a:pt x="189" y="547"/>
                  </a:lnTo>
                  <a:lnTo>
                    <a:pt x="189" y="547"/>
                  </a:lnTo>
                  <a:lnTo>
                    <a:pt x="202" y="558"/>
                  </a:lnTo>
                  <a:lnTo>
                    <a:pt x="212" y="561"/>
                  </a:lnTo>
                  <a:lnTo>
                    <a:pt x="219" y="561"/>
                  </a:lnTo>
                  <a:lnTo>
                    <a:pt x="219" y="561"/>
                  </a:lnTo>
                  <a:lnTo>
                    <a:pt x="229" y="554"/>
                  </a:lnTo>
                  <a:lnTo>
                    <a:pt x="229" y="554"/>
                  </a:lnTo>
                  <a:lnTo>
                    <a:pt x="232" y="554"/>
                  </a:lnTo>
                  <a:lnTo>
                    <a:pt x="232" y="558"/>
                  </a:lnTo>
                  <a:lnTo>
                    <a:pt x="232" y="561"/>
                  </a:lnTo>
                  <a:lnTo>
                    <a:pt x="236" y="561"/>
                  </a:lnTo>
                  <a:lnTo>
                    <a:pt x="236" y="561"/>
                  </a:lnTo>
                  <a:lnTo>
                    <a:pt x="239" y="558"/>
                  </a:lnTo>
                  <a:lnTo>
                    <a:pt x="246" y="554"/>
                  </a:lnTo>
                  <a:lnTo>
                    <a:pt x="246" y="554"/>
                  </a:lnTo>
                  <a:lnTo>
                    <a:pt x="252" y="551"/>
                  </a:lnTo>
                  <a:lnTo>
                    <a:pt x="259" y="551"/>
                  </a:lnTo>
                  <a:lnTo>
                    <a:pt x="259" y="551"/>
                  </a:lnTo>
                  <a:lnTo>
                    <a:pt x="263" y="547"/>
                  </a:lnTo>
                  <a:lnTo>
                    <a:pt x="263" y="547"/>
                  </a:lnTo>
                  <a:lnTo>
                    <a:pt x="273" y="541"/>
                  </a:lnTo>
                  <a:lnTo>
                    <a:pt x="286" y="544"/>
                  </a:lnTo>
                  <a:lnTo>
                    <a:pt x="286" y="544"/>
                  </a:lnTo>
                  <a:lnTo>
                    <a:pt x="286" y="534"/>
                  </a:lnTo>
                  <a:lnTo>
                    <a:pt x="286" y="534"/>
                  </a:lnTo>
                  <a:lnTo>
                    <a:pt x="289" y="521"/>
                  </a:lnTo>
                  <a:lnTo>
                    <a:pt x="289" y="517"/>
                  </a:lnTo>
                  <a:lnTo>
                    <a:pt x="289" y="517"/>
                  </a:lnTo>
                  <a:lnTo>
                    <a:pt x="289" y="514"/>
                  </a:lnTo>
                  <a:lnTo>
                    <a:pt x="286" y="511"/>
                  </a:lnTo>
                  <a:lnTo>
                    <a:pt x="289" y="500"/>
                  </a:lnTo>
                  <a:lnTo>
                    <a:pt x="289" y="500"/>
                  </a:lnTo>
                  <a:lnTo>
                    <a:pt x="289" y="500"/>
                  </a:lnTo>
                  <a:lnTo>
                    <a:pt x="293" y="504"/>
                  </a:lnTo>
                  <a:lnTo>
                    <a:pt x="293" y="504"/>
                  </a:lnTo>
                  <a:lnTo>
                    <a:pt x="293" y="500"/>
                  </a:lnTo>
                  <a:lnTo>
                    <a:pt x="293" y="497"/>
                  </a:lnTo>
                  <a:lnTo>
                    <a:pt x="293" y="497"/>
                  </a:lnTo>
                  <a:lnTo>
                    <a:pt x="306" y="497"/>
                  </a:lnTo>
                  <a:lnTo>
                    <a:pt x="306" y="497"/>
                  </a:lnTo>
                  <a:lnTo>
                    <a:pt x="320" y="497"/>
                  </a:lnTo>
                  <a:lnTo>
                    <a:pt x="333" y="497"/>
                  </a:lnTo>
                  <a:lnTo>
                    <a:pt x="353" y="507"/>
                  </a:lnTo>
                  <a:lnTo>
                    <a:pt x="353" y="507"/>
                  </a:lnTo>
                  <a:lnTo>
                    <a:pt x="363" y="511"/>
                  </a:lnTo>
                  <a:lnTo>
                    <a:pt x="363" y="511"/>
                  </a:lnTo>
                  <a:lnTo>
                    <a:pt x="370" y="511"/>
                  </a:lnTo>
                  <a:lnTo>
                    <a:pt x="377" y="511"/>
                  </a:lnTo>
                  <a:lnTo>
                    <a:pt x="377" y="517"/>
                  </a:lnTo>
                  <a:lnTo>
                    <a:pt x="377" y="517"/>
                  </a:lnTo>
                  <a:lnTo>
                    <a:pt x="383" y="517"/>
                  </a:lnTo>
                  <a:lnTo>
                    <a:pt x="383" y="517"/>
                  </a:lnTo>
                  <a:lnTo>
                    <a:pt x="390" y="527"/>
                  </a:lnTo>
                  <a:lnTo>
                    <a:pt x="394" y="531"/>
                  </a:lnTo>
                  <a:lnTo>
                    <a:pt x="397" y="534"/>
                  </a:lnTo>
                  <a:lnTo>
                    <a:pt x="397" y="534"/>
                  </a:lnTo>
                  <a:lnTo>
                    <a:pt x="400" y="531"/>
                  </a:lnTo>
                  <a:lnTo>
                    <a:pt x="404" y="531"/>
                  </a:lnTo>
                  <a:lnTo>
                    <a:pt x="404" y="531"/>
                  </a:lnTo>
                  <a:lnTo>
                    <a:pt x="410" y="537"/>
                  </a:lnTo>
                  <a:lnTo>
                    <a:pt x="410" y="537"/>
                  </a:lnTo>
                  <a:lnTo>
                    <a:pt x="420" y="537"/>
                  </a:lnTo>
                  <a:lnTo>
                    <a:pt x="427" y="534"/>
                  </a:lnTo>
                  <a:lnTo>
                    <a:pt x="441" y="527"/>
                  </a:lnTo>
                  <a:lnTo>
                    <a:pt x="441" y="527"/>
                  </a:lnTo>
                  <a:lnTo>
                    <a:pt x="451" y="527"/>
                  </a:lnTo>
                  <a:lnTo>
                    <a:pt x="461" y="524"/>
                  </a:lnTo>
                  <a:lnTo>
                    <a:pt x="461" y="524"/>
                  </a:lnTo>
                  <a:lnTo>
                    <a:pt x="468" y="521"/>
                  </a:lnTo>
                  <a:lnTo>
                    <a:pt x="468" y="521"/>
                  </a:lnTo>
                  <a:lnTo>
                    <a:pt x="474" y="521"/>
                  </a:lnTo>
                  <a:lnTo>
                    <a:pt x="474" y="521"/>
                  </a:lnTo>
                  <a:lnTo>
                    <a:pt x="478" y="517"/>
                  </a:lnTo>
                  <a:lnTo>
                    <a:pt x="478" y="514"/>
                  </a:lnTo>
                  <a:lnTo>
                    <a:pt x="478" y="511"/>
                  </a:lnTo>
                  <a:lnTo>
                    <a:pt x="478" y="511"/>
                  </a:lnTo>
                  <a:lnTo>
                    <a:pt x="488" y="511"/>
                  </a:lnTo>
                  <a:lnTo>
                    <a:pt x="488" y="511"/>
                  </a:lnTo>
                  <a:lnTo>
                    <a:pt x="498" y="494"/>
                  </a:lnTo>
                  <a:lnTo>
                    <a:pt x="498" y="494"/>
                  </a:lnTo>
                  <a:lnTo>
                    <a:pt x="498" y="487"/>
                  </a:lnTo>
                  <a:lnTo>
                    <a:pt x="498" y="487"/>
                  </a:lnTo>
                  <a:lnTo>
                    <a:pt x="501" y="484"/>
                  </a:lnTo>
                  <a:lnTo>
                    <a:pt x="508" y="480"/>
                  </a:lnTo>
                  <a:lnTo>
                    <a:pt x="508" y="474"/>
                  </a:lnTo>
                  <a:lnTo>
                    <a:pt x="511" y="474"/>
                  </a:lnTo>
                  <a:lnTo>
                    <a:pt x="511" y="474"/>
                  </a:lnTo>
                  <a:lnTo>
                    <a:pt x="521" y="457"/>
                  </a:lnTo>
                  <a:lnTo>
                    <a:pt x="521" y="457"/>
                  </a:lnTo>
                  <a:lnTo>
                    <a:pt x="538" y="460"/>
                  </a:lnTo>
                  <a:lnTo>
                    <a:pt x="552" y="463"/>
                  </a:lnTo>
                  <a:lnTo>
                    <a:pt x="552" y="463"/>
                  </a:lnTo>
                  <a:lnTo>
                    <a:pt x="558" y="470"/>
                  </a:lnTo>
                  <a:lnTo>
                    <a:pt x="558" y="470"/>
                  </a:lnTo>
                  <a:lnTo>
                    <a:pt x="575" y="467"/>
                  </a:lnTo>
                  <a:lnTo>
                    <a:pt x="575" y="467"/>
                  </a:lnTo>
                  <a:lnTo>
                    <a:pt x="595" y="437"/>
                  </a:lnTo>
                  <a:lnTo>
                    <a:pt x="595" y="437"/>
                  </a:lnTo>
                  <a:lnTo>
                    <a:pt x="595" y="433"/>
                  </a:lnTo>
                  <a:lnTo>
                    <a:pt x="595" y="430"/>
                  </a:lnTo>
                  <a:lnTo>
                    <a:pt x="595" y="430"/>
                  </a:lnTo>
                  <a:lnTo>
                    <a:pt x="602" y="430"/>
                  </a:lnTo>
                  <a:lnTo>
                    <a:pt x="602" y="430"/>
                  </a:lnTo>
                  <a:lnTo>
                    <a:pt x="605" y="443"/>
                  </a:lnTo>
                  <a:lnTo>
                    <a:pt x="605" y="453"/>
                  </a:lnTo>
                  <a:lnTo>
                    <a:pt x="602" y="460"/>
                  </a:lnTo>
                  <a:lnTo>
                    <a:pt x="595" y="470"/>
                  </a:lnTo>
                  <a:lnTo>
                    <a:pt x="589" y="474"/>
                  </a:lnTo>
                  <a:lnTo>
                    <a:pt x="589" y="474"/>
                  </a:lnTo>
                  <a:lnTo>
                    <a:pt x="592" y="477"/>
                  </a:lnTo>
                  <a:lnTo>
                    <a:pt x="592" y="480"/>
                  </a:lnTo>
                  <a:lnTo>
                    <a:pt x="592" y="480"/>
                  </a:lnTo>
                  <a:lnTo>
                    <a:pt x="592" y="484"/>
                  </a:lnTo>
                  <a:lnTo>
                    <a:pt x="589" y="487"/>
                  </a:lnTo>
                  <a:lnTo>
                    <a:pt x="589" y="487"/>
                  </a:lnTo>
                  <a:lnTo>
                    <a:pt x="602" y="504"/>
                  </a:lnTo>
                  <a:lnTo>
                    <a:pt x="602" y="504"/>
                  </a:lnTo>
                  <a:lnTo>
                    <a:pt x="609" y="507"/>
                  </a:lnTo>
                  <a:lnTo>
                    <a:pt x="615" y="507"/>
                  </a:lnTo>
                  <a:lnTo>
                    <a:pt x="619" y="504"/>
                  </a:lnTo>
                  <a:lnTo>
                    <a:pt x="619" y="504"/>
                  </a:lnTo>
                  <a:lnTo>
                    <a:pt x="622" y="500"/>
                  </a:lnTo>
                  <a:lnTo>
                    <a:pt x="622" y="494"/>
                  </a:lnTo>
                  <a:lnTo>
                    <a:pt x="622" y="490"/>
                  </a:lnTo>
                  <a:lnTo>
                    <a:pt x="625" y="487"/>
                  </a:lnTo>
                  <a:lnTo>
                    <a:pt x="625" y="487"/>
                  </a:lnTo>
                  <a:lnTo>
                    <a:pt x="629" y="487"/>
                  </a:lnTo>
                  <a:lnTo>
                    <a:pt x="632" y="487"/>
                  </a:lnTo>
                  <a:lnTo>
                    <a:pt x="632" y="487"/>
                  </a:lnTo>
                  <a:lnTo>
                    <a:pt x="636" y="484"/>
                  </a:lnTo>
                  <a:lnTo>
                    <a:pt x="636" y="480"/>
                  </a:lnTo>
                  <a:lnTo>
                    <a:pt x="636" y="477"/>
                  </a:lnTo>
                  <a:lnTo>
                    <a:pt x="636" y="474"/>
                  </a:lnTo>
                  <a:lnTo>
                    <a:pt x="636" y="474"/>
                  </a:lnTo>
                  <a:lnTo>
                    <a:pt x="642" y="470"/>
                  </a:lnTo>
                  <a:lnTo>
                    <a:pt x="642" y="470"/>
                  </a:lnTo>
                  <a:lnTo>
                    <a:pt x="646" y="467"/>
                  </a:lnTo>
                  <a:lnTo>
                    <a:pt x="642" y="463"/>
                  </a:lnTo>
                  <a:lnTo>
                    <a:pt x="639" y="450"/>
                  </a:lnTo>
                  <a:lnTo>
                    <a:pt x="639" y="450"/>
                  </a:lnTo>
                  <a:lnTo>
                    <a:pt x="642" y="437"/>
                  </a:lnTo>
                  <a:lnTo>
                    <a:pt x="646" y="427"/>
                  </a:lnTo>
                  <a:lnTo>
                    <a:pt x="646" y="427"/>
                  </a:lnTo>
                  <a:lnTo>
                    <a:pt x="646" y="427"/>
                  </a:lnTo>
                  <a:lnTo>
                    <a:pt x="649" y="427"/>
                  </a:lnTo>
                  <a:lnTo>
                    <a:pt x="659" y="427"/>
                  </a:lnTo>
                  <a:lnTo>
                    <a:pt x="659" y="427"/>
                  </a:lnTo>
                  <a:lnTo>
                    <a:pt x="662" y="427"/>
                  </a:lnTo>
                  <a:lnTo>
                    <a:pt x="662" y="427"/>
                  </a:lnTo>
                  <a:lnTo>
                    <a:pt x="666" y="430"/>
                  </a:lnTo>
                  <a:lnTo>
                    <a:pt x="666" y="433"/>
                  </a:lnTo>
                  <a:lnTo>
                    <a:pt x="666" y="437"/>
                  </a:lnTo>
                  <a:lnTo>
                    <a:pt x="666" y="437"/>
                  </a:lnTo>
                  <a:lnTo>
                    <a:pt x="673" y="437"/>
                  </a:lnTo>
                  <a:lnTo>
                    <a:pt x="673" y="437"/>
                  </a:lnTo>
                  <a:lnTo>
                    <a:pt x="673" y="433"/>
                  </a:lnTo>
                  <a:lnTo>
                    <a:pt x="673" y="433"/>
                  </a:lnTo>
                  <a:lnTo>
                    <a:pt x="696" y="430"/>
                  </a:lnTo>
                  <a:lnTo>
                    <a:pt x="696" y="430"/>
                  </a:lnTo>
                  <a:lnTo>
                    <a:pt x="709" y="427"/>
                  </a:lnTo>
                  <a:lnTo>
                    <a:pt x="720" y="420"/>
                  </a:lnTo>
                  <a:lnTo>
                    <a:pt x="720" y="420"/>
                  </a:lnTo>
                  <a:lnTo>
                    <a:pt x="736" y="410"/>
                  </a:lnTo>
                  <a:lnTo>
                    <a:pt x="736" y="410"/>
                  </a:lnTo>
                  <a:lnTo>
                    <a:pt x="750" y="403"/>
                  </a:lnTo>
                  <a:lnTo>
                    <a:pt x="750" y="403"/>
                  </a:lnTo>
                  <a:lnTo>
                    <a:pt x="760" y="403"/>
                  </a:lnTo>
                  <a:lnTo>
                    <a:pt x="770" y="406"/>
                  </a:lnTo>
                  <a:lnTo>
                    <a:pt x="770" y="406"/>
                  </a:lnTo>
                  <a:lnTo>
                    <a:pt x="780" y="406"/>
                  </a:lnTo>
                  <a:lnTo>
                    <a:pt x="787" y="403"/>
                  </a:lnTo>
                  <a:lnTo>
                    <a:pt x="787" y="403"/>
                  </a:lnTo>
                  <a:lnTo>
                    <a:pt x="797" y="403"/>
                  </a:lnTo>
                  <a:lnTo>
                    <a:pt x="804" y="396"/>
                  </a:lnTo>
                  <a:lnTo>
                    <a:pt x="804" y="396"/>
                  </a:lnTo>
                  <a:lnTo>
                    <a:pt x="830" y="376"/>
                  </a:lnTo>
                  <a:lnTo>
                    <a:pt x="830" y="376"/>
                  </a:lnTo>
                  <a:lnTo>
                    <a:pt x="837" y="366"/>
                  </a:lnTo>
                  <a:lnTo>
                    <a:pt x="841" y="363"/>
                  </a:lnTo>
                  <a:lnTo>
                    <a:pt x="844" y="363"/>
                  </a:lnTo>
                  <a:lnTo>
                    <a:pt x="844" y="363"/>
                  </a:lnTo>
                  <a:lnTo>
                    <a:pt x="847" y="359"/>
                  </a:lnTo>
                  <a:lnTo>
                    <a:pt x="847" y="6"/>
                  </a:lnTo>
                  <a:lnTo>
                    <a:pt x="847" y="6"/>
                  </a:lnTo>
                  <a:lnTo>
                    <a:pt x="834" y="0"/>
                  </a:lnTo>
                  <a:lnTo>
                    <a:pt x="834" y="0"/>
                  </a:lnTo>
                  <a:close/>
                </a:path>
              </a:pathLst>
            </a:custGeom>
            <a:solidFill>
              <a:srgbClr val="C0C0C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EYInterstate" pitchFamily="2" charset="0"/>
                <a:cs typeface="Arial" charset="0"/>
              </a:endParaRPr>
            </a:p>
          </p:txBody>
        </p:sp>
        <p:sp>
          <p:nvSpPr>
            <p:cNvPr id="53" name="Freeform 67"/>
            <p:cNvSpPr>
              <a:spLocks noEditPoints="1"/>
            </p:cNvSpPr>
            <p:nvPr/>
          </p:nvSpPr>
          <p:spPr bwMode="auto">
            <a:xfrm>
              <a:off x="3018" y="2880"/>
              <a:ext cx="296" cy="282"/>
            </a:xfrm>
            <a:custGeom>
              <a:avLst/>
              <a:gdLst/>
              <a:ahLst/>
              <a:cxnLst>
                <a:cxn ang="0">
                  <a:pos x="218" y="285"/>
                </a:cxn>
                <a:cxn ang="0">
                  <a:pos x="195" y="279"/>
                </a:cxn>
                <a:cxn ang="0">
                  <a:pos x="202" y="262"/>
                </a:cxn>
                <a:cxn ang="0">
                  <a:pos x="235" y="285"/>
                </a:cxn>
                <a:cxn ang="0">
                  <a:pos x="252" y="299"/>
                </a:cxn>
                <a:cxn ang="0">
                  <a:pos x="23" y="114"/>
                </a:cxn>
                <a:cxn ang="0">
                  <a:pos x="44" y="80"/>
                </a:cxn>
                <a:cxn ang="0">
                  <a:pos x="67" y="121"/>
                </a:cxn>
                <a:cxn ang="0">
                  <a:pos x="67" y="151"/>
                </a:cxn>
                <a:cxn ang="0">
                  <a:pos x="84" y="151"/>
                </a:cxn>
                <a:cxn ang="0">
                  <a:pos x="77" y="168"/>
                </a:cxn>
                <a:cxn ang="0">
                  <a:pos x="97" y="195"/>
                </a:cxn>
                <a:cxn ang="0">
                  <a:pos x="138" y="218"/>
                </a:cxn>
                <a:cxn ang="0">
                  <a:pos x="144" y="235"/>
                </a:cxn>
                <a:cxn ang="0">
                  <a:pos x="192" y="255"/>
                </a:cxn>
                <a:cxn ang="0">
                  <a:pos x="198" y="245"/>
                </a:cxn>
                <a:cxn ang="0">
                  <a:pos x="178" y="221"/>
                </a:cxn>
                <a:cxn ang="0">
                  <a:pos x="165" y="205"/>
                </a:cxn>
                <a:cxn ang="0">
                  <a:pos x="148" y="174"/>
                </a:cxn>
                <a:cxn ang="0">
                  <a:pos x="131" y="147"/>
                </a:cxn>
                <a:cxn ang="0">
                  <a:pos x="128" y="124"/>
                </a:cxn>
                <a:cxn ang="0">
                  <a:pos x="118" y="114"/>
                </a:cxn>
                <a:cxn ang="0">
                  <a:pos x="121" y="90"/>
                </a:cxn>
                <a:cxn ang="0">
                  <a:pos x="134" y="84"/>
                </a:cxn>
                <a:cxn ang="0">
                  <a:pos x="148" y="104"/>
                </a:cxn>
                <a:cxn ang="0">
                  <a:pos x="158" y="84"/>
                </a:cxn>
                <a:cxn ang="0">
                  <a:pos x="178" y="84"/>
                </a:cxn>
                <a:cxn ang="0">
                  <a:pos x="198" y="94"/>
                </a:cxn>
                <a:cxn ang="0">
                  <a:pos x="215" y="100"/>
                </a:cxn>
                <a:cxn ang="0">
                  <a:pos x="235" y="100"/>
                </a:cxn>
                <a:cxn ang="0">
                  <a:pos x="242" y="104"/>
                </a:cxn>
                <a:cxn ang="0">
                  <a:pos x="265" y="110"/>
                </a:cxn>
                <a:cxn ang="0">
                  <a:pos x="269" y="124"/>
                </a:cxn>
                <a:cxn ang="0">
                  <a:pos x="286" y="124"/>
                </a:cxn>
                <a:cxn ang="0">
                  <a:pos x="282" y="107"/>
                </a:cxn>
                <a:cxn ang="0">
                  <a:pos x="292" y="94"/>
                </a:cxn>
                <a:cxn ang="0">
                  <a:pos x="289" y="94"/>
                </a:cxn>
                <a:cxn ang="0">
                  <a:pos x="279" y="84"/>
                </a:cxn>
                <a:cxn ang="0">
                  <a:pos x="279" y="74"/>
                </a:cxn>
                <a:cxn ang="0">
                  <a:pos x="272" y="63"/>
                </a:cxn>
                <a:cxn ang="0">
                  <a:pos x="255" y="60"/>
                </a:cxn>
                <a:cxn ang="0">
                  <a:pos x="222" y="50"/>
                </a:cxn>
                <a:cxn ang="0">
                  <a:pos x="192" y="33"/>
                </a:cxn>
                <a:cxn ang="0">
                  <a:pos x="161" y="3"/>
                </a:cxn>
                <a:cxn ang="0">
                  <a:pos x="151" y="10"/>
                </a:cxn>
                <a:cxn ang="0">
                  <a:pos x="138" y="13"/>
                </a:cxn>
                <a:cxn ang="0">
                  <a:pos x="118" y="23"/>
                </a:cxn>
                <a:cxn ang="0">
                  <a:pos x="118" y="40"/>
                </a:cxn>
                <a:cxn ang="0">
                  <a:pos x="107" y="53"/>
                </a:cxn>
                <a:cxn ang="0">
                  <a:pos x="91" y="60"/>
                </a:cxn>
                <a:cxn ang="0">
                  <a:pos x="94" y="77"/>
                </a:cxn>
                <a:cxn ang="0">
                  <a:pos x="77" y="74"/>
                </a:cxn>
                <a:cxn ang="0">
                  <a:pos x="60" y="74"/>
                </a:cxn>
                <a:cxn ang="0">
                  <a:pos x="54" y="60"/>
                </a:cxn>
                <a:cxn ang="0">
                  <a:pos x="37" y="74"/>
                </a:cxn>
                <a:cxn ang="0">
                  <a:pos x="20" y="74"/>
                </a:cxn>
                <a:cxn ang="0">
                  <a:pos x="74" y="147"/>
                </a:cxn>
                <a:cxn ang="0">
                  <a:pos x="181" y="258"/>
                </a:cxn>
                <a:cxn ang="0">
                  <a:pos x="168" y="248"/>
                </a:cxn>
                <a:cxn ang="0">
                  <a:pos x="84" y="191"/>
                </a:cxn>
                <a:cxn ang="0">
                  <a:pos x="40" y="107"/>
                </a:cxn>
                <a:cxn ang="0">
                  <a:pos x="44" y="104"/>
                </a:cxn>
                <a:cxn ang="0">
                  <a:pos x="64" y="110"/>
                </a:cxn>
              </a:cxnLst>
              <a:rect l="0" t="0" r="r" b="b"/>
              <a:pathLst>
                <a:path w="296" h="299">
                  <a:moveTo>
                    <a:pt x="252" y="299"/>
                  </a:moveTo>
                  <a:lnTo>
                    <a:pt x="252" y="299"/>
                  </a:lnTo>
                  <a:lnTo>
                    <a:pt x="249" y="299"/>
                  </a:lnTo>
                  <a:lnTo>
                    <a:pt x="242" y="299"/>
                  </a:lnTo>
                  <a:lnTo>
                    <a:pt x="242" y="299"/>
                  </a:lnTo>
                  <a:lnTo>
                    <a:pt x="239" y="292"/>
                  </a:lnTo>
                  <a:lnTo>
                    <a:pt x="239" y="289"/>
                  </a:lnTo>
                  <a:lnTo>
                    <a:pt x="239" y="289"/>
                  </a:lnTo>
                  <a:lnTo>
                    <a:pt x="228" y="285"/>
                  </a:lnTo>
                  <a:lnTo>
                    <a:pt x="218" y="285"/>
                  </a:lnTo>
                  <a:lnTo>
                    <a:pt x="218" y="285"/>
                  </a:lnTo>
                  <a:lnTo>
                    <a:pt x="215" y="275"/>
                  </a:lnTo>
                  <a:lnTo>
                    <a:pt x="215" y="275"/>
                  </a:lnTo>
                  <a:lnTo>
                    <a:pt x="212" y="275"/>
                  </a:lnTo>
                  <a:lnTo>
                    <a:pt x="205" y="275"/>
                  </a:lnTo>
                  <a:lnTo>
                    <a:pt x="205" y="275"/>
                  </a:lnTo>
                  <a:lnTo>
                    <a:pt x="208" y="282"/>
                  </a:lnTo>
                  <a:lnTo>
                    <a:pt x="208" y="282"/>
                  </a:lnTo>
                  <a:lnTo>
                    <a:pt x="202" y="282"/>
                  </a:lnTo>
                  <a:lnTo>
                    <a:pt x="195" y="279"/>
                  </a:lnTo>
                  <a:lnTo>
                    <a:pt x="195" y="279"/>
                  </a:lnTo>
                  <a:lnTo>
                    <a:pt x="192" y="272"/>
                  </a:lnTo>
                  <a:lnTo>
                    <a:pt x="192" y="272"/>
                  </a:lnTo>
                  <a:lnTo>
                    <a:pt x="202" y="272"/>
                  </a:lnTo>
                  <a:lnTo>
                    <a:pt x="202" y="272"/>
                  </a:lnTo>
                  <a:lnTo>
                    <a:pt x="195" y="268"/>
                  </a:lnTo>
                  <a:lnTo>
                    <a:pt x="195" y="268"/>
                  </a:lnTo>
                  <a:lnTo>
                    <a:pt x="198" y="265"/>
                  </a:lnTo>
                  <a:lnTo>
                    <a:pt x="202" y="262"/>
                  </a:lnTo>
                  <a:lnTo>
                    <a:pt x="202" y="262"/>
                  </a:lnTo>
                  <a:lnTo>
                    <a:pt x="212" y="268"/>
                  </a:lnTo>
                  <a:lnTo>
                    <a:pt x="212" y="268"/>
                  </a:lnTo>
                  <a:lnTo>
                    <a:pt x="218" y="272"/>
                  </a:lnTo>
                  <a:lnTo>
                    <a:pt x="218" y="272"/>
                  </a:lnTo>
                  <a:lnTo>
                    <a:pt x="222" y="275"/>
                  </a:lnTo>
                  <a:lnTo>
                    <a:pt x="222" y="275"/>
                  </a:lnTo>
                  <a:lnTo>
                    <a:pt x="228" y="279"/>
                  </a:lnTo>
                  <a:lnTo>
                    <a:pt x="232" y="282"/>
                  </a:lnTo>
                  <a:lnTo>
                    <a:pt x="232" y="282"/>
                  </a:lnTo>
                  <a:lnTo>
                    <a:pt x="235" y="285"/>
                  </a:lnTo>
                  <a:lnTo>
                    <a:pt x="235" y="285"/>
                  </a:lnTo>
                  <a:lnTo>
                    <a:pt x="239" y="282"/>
                  </a:lnTo>
                  <a:lnTo>
                    <a:pt x="239" y="282"/>
                  </a:lnTo>
                  <a:lnTo>
                    <a:pt x="242" y="285"/>
                  </a:lnTo>
                  <a:lnTo>
                    <a:pt x="245" y="289"/>
                  </a:lnTo>
                  <a:lnTo>
                    <a:pt x="245" y="289"/>
                  </a:lnTo>
                  <a:lnTo>
                    <a:pt x="249" y="289"/>
                  </a:lnTo>
                  <a:lnTo>
                    <a:pt x="249" y="289"/>
                  </a:lnTo>
                  <a:lnTo>
                    <a:pt x="252" y="299"/>
                  </a:lnTo>
                  <a:lnTo>
                    <a:pt x="252" y="299"/>
                  </a:lnTo>
                  <a:close/>
                  <a:moveTo>
                    <a:pt x="3" y="63"/>
                  </a:moveTo>
                  <a:lnTo>
                    <a:pt x="3" y="63"/>
                  </a:lnTo>
                  <a:lnTo>
                    <a:pt x="0" y="70"/>
                  </a:lnTo>
                  <a:lnTo>
                    <a:pt x="0" y="77"/>
                  </a:lnTo>
                  <a:lnTo>
                    <a:pt x="7" y="94"/>
                  </a:lnTo>
                  <a:lnTo>
                    <a:pt x="7" y="94"/>
                  </a:lnTo>
                  <a:lnTo>
                    <a:pt x="10" y="104"/>
                  </a:lnTo>
                  <a:lnTo>
                    <a:pt x="17" y="114"/>
                  </a:lnTo>
                  <a:lnTo>
                    <a:pt x="17" y="114"/>
                  </a:lnTo>
                  <a:lnTo>
                    <a:pt x="23" y="114"/>
                  </a:lnTo>
                  <a:lnTo>
                    <a:pt x="23" y="114"/>
                  </a:lnTo>
                  <a:lnTo>
                    <a:pt x="23" y="110"/>
                  </a:lnTo>
                  <a:lnTo>
                    <a:pt x="27" y="107"/>
                  </a:lnTo>
                  <a:lnTo>
                    <a:pt x="27" y="107"/>
                  </a:lnTo>
                  <a:lnTo>
                    <a:pt x="34" y="104"/>
                  </a:lnTo>
                  <a:lnTo>
                    <a:pt x="34" y="104"/>
                  </a:lnTo>
                  <a:lnTo>
                    <a:pt x="37" y="94"/>
                  </a:lnTo>
                  <a:lnTo>
                    <a:pt x="40" y="84"/>
                  </a:lnTo>
                  <a:lnTo>
                    <a:pt x="40" y="84"/>
                  </a:lnTo>
                  <a:lnTo>
                    <a:pt x="44" y="80"/>
                  </a:lnTo>
                  <a:lnTo>
                    <a:pt x="44" y="80"/>
                  </a:lnTo>
                  <a:lnTo>
                    <a:pt x="47" y="87"/>
                  </a:lnTo>
                  <a:lnTo>
                    <a:pt x="47" y="87"/>
                  </a:lnTo>
                  <a:lnTo>
                    <a:pt x="54" y="87"/>
                  </a:lnTo>
                  <a:lnTo>
                    <a:pt x="60" y="90"/>
                  </a:lnTo>
                  <a:lnTo>
                    <a:pt x="60" y="90"/>
                  </a:lnTo>
                  <a:lnTo>
                    <a:pt x="64" y="94"/>
                  </a:lnTo>
                  <a:lnTo>
                    <a:pt x="67" y="104"/>
                  </a:lnTo>
                  <a:lnTo>
                    <a:pt x="67" y="121"/>
                  </a:lnTo>
                  <a:lnTo>
                    <a:pt x="67" y="121"/>
                  </a:lnTo>
                  <a:lnTo>
                    <a:pt x="57" y="117"/>
                  </a:lnTo>
                  <a:lnTo>
                    <a:pt x="57" y="117"/>
                  </a:lnTo>
                  <a:lnTo>
                    <a:pt x="57" y="124"/>
                  </a:lnTo>
                  <a:lnTo>
                    <a:pt x="57" y="124"/>
                  </a:lnTo>
                  <a:lnTo>
                    <a:pt x="64" y="131"/>
                  </a:lnTo>
                  <a:lnTo>
                    <a:pt x="71" y="137"/>
                  </a:lnTo>
                  <a:lnTo>
                    <a:pt x="71" y="137"/>
                  </a:lnTo>
                  <a:lnTo>
                    <a:pt x="71" y="141"/>
                  </a:lnTo>
                  <a:lnTo>
                    <a:pt x="67" y="141"/>
                  </a:lnTo>
                  <a:lnTo>
                    <a:pt x="67" y="151"/>
                  </a:lnTo>
                  <a:lnTo>
                    <a:pt x="67" y="151"/>
                  </a:lnTo>
                  <a:lnTo>
                    <a:pt x="71" y="151"/>
                  </a:lnTo>
                  <a:lnTo>
                    <a:pt x="77" y="151"/>
                  </a:lnTo>
                  <a:lnTo>
                    <a:pt x="77" y="147"/>
                  </a:lnTo>
                  <a:lnTo>
                    <a:pt x="77" y="147"/>
                  </a:lnTo>
                  <a:lnTo>
                    <a:pt x="81" y="147"/>
                  </a:lnTo>
                  <a:lnTo>
                    <a:pt x="81" y="151"/>
                  </a:lnTo>
                  <a:lnTo>
                    <a:pt x="81" y="151"/>
                  </a:lnTo>
                  <a:lnTo>
                    <a:pt x="84" y="151"/>
                  </a:lnTo>
                  <a:lnTo>
                    <a:pt x="84" y="151"/>
                  </a:lnTo>
                  <a:lnTo>
                    <a:pt x="84" y="151"/>
                  </a:lnTo>
                  <a:lnTo>
                    <a:pt x="84" y="151"/>
                  </a:lnTo>
                  <a:lnTo>
                    <a:pt x="84" y="154"/>
                  </a:lnTo>
                  <a:lnTo>
                    <a:pt x="84" y="158"/>
                  </a:lnTo>
                  <a:lnTo>
                    <a:pt x="84" y="158"/>
                  </a:lnTo>
                  <a:lnTo>
                    <a:pt x="77" y="161"/>
                  </a:lnTo>
                  <a:lnTo>
                    <a:pt x="77" y="168"/>
                  </a:lnTo>
                  <a:lnTo>
                    <a:pt x="77" y="168"/>
                  </a:lnTo>
                  <a:lnTo>
                    <a:pt x="81" y="168"/>
                  </a:lnTo>
                  <a:lnTo>
                    <a:pt x="77" y="168"/>
                  </a:lnTo>
                  <a:lnTo>
                    <a:pt x="77" y="168"/>
                  </a:lnTo>
                  <a:lnTo>
                    <a:pt x="71" y="168"/>
                  </a:lnTo>
                  <a:lnTo>
                    <a:pt x="71" y="174"/>
                  </a:lnTo>
                  <a:lnTo>
                    <a:pt x="71" y="174"/>
                  </a:lnTo>
                  <a:lnTo>
                    <a:pt x="81" y="184"/>
                  </a:lnTo>
                  <a:lnTo>
                    <a:pt x="81" y="184"/>
                  </a:lnTo>
                  <a:lnTo>
                    <a:pt x="91" y="184"/>
                  </a:lnTo>
                  <a:lnTo>
                    <a:pt x="97" y="188"/>
                  </a:lnTo>
                  <a:lnTo>
                    <a:pt x="97" y="188"/>
                  </a:lnTo>
                  <a:lnTo>
                    <a:pt x="97" y="195"/>
                  </a:lnTo>
                  <a:lnTo>
                    <a:pt x="101" y="198"/>
                  </a:lnTo>
                  <a:lnTo>
                    <a:pt x="101" y="198"/>
                  </a:lnTo>
                  <a:lnTo>
                    <a:pt x="111" y="205"/>
                  </a:lnTo>
                  <a:lnTo>
                    <a:pt x="114" y="208"/>
                  </a:lnTo>
                  <a:lnTo>
                    <a:pt x="118" y="218"/>
                  </a:lnTo>
                  <a:lnTo>
                    <a:pt x="131" y="218"/>
                  </a:lnTo>
                  <a:lnTo>
                    <a:pt x="134" y="221"/>
                  </a:lnTo>
                  <a:lnTo>
                    <a:pt x="134" y="221"/>
                  </a:lnTo>
                  <a:lnTo>
                    <a:pt x="138" y="221"/>
                  </a:lnTo>
                  <a:lnTo>
                    <a:pt x="138" y="218"/>
                  </a:lnTo>
                  <a:lnTo>
                    <a:pt x="141" y="218"/>
                  </a:lnTo>
                  <a:lnTo>
                    <a:pt x="144" y="218"/>
                  </a:lnTo>
                  <a:lnTo>
                    <a:pt x="144" y="218"/>
                  </a:lnTo>
                  <a:lnTo>
                    <a:pt x="151" y="221"/>
                  </a:lnTo>
                  <a:lnTo>
                    <a:pt x="155" y="228"/>
                  </a:lnTo>
                  <a:lnTo>
                    <a:pt x="155" y="228"/>
                  </a:lnTo>
                  <a:lnTo>
                    <a:pt x="134" y="228"/>
                  </a:lnTo>
                  <a:lnTo>
                    <a:pt x="134" y="228"/>
                  </a:lnTo>
                  <a:lnTo>
                    <a:pt x="144" y="235"/>
                  </a:lnTo>
                  <a:lnTo>
                    <a:pt x="144" y="235"/>
                  </a:lnTo>
                  <a:lnTo>
                    <a:pt x="155" y="235"/>
                  </a:lnTo>
                  <a:lnTo>
                    <a:pt x="161" y="231"/>
                  </a:lnTo>
                  <a:lnTo>
                    <a:pt x="165" y="228"/>
                  </a:lnTo>
                  <a:lnTo>
                    <a:pt x="171" y="231"/>
                  </a:lnTo>
                  <a:lnTo>
                    <a:pt x="171" y="231"/>
                  </a:lnTo>
                  <a:lnTo>
                    <a:pt x="175" y="235"/>
                  </a:lnTo>
                  <a:lnTo>
                    <a:pt x="175" y="238"/>
                  </a:lnTo>
                  <a:lnTo>
                    <a:pt x="175" y="238"/>
                  </a:lnTo>
                  <a:lnTo>
                    <a:pt x="185" y="248"/>
                  </a:lnTo>
                  <a:lnTo>
                    <a:pt x="192" y="255"/>
                  </a:lnTo>
                  <a:lnTo>
                    <a:pt x="192" y="255"/>
                  </a:lnTo>
                  <a:lnTo>
                    <a:pt x="185" y="258"/>
                  </a:lnTo>
                  <a:lnTo>
                    <a:pt x="185" y="262"/>
                  </a:lnTo>
                  <a:lnTo>
                    <a:pt x="185" y="262"/>
                  </a:lnTo>
                  <a:lnTo>
                    <a:pt x="198" y="255"/>
                  </a:lnTo>
                  <a:lnTo>
                    <a:pt x="198" y="255"/>
                  </a:lnTo>
                  <a:lnTo>
                    <a:pt x="198" y="252"/>
                  </a:lnTo>
                  <a:lnTo>
                    <a:pt x="198" y="248"/>
                  </a:lnTo>
                  <a:lnTo>
                    <a:pt x="198" y="248"/>
                  </a:lnTo>
                  <a:lnTo>
                    <a:pt x="198" y="245"/>
                  </a:lnTo>
                  <a:lnTo>
                    <a:pt x="192" y="242"/>
                  </a:lnTo>
                  <a:lnTo>
                    <a:pt x="192" y="242"/>
                  </a:lnTo>
                  <a:lnTo>
                    <a:pt x="188" y="238"/>
                  </a:lnTo>
                  <a:lnTo>
                    <a:pt x="188" y="238"/>
                  </a:lnTo>
                  <a:lnTo>
                    <a:pt x="188" y="231"/>
                  </a:lnTo>
                  <a:lnTo>
                    <a:pt x="188" y="231"/>
                  </a:lnTo>
                  <a:lnTo>
                    <a:pt x="181" y="228"/>
                  </a:lnTo>
                  <a:lnTo>
                    <a:pt x="181" y="228"/>
                  </a:lnTo>
                  <a:lnTo>
                    <a:pt x="178" y="221"/>
                  </a:lnTo>
                  <a:lnTo>
                    <a:pt x="178" y="221"/>
                  </a:lnTo>
                  <a:lnTo>
                    <a:pt x="178" y="218"/>
                  </a:lnTo>
                  <a:lnTo>
                    <a:pt x="178" y="218"/>
                  </a:lnTo>
                  <a:lnTo>
                    <a:pt x="181" y="211"/>
                  </a:lnTo>
                  <a:lnTo>
                    <a:pt x="181" y="211"/>
                  </a:lnTo>
                  <a:lnTo>
                    <a:pt x="181" y="211"/>
                  </a:lnTo>
                  <a:lnTo>
                    <a:pt x="178" y="208"/>
                  </a:lnTo>
                  <a:lnTo>
                    <a:pt x="171" y="208"/>
                  </a:lnTo>
                  <a:lnTo>
                    <a:pt x="171" y="208"/>
                  </a:lnTo>
                  <a:lnTo>
                    <a:pt x="165" y="205"/>
                  </a:lnTo>
                  <a:lnTo>
                    <a:pt x="165" y="205"/>
                  </a:lnTo>
                  <a:lnTo>
                    <a:pt x="161" y="195"/>
                  </a:lnTo>
                  <a:lnTo>
                    <a:pt x="161" y="195"/>
                  </a:lnTo>
                  <a:lnTo>
                    <a:pt x="161" y="191"/>
                  </a:lnTo>
                  <a:lnTo>
                    <a:pt x="161" y="191"/>
                  </a:lnTo>
                  <a:lnTo>
                    <a:pt x="158" y="184"/>
                  </a:lnTo>
                  <a:lnTo>
                    <a:pt x="158" y="184"/>
                  </a:lnTo>
                  <a:lnTo>
                    <a:pt x="155" y="184"/>
                  </a:lnTo>
                  <a:lnTo>
                    <a:pt x="155" y="184"/>
                  </a:lnTo>
                  <a:lnTo>
                    <a:pt x="148" y="174"/>
                  </a:lnTo>
                  <a:lnTo>
                    <a:pt x="148" y="174"/>
                  </a:lnTo>
                  <a:lnTo>
                    <a:pt x="148" y="171"/>
                  </a:lnTo>
                  <a:lnTo>
                    <a:pt x="148" y="171"/>
                  </a:lnTo>
                  <a:lnTo>
                    <a:pt x="144" y="164"/>
                  </a:lnTo>
                  <a:lnTo>
                    <a:pt x="144" y="164"/>
                  </a:lnTo>
                  <a:lnTo>
                    <a:pt x="141" y="161"/>
                  </a:lnTo>
                  <a:lnTo>
                    <a:pt x="141" y="161"/>
                  </a:lnTo>
                  <a:lnTo>
                    <a:pt x="138" y="154"/>
                  </a:lnTo>
                  <a:lnTo>
                    <a:pt x="138" y="154"/>
                  </a:lnTo>
                  <a:lnTo>
                    <a:pt x="134" y="151"/>
                  </a:lnTo>
                  <a:lnTo>
                    <a:pt x="131" y="147"/>
                  </a:lnTo>
                  <a:lnTo>
                    <a:pt x="131" y="147"/>
                  </a:lnTo>
                  <a:lnTo>
                    <a:pt x="134" y="144"/>
                  </a:lnTo>
                  <a:lnTo>
                    <a:pt x="134" y="144"/>
                  </a:lnTo>
                  <a:lnTo>
                    <a:pt x="134" y="141"/>
                  </a:lnTo>
                  <a:lnTo>
                    <a:pt x="134" y="141"/>
                  </a:lnTo>
                  <a:lnTo>
                    <a:pt x="134" y="131"/>
                  </a:lnTo>
                  <a:lnTo>
                    <a:pt x="134" y="131"/>
                  </a:lnTo>
                  <a:lnTo>
                    <a:pt x="131" y="127"/>
                  </a:lnTo>
                  <a:lnTo>
                    <a:pt x="131" y="127"/>
                  </a:lnTo>
                  <a:lnTo>
                    <a:pt x="128" y="124"/>
                  </a:lnTo>
                  <a:lnTo>
                    <a:pt x="128" y="124"/>
                  </a:lnTo>
                  <a:lnTo>
                    <a:pt x="131" y="124"/>
                  </a:lnTo>
                  <a:lnTo>
                    <a:pt x="131" y="124"/>
                  </a:lnTo>
                  <a:lnTo>
                    <a:pt x="128" y="121"/>
                  </a:lnTo>
                  <a:lnTo>
                    <a:pt x="128" y="121"/>
                  </a:lnTo>
                  <a:lnTo>
                    <a:pt x="124" y="117"/>
                  </a:lnTo>
                  <a:lnTo>
                    <a:pt x="124" y="117"/>
                  </a:lnTo>
                  <a:lnTo>
                    <a:pt x="121" y="117"/>
                  </a:lnTo>
                  <a:lnTo>
                    <a:pt x="121" y="117"/>
                  </a:lnTo>
                  <a:lnTo>
                    <a:pt x="118" y="114"/>
                  </a:lnTo>
                  <a:lnTo>
                    <a:pt x="118" y="114"/>
                  </a:lnTo>
                  <a:lnTo>
                    <a:pt x="114" y="107"/>
                  </a:lnTo>
                  <a:lnTo>
                    <a:pt x="114" y="107"/>
                  </a:lnTo>
                  <a:lnTo>
                    <a:pt x="118" y="104"/>
                  </a:lnTo>
                  <a:lnTo>
                    <a:pt x="118" y="104"/>
                  </a:lnTo>
                  <a:lnTo>
                    <a:pt x="121" y="100"/>
                  </a:lnTo>
                  <a:lnTo>
                    <a:pt x="121" y="94"/>
                  </a:lnTo>
                  <a:lnTo>
                    <a:pt x="121" y="94"/>
                  </a:lnTo>
                  <a:lnTo>
                    <a:pt x="121" y="90"/>
                  </a:lnTo>
                  <a:lnTo>
                    <a:pt x="121" y="90"/>
                  </a:lnTo>
                  <a:lnTo>
                    <a:pt x="121" y="84"/>
                  </a:lnTo>
                  <a:lnTo>
                    <a:pt x="121" y="84"/>
                  </a:lnTo>
                  <a:lnTo>
                    <a:pt x="121" y="80"/>
                  </a:lnTo>
                  <a:lnTo>
                    <a:pt x="121" y="80"/>
                  </a:lnTo>
                  <a:lnTo>
                    <a:pt x="128" y="80"/>
                  </a:lnTo>
                  <a:lnTo>
                    <a:pt x="128" y="80"/>
                  </a:lnTo>
                  <a:lnTo>
                    <a:pt x="131" y="80"/>
                  </a:lnTo>
                  <a:lnTo>
                    <a:pt x="134" y="80"/>
                  </a:lnTo>
                  <a:lnTo>
                    <a:pt x="134" y="80"/>
                  </a:lnTo>
                  <a:lnTo>
                    <a:pt x="134" y="84"/>
                  </a:lnTo>
                  <a:lnTo>
                    <a:pt x="134" y="84"/>
                  </a:lnTo>
                  <a:lnTo>
                    <a:pt x="138" y="90"/>
                  </a:lnTo>
                  <a:lnTo>
                    <a:pt x="138" y="90"/>
                  </a:lnTo>
                  <a:lnTo>
                    <a:pt x="141" y="97"/>
                  </a:lnTo>
                  <a:lnTo>
                    <a:pt x="141" y="97"/>
                  </a:lnTo>
                  <a:lnTo>
                    <a:pt x="144" y="100"/>
                  </a:lnTo>
                  <a:lnTo>
                    <a:pt x="144" y="100"/>
                  </a:lnTo>
                  <a:lnTo>
                    <a:pt x="144" y="104"/>
                  </a:lnTo>
                  <a:lnTo>
                    <a:pt x="148" y="104"/>
                  </a:lnTo>
                  <a:lnTo>
                    <a:pt x="148" y="104"/>
                  </a:lnTo>
                  <a:lnTo>
                    <a:pt x="151" y="104"/>
                  </a:lnTo>
                  <a:lnTo>
                    <a:pt x="151" y="100"/>
                  </a:lnTo>
                  <a:lnTo>
                    <a:pt x="151" y="100"/>
                  </a:lnTo>
                  <a:lnTo>
                    <a:pt x="155" y="97"/>
                  </a:lnTo>
                  <a:lnTo>
                    <a:pt x="155" y="94"/>
                  </a:lnTo>
                  <a:lnTo>
                    <a:pt x="155" y="94"/>
                  </a:lnTo>
                  <a:lnTo>
                    <a:pt x="158" y="87"/>
                  </a:lnTo>
                  <a:lnTo>
                    <a:pt x="158" y="87"/>
                  </a:lnTo>
                  <a:lnTo>
                    <a:pt x="158" y="84"/>
                  </a:lnTo>
                  <a:lnTo>
                    <a:pt x="158" y="84"/>
                  </a:lnTo>
                  <a:lnTo>
                    <a:pt x="165" y="84"/>
                  </a:lnTo>
                  <a:lnTo>
                    <a:pt x="168" y="84"/>
                  </a:lnTo>
                  <a:lnTo>
                    <a:pt x="168" y="84"/>
                  </a:lnTo>
                  <a:lnTo>
                    <a:pt x="171" y="87"/>
                  </a:lnTo>
                  <a:lnTo>
                    <a:pt x="171" y="87"/>
                  </a:lnTo>
                  <a:lnTo>
                    <a:pt x="175" y="90"/>
                  </a:lnTo>
                  <a:lnTo>
                    <a:pt x="175" y="90"/>
                  </a:lnTo>
                  <a:lnTo>
                    <a:pt x="178" y="87"/>
                  </a:lnTo>
                  <a:lnTo>
                    <a:pt x="178" y="84"/>
                  </a:lnTo>
                  <a:lnTo>
                    <a:pt x="178" y="84"/>
                  </a:lnTo>
                  <a:lnTo>
                    <a:pt x="185" y="87"/>
                  </a:lnTo>
                  <a:lnTo>
                    <a:pt x="185" y="87"/>
                  </a:lnTo>
                  <a:lnTo>
                    <a:pt x="188" y="94"/>
                  </a:lnTo>
                  <a:lnTo>
                    <a:pt x="188" y="94"/>
                  </a:lnTo>
                  <a:lnTo>
                    <a:pt x="192" y="94"/>
                  </a:lnTo>
                  <a:lnTo>
                    <a:pt x="192" y="94"/>
                  </a:lnTo>
                  <a:lnTo>
                    <a:pt x="192" y="90"/>
                  </a:lnTo>
                  <a:lnTo>
                    <a:pt x="192" y="90"/>
                  </a:lnTo>
                  <a:lnTo>
                    <a:pt x="198" y="94"/>
                  </a:lnTo>
                  <a:lnTo>
                    <a:pt x="198" y="94"/>
                  </a:lnTo>
                  <a:lnTo>
                    <a:pt x="198" y="97"/>
                  </a:lnTo>
                  <a:lnTo>
                    <a:pt x="198" y="97"/>
                  </a:lnTo>
                  <a:lnTo>
                    <a:pt x="205" y="94"/>
                  </a:lnTo>
                  <a:lnTo>
                    <a:pt x="205" y="94"/>
                  </a:lnTo>
                  <a:lnTo>
                    <a:pt x="205" y="94"/>
                  </a:lnTo>
                  <a:lnTo>
                    <a:pt x="205" y="94"/>
                  </a:lnTo>
                  <a:lnTo>
                    <a:pt x="208" y="97"/>
                  </a:lnTo>
                  <a:lnTo>
                    <a:pt x="208" y="97"/>
                  </a:lnTo>
                  <a:lnTo>
                    <a:pt x="215" y="100"/>
                  </a:lnTo>
                  <a:lnTo>
                    <a:pt x="215" y="100"/>
                  </a:lnTo>
                  <a:lnTo>
                    <a:pt x="218" y="107"/>
                  </a:lnTo>
                  <a:lnTo>
                    <a:pt x="218" y="107"/>
                  </a:lnTo>
                  <a:lnTo>
                    <a:pt x="222" y="107"/>
                  </a:lnTo>
                  <a:lnTo>
                    <a:pt x="222" y="107"/>
                  </a:lnTo>
                  <a:lnTo>
                    <a:pt x="222" y="107"/>
                  </a:lnTo>
                  <a:lnTo>
                    <a:pt x="228" y="104"/>
                  </a:lnTo>
                  <a:lnTo>
                    <a:pt x="228" y="104"/>
                  </a:lnTo>
                  <a:lnTo>
                    <a:pt x="232" y="100"/>
                  </a:lnTo>
                  <a:lnTo>
                    <a:pt x="232" y="100"/>
                  </a:lnTo>
                  <a:lnTo>
                    <a:pt x="235" y="100"/>
                  </a:lnTo>
                  <a:lnTo>
                    <a:pt x="235" y="100"/>
                  </a:lnTo>
                  <a:lnTo>
                    <a:pt x="235" y="100"/>
                  </a:lnTo>
                  <a:lnTo>
                    <a:pt x="235" y="100"/>
                  </a:lnTo>
                  <a:lnTo>
                    <a:pt x="235" y="100"/>
                  </a:lnTo>
                  <a:lnTo>
                    <a:pt x="235" y="104"/>
                  </a:lnTo>
                  <a:lnTo>
                    <a:pt x="235" y="107"/>
                  </a:lnTo>
                  <a:lnTo>
                    <a:pt x="235" y="107"/>
                  </a:lnTo>
                  <a:lnTo>
                    <a:pt x="242" y="107"/>
                  </a:lnTo>
                  <a:lnTo>
                    <a:pt x="242" y="107"/>
                  </a:lnTo>
                  <a:lnTo>
                    <a:pt x="242" y="104"/>
                  </a:lnTo>
                  <a:lnTo>
                    <a:pt x="242" y="104"/>
                  </a:lnTo>
                  <a:lnTo>
                    <a:pt x="245" y="100"/>
                  </a:lnTo>
                  <a:lnTo>
                    <a:pt x="245" y="100"/>
                  </a:lnTo>
                  <a:lnTo>
                    <a:pt x="249" y="107"/>
                  </a:lnTo>
                  <a:lnTo>
                    <a:pt x="249" y="107"/>
                  </a:lnTo>
                  <a:lnTo>
                    <a:pt x="255" y="110"/>
                  </a:lnTo>
                  <a:lnTo>
                    <a:pt x="255" y="110"/>
                  </a:lnTo>
                  <a:lnTo>
                    <a:pt x="259" y="110"/>
                  </a:lnTo>
                  <a:lnTo>
                    <a:pt x="259" y="110"/>
                  </a:lnTo>
                  <a:lnTo>
                    <a:pt x="265" y="110"/>
                  </a:lnTo>
                  <a:lnTo>
                    <a:pt x="265" y="110"/>
                  </a:lnTo>
                  <a:lnTo>
                    <a:pt x="269" y="110"/>
                  </a:lnTo>
                  <a:lnTo>
                    <a:pt x="269" y="110"/>
                  </a:lnTo>
                  <a:lnTo>
                    <a:pt x="269" y="117"/>
                  </a:lnTo>
                  <a:lnTo>
                    <a:pt x="269" y="117"/>
                  </a:lnTo>
                  <a:lnTo>
                    <a:pt x="269" y="117"/>
                  </a:lnTo>
                  <a:lnTo>
                    <a:pt x="269" y="117"/>
                  </a:lnTo>
                  <a:lnTo>
                    <a:pt x="269" y="117"/>
                  </a:lnTo>
                  <a:lnTo>
                    <a:pt x="272" y="121"/>
                  </a:lnTo>
                  <a:lnTo>
                    <a:pt x="269" y="124"/>
                  </a:lnTo>
                  <a:lnTo>
                    <a:pt x="269" y="124"/>
                  </a:lnTo>
                  <a:lnTo>
                    <a:pt x="269" y="124"/>
                  </a:lnTo>
                  <a:lnTo>
                    <a:pt x="269" y="124"/>
                  </a:lnTo>
                  <a:lnTo>
                    <a:pt x="272" y="127"/>
                  </a:lnTo>
                  <a:lnTo>
                    <a:pt x="272" y="127"/>
                  </a:lnTo>
                  <a:lnTo>
                    <a:pt x="276" y="127"/>
                  </a:lnTo>
                  <a:lnTo>
                    <a:pt x="279" y="127"/>
                  </a:lnTo>
                  <a:lnTo>
                    <a:pt x="279" y="127"/>
                  </a:lnTo>
                  <a:lnTo>
                    <a:pt x="286" y="124"/>
                  </a:lnTo>
                  <a:lnTo>
                    <a:pt x="286" y="124"/>
                  </a:lnTo>
                  <a:lnTo>
                    <a:pt x="286" y="121"/>
                  </a:lnTo>
                  <a:lnTo>
                    <a:pt x="289" y="117"/>
                  </a:lnTo>
                  <a:lnTo>
                    <a:pt x="289" y="117"/>
                  </a:lnTo>
                  <a:lnTo>
                    <a:pt x="286" y="117"/>
                  </a:lnTo>
                  <a:lnTo>
                    <a:pt x="286" y="117"/>
                  </a:lnTo>
                  <a:lnTo>
                    <a:pt x="286" y="117"/>
                  </a:lnTo>
                  <a:lnTo>
                    <a:pt x="282" y="117"/>
                  </a:lnTo>
                  <a:lnTo>
                    <a:pt x="282" y="114"/>
                  </a:lnTo>
                  <a:lnTo>
                    <a:pt x="282" y="107"/>
                  </a:lnTo>
                  <a:lnTo>
                    <a:pt x="282" y="107"/>
                  </a:lnTo>
                  <a:lnTo>
                    <a:pt x="282" y="104"/>
                  </a:lnTo>
                  <a:lnTo>
                    <a:pt x="282" y="100"/>
                  </a:lnTo>
                  <a:lnTo>
                    <a:pt x="282" y="100"/>
                  </a:lnTo>
                  <a:lnTo>
                    <a:pt x="282" y="100"/>
                  </a:lnTo>
                  <a:lnTo>
                    <a:pt x="282" y="100"/>
                  </a:lnTo>
                  <a:lnTo>
                    <a:pt x="282" y="97"/>
                  </a:lnTo>
                  <a:lnTo>
                    <a:pt x="282" y="97"/>
                  </a:lnTo>
                  <a:lnTo>
                    <a:pt x="289" y="97"/>
                  </a:lnTo>
                  <a:lnTo>
                    <a:pt x="289" y="97"/>
                  </a:lnTo>
                  <a:lnTo>
                    <a:pt x="292" y="94"/>
                  </a:lnTo>
                  <a:lnTo>
                    <a:pt x="292" y="94"/>
                  </a:lnTo>
                  <a:lnTo>
                    <a:pt x="296" y="94"/>
                  </a:lnTo>
                  <a:lnTo>
                    <a:pt x="296" y="94"/>
                  </a:lnTo>
                  <a:lnTo>
                    <a:pt x="296" y="94"/>
                  </a:lnTo>
                  <a:lnTo>
                    <a:pt x="296" y="94"/>
                  </a:lnTo>
                  <a:lnTo>
                    <a:pt x="296" y="90"/>
                  </a:lnTo>
                  <a:lnTo>
                    <a:pt x="296" y="90"/>
                  </a:lnTo>
                  <a:lnTo>
                    <a:pt x="292" y="90"/>
                  </a:lnTo>
                  <a:lnTo>
                    <a:pt x="289" y="94"/>
                  </a:lnTo>
                  <a:lnTo>
                    <a:pt x="289" y="94"/>
                  </a:lnTo>
                  <a:lnTo>
                    <a:pt x="286" y="90"/>
                  </a:lnTo>
                  <a:lnTo>
                    <a:pt x="286" y="90"/>
                  </a:lnTo>
                  <a:lnTo>
                    <a:pt x="282" y="87"/>
                  </a:lnTo>
                  <a:lnTo>
                    <a:pt x="282" y="87"/>
                  </a:lnTo>
                  <a:lnTo>
                    <a:pt x="279" y="87"/>
                  </a:lnTo>
                  <a:lnTo>
                    <a:pt x="279" y="87"/>
                  </a:lnTo>
                  <a:lnTo>
                    <a:pt x="276" y="84"/>
                  </a:lnTo>
                  <a:lnTo>
                    <a:pt x="276" y="84"/>
                  </a:lnTo>
                  <a:lnTo>
                    <a:pt x="276" y="84"/>
                  </a:lnTo>
                  <a:lnTo>
                    <a:pt x="279" y="84"/>
                  </a:lnTo>
                  <a:lnTo>
                    <a:pt x="279" y="84"/>
                  </a:lnTo>
                  <a:lnTo>
                    <a:pt x="276" y="80"/>
                  </a:lnTo>
                  <a:lnTo>
                    <a:pt x="276" y="80"/>
                  </a:lnTo>
                  <a:lnTo>
                    <a:pt x="276" y="80"/>
                  </a:lnTo>
                  <a:lnTo>
                    <a:pt x="276" y="80"/>
                  </a:lnTo>
                  <a:lnTo>
                    <a:pt x="279" y="77"/>
                  </a:lnTo>
                  <a:lnTo>
                    <a:pt x="279" y="77"/>
                  </a:lnTo>
                  <a:lnTo>
                    <a:pt x="279" y="77"/>
                  </a:lnTo>
                  <a:lnTo>
                    <a:pt x="279" y="74"/>
                  </a:lnTo>
                  <a:lnTo>
                    <a:pt x="279" y="74"/>
                  </a:lnTo>
                  <a:lnTo>
                    <a:pt x="276" y="74"/>
                  </a:lnTo>
                  <a:lnTo>
                    <a:pt x="276" y="74"/>
                  </a:lnTo>
                  <a:lnTo>
                    <a:pt x="272" y="74"/>
                  </a:lnTo>
                  <a:lnTo>
                    <a:pt x="272" y="74"/>
                  </a:lnTo>
                  <a:lnTo>
                    <a:pt x="269" y="74"/>
                  </a:lnTo>
                  <a:lnTo>
                    <a:pt x="269" y="74"/>
                  </a:lnTo>
                  <a:lnTo>
                    <a:pt x="269" y="70"/>
                  </a:lnTo>
                  <a:lnTo>
                    <a:pt x="269" y="67"/>
                  </a:lnTo>
                  <a:lnTo>
                    <a:pt x="269" y="67"/>
                  </a:lnTo>
                  <a:lnTo>
                    <a:pt x="272" y="63"/>
                  </a:lnTo>
                  <a:lnTo>
                    <a:pt x="269" y="60"/>
                  </a:lnTo>
                  <a:lnTo>
                    <a:pt x="269" y="60"/>
                  </a:lnTo>
                  <a:lnTo>
                    <a:pt x="269" y="60"/>
                  </a:lnTo>
                  <a:lnTo>
                    <a:pt x="269" y="60"/>
                  </a:lnTo>
                  <a:lnTo>
                    <a:pt x="265" y="57"/>
                  </a:lnTo>
                  <a:lnTo>
                    <a:pt x="265" y="57"/>
                  </a:lnTo>
                  <a:lnTo>
                    <a:pt x="262" y="57"/>
                  </a:lnTo>
                  <a:lnTo>
                    <a:pt x="262" y="57"/>
                  </a:lnTo>
                  <a:lnTo>
                    <a:pt x="255" y="60"/>
                  </a:lnTo>
                  <a:lnTo>
                    <a:pt x="255" y="60"/>
                  </a:lnTo>
                  <a:lnTo>
                    <a:pt x="252" y="60"/>
                  </a:lnTo>
                  <a:lnTo>
                    <a:pt x="249" y="60"/>
                  </a:lnTo>
                  <a:lnTo>
                    <a:pt x="242" y="60"/>
                  </a:lnTo>
                  <a:lnTo>
                    <a:pt x="242" y="60"/>
                  </a:lnTo>
                  <a:lnTo>
                    <a:pt x="239" y="60"/>
                  </a:lnTo>
                  <a:lnTo>
                    <a:pt x="235" y="57"/>
                  </a:lnTo>
                  <a:lnTo>
                    <a:pt x="232" y="57"/>
                  </a:lnTo>
                  <a:lnTo>
                    <a:pt x="228" y="53"/>
                  </a:lnTo>
                  <a:lnTo>
                    <a:pt x="228" y="53"/>
                  </a:lnTo>
                  <a:lnTo>
                    <a:pt x="222" y="50"/>
                  </a:lnTo>
                  <a:lnTo>
                    <a:pt x="222" y="50"/>
                  </a:lnTo>
                  <a:lnTo>
                    <a:pt x="212" y="43"/>
                  </a:lnTo>
                  <a:lnTo>
                    <a:pt x="212" y="43"/>
                  </a:lnTo>
                  <a:lnTo>
                    <a:pt x="205" y="43"/>
                  </a:lnTo>
                  <a:lnTo>
                    <a:pt x="205" y="43"/>
                  </a:lnTo>
                  <a:lnTo>
                    <a:pt x="202" y="40"/>
                  </a:lnTo>
                  <a:lnTo>
                    <a:pt x="198" y="37"/>
                  </a:lnTo>
                  <a:lnTo>
                    <a:pt x="198" y="37"/>
                  </a:lnTo>
                  <a:lnTo>
                    <a:pt x="195" y="33"/>
                  </a:lnTo>
                  <a:lnTo>
                    <a:pt x="192" y="33"/>
                  </a:lnTo>
                  <a:lnTo>
                    <a:pt x="188" y="26"/>
                  </a:lnTo>
                  <a:lnTo>
                    <a:pt x="188" y="26"/>
                  </a:lnTo>
                  <a:lnTo>
                    <a:pt x="181" y="20"/>
                  </a:lnTo>
                  <a:lnTo>
                    <a:pt x="181" y="20"/>
                  </a:lnTo>
                  <a:lnTo>
                    <a:pt x="171" y="13"/>
                  </a:lnTo>
                  <a:lnTo>
                    <a:pt x="171" y="13"/>
                  </a:lnTo>
                  <a:lnTo>
                    <a:pt x="168" y="10"/>
                  </a:lnTo>
                  <a:lnTo>
                    <a:pt x="165" y="6"/>
                  </a:lnTo>
                  <a:lnTo>
                    <a:pt x="165" y="6"/>
                  </a:lnTo>
                  <a:lnTo>
                    <a:pt x="161" y="3"/>
                  </a:lnTo>
                  <a:lnTo>
                    <a:pt x="161" y="3"/>
                  </a:lnTo>
                  <a:lnTo>
                    <a:pt x="155" y="3"/>
                  </a:lnTo>
                  <a:lnTo>
                    <a:pt x="155" y="3"/>
                  </a:lnTo>
                  <a:lnTo>
                    <a:pt x="151" y="3"/>
                  </a:lnTo>
                  <a:lnTo>
                    <a:pt x="151" y="3"/>
                  </a:lnTo>
                  <a:lnTo>
                    <a:pt x="151" y="0"/>
                  </a:lnTo>
                  <a:lnTo>
                    <a:pt x="151" y="0"/>
                  </a:lnTo>
                  <a:lnTo>
                    <a:pt x="148" y="3"/>
                  </a:lnTo>
                  <a:lnTo>
                    <a:pt x="148" y="6"/>
                  </a:lnTo>
                  <a:lnTo>
                    <a:pt x="151" y="10"/>
                  </a:lnTo>
                  <a:lnTo>
                    <a:pt x="148" y="13"/>
                  </a:lnTo>
                  <a:lnTo>
                    <a:pt x="148" y="13"/>
                  </a:lnTo>
                  <a:lnTo>
                    <a:pt x="144" y="13"/>
                  </a:lnTo>
                  <a:lnTo>
                    <a:pt x="144" y="13"/>
                  </a:lnTo>
                  <a:lnTo>
                    <a:pt x="144" y="13"/>
                  </a:lnTo>
                  <a:lnTo>
                    <a:pt x="144" y="13"/>
                  </a:lnTo>
                  <a:lnTo>
                    <a:pt x="141" y="13"/>
                  </a:lnTo>
                  <a:lnTo>
                    <a:pt x="141" y="13"/>
                  </a:lnTo>
                  <a:lnTo>
                    <a:pt x="138" y="13"/>
                  </a:lnTo>
                  <a:lnTo>
                    <a:pt x="138" y="13"/>
                  </a:lnTo>
                  <a:lnTo>
                    <a:pt x="138" y="16"/>
                  </a:lnTo>
                  <a:lnTo>
                    <a:pt x="138" y="16"/>
                  </a:lnTo>
                  <a:lnTo>
                    <a:pt x="138" y="16"/>
                  </a:lnTo>
                  <a:lnTo>
                    <a:pt x="124" y="20"/>
                  </a:lnTo>
                  <a:lnTo>
                    <a:pt x="124" y="20"/>
                  </a:lnTo>
                  <a:lnTo>
                    <a:pt x="124" y="20"/>
                  </a:lnTo>
                  <a:lnTo>
                    <a:pt x="124" y="20"/>
                  </a:lnTo>
                  <a:lnTo>
                    <a:pt x="121" y="23"/>
                  </a:lnTo>
                  <a:lnTo>
                    <a:pt x="121" y="23"/>
                  </a:lnTo>
                  <a:lnTo>
                    <a:pt x="118" y="23"/>
                  </a:lnTo>
                  <a:lnTo>
                    <a:pt x="118" y="23"/>
                  </a:lnTo>
                  <a:lnTo>
                    <a:pt x="114" y="26"/>
                  </a:lnTo>
                  <a:lnTo>
                    <a:pt x="114" y="26"/>
                  </a:lnTo>
                  <a:lnTo>
                    <a:pt x="111" y="30"/>
                  </a:lnTo>
                  <a:lnTo>
                    <a:pt x="111" y="30"/>
                  </a:lnTo>
                  <a:lnTo>
                    <a:pt x="114" y="33"/>
                  </a:lnTo>
                  <a:lnTo>
                    <a:pt x="114" y="33"/>
                  </a:lnTo>
                  <a:lnTo>
                    <a:pt x="114" y="37"/>
                  </a:lnTo>
                  <a:lnTo>
                    <a:pt x="118" y="40"/>
                  </a:lnTo>
                  <a:lnTo>
                    <a:pt x="118" y="40"/>
                  </a:lnTo>
                  <a:lnTo>
                    <a:pt x="114" y="43"/>
                  </a:lnTo>
                  <a:lnTo>
                    <a:pt x="114" y="43"/>
                  </a:lnTo>
                  <a:lnTo>
                    <a:pt x="111" y="43"/>
                  </a:lnTo>
                  <a:lnTo>
                    <a:pt x="111" y="43"/>
                  </a:lnTo>
                  <a:lnTo>
                    <a:pt x="111" y="47"/>
                  </a:lnTo>
                  <a:lnTo>
                    <a:pt x="111" y="47"/>
                  </a:lnTo>
                  <a:lnTo>
                    <a:pt x="111" y="50"/>
                  </a:lnTo>
                  <a:lnTo>
                    <a:pt x="111" y="53"/>
                  </a:lnTo>
                  <a:lnTo>
                    <a:pt x="111" y="53"/>
                  </a:lnTo>
                  <a:lnTo>
                    <a:pt x="107" y="53"/>
                  </a:lnTo>
                  <a:lnTo>
                    <a:pt x="107" y="53"/>
                  </a:lnTo>
                  <a:lnTo>
                    <a:pt x="101" y="53"/>
                  </a:lnTo>
                  <a:lnTo>
                    <a:pt x="101" y="53"/>
                  </a:lnTo>
                  <a:lnTo>
                    <a:pt x="101" y="57"/>
                  </a:lnTo>
                  <a:lnTo>
                    <a:pt x="101" y="57"/>
                  </a:lnTo>
                  <a:lnTo>
                    <a:pt x="94" y="57"/>
                  </a:lnTo>
                  <a:lnTo>
                    <a:pt x="94" y="57"/>
                  </a:lnTo>
                  <a:lnTo>
                    <a:pt x="91" y="60"/>
                  </a:lnTo>
                  <a:lnTo>
                    <a:pt x="91" y="60"/>
                  </a:lnTo>
                  <a:lnTo>
                    <a:pt x="91" y="60"/>
                  </a:lnTo>
                  <a:lnTo>
                    <a:pt x="91" y="60"/>
                  </a:lnTo>
                  <a:lnTo>
                    <a:pt x="91" y="63"/>
                  </a:lnTo>
                  <a:lnTo>
                    <a:pt x="91" y="63"/>
                  </a:lnTo>
                  <a:lnTo>
                    <a:pt x="94" y="67"/>
                  </a:lnTo>
                  <a:lnTo>
                    <a:pt x="94" y="67"/>
                  </a:lnTo>
                  <a:lnTo>
                    <a:pt x="91" y="70"/>
                  </a:lnTo>
                  <a:lnTo>
                    <a:pt x="91" y="70"/>
                  </a:lnTo>
                  <a:lnTo>
                    <a:pt x="91" y="74"/>
                  </a:lnTo>
                  <a:lnTo>
                    <a:pt x="91" y="74"/>
                  </a:lnTo>
                  <a:lnTo>
                    <a:pt x="94" y="77"/>
                  </a:lnTo>
                  <a:lnTo>
                    <a:pt x="94" y="80"/>
                  </a:lnTo>
                  <a:lnTo>
                    <a:pt x="94" y="80"/>
                  </a:lnTo>
                  <a:lnTo>
                    <a:pt x="91" y="80"/>
                  </a:lnTo>
                  <a:lnTo>
                    <a:pt x="91" y="80"/>
                  </a:lnTo>
                  <a:lnTo>
                    <a:pt x="87" y="80"/>
                  </a:lnTo>
                  <a:lnTo>
                    <a:pt x="81" y="80"/>
                  </a:lnTo>
                  <a:lnTo>
                    <a:pt x="81" y="80"/>
                  </a:lnTo>
                  <a:lnTo>
                    <a:pt x="81" y="77"/>
                  </a:lnTo>
                  <a:lnTo>
                    <a:pt x="77" y="74"/>
                  </a:lnTo>
                  <a:lnTo>
                    <a:pt x="77" y="74"/>
                  </a:lnTo>
                  <a:lnTo>
                    <a:pt x="74" y="74"/>
                  </a:lnTo>
                  <a:lnTo>
                    <a:pt x="74" y="74"/>
                  </a:lnTo>
                  <a:lnTo>
                    <a:pt x="71" y="77"/>
                  </a:lnTo>
                  <a:lnTo>
                    <a:pt x="71" y="77"/>
                  </a:lnTo>
                  <a:lnTo>
                    <a:pt x="67" y="77"/>
                  </a:lnTo>
                  <a:lnTo>
                    <a:pt x="67" y="77"/>
                  </a:lnTo>
                  <a:lnTo>
                    <a:pt x="64" y="77"/>
                  </a:lnTo>
                  <a:lnTo>
                    <a:pt x="64" y="77"/>
                  </a:lnTo>
                  <a:lnTo>
                    <a:pt x="60" y="74"/>
                  </a:lnTo>
                  <a:lnTo>
                    <a:pt x="60" y="74"/>
                  </a:lnTo>
                  <a:lnTo>
                    <a:pt x="60" y="70"/>
                  </a:lnTo>
                  <a:lnTo>
                    <a:pt x="60" y="70"/>
                  </a:lnTo>
                  <a:lnTo>
                    <a:pt x="60" y="67"/>
                  </a:lnTo>
                  <a:lnTo>
                    <a:pt x="57" y="63"/>
                  </a:lnTo>
                  <a:lnTo>
                    <a:pt x="57" y="63"/>
                  </a:lnTo>
                  <a:lnTo>
                    <a:pt x="57" y="63"/>
                  </a:lnTo>
                  <a:lnTo>
                    <a:pt x="57" y="63"/>
                  </a:lnTo>
                  <a:lnTo>
                    <a:pt x="54" y="60"/>
                  </a:lnTo>
                  <a:lnTo>
                    <a:pt x="54" y="60"/>
                  </a:lnTo>
                  <a:lnTo>
                    <a:pt x="54" y="60"/>
                  </a:lnTo>
                  <a:lnTo>
                    <a:pt x="50" y="63"/>
                  </a:lnTo>
                  <a:lnTo>
                    <a:pt x="50" y="63"/>
                  </a:lnTo>
                  <a:lnTo>
                    <a:pt x="50" y="67"/>
                  </a:lnTo>
                  <a:lnTo>
                    <a:pt x="47" y="70"/>
                  </a:lnTo>
                  <a:lnTo>
                    <a:pt x="47" y="70"/>
                  </a:lnTo>
                  <a:lnTo>
                    <a:pt x="47" y="74"/>
                  </a:lnTo>
                  <a:lnTo>
                    <a:pt x="47" y="74"/>
                  </a:lnTo>
                  <a:lnTo>
                    <a:pt x="40" y="74"/>
                  </a:lnTo>
                  <a:lnTo>
                    <a:pt x="40" y="74"/>
                  </a:lnTo>
                  <a:lnTo>
                    <a:pt x="37" y="74"/>
                  </a:lnTo>
                  <a:lnTo>
                    <a:pt x="37" y="74"/>
                  </a:lnTo>
                  <a:lnTo>
                    <a:pt x="30" y="74"/>
                  </a:lnTo>
                  <a:lnTo>
                    <a:pt x="30" y="74"/>
                  </a:lnTo>
                  <a:lnTo>
                    <a:pt x="27" y="70"/>
                  </a:lnTo>
                  <a:lnTo>
                    <a:pt x="27" y="70"/>
                  </a:lnTo>
                  <a:lnTo>
                    <a:pt x="27" y="70"/>
                  </a:lnTo>
                  <a:lnTo>
                    <a:pt x="23" y="74"/>
                  </a:lnTo>
                  <a:lnTo>
                    <a:pt x="23" y="74"/>
                  </a:lnTo>
                  <a:lnTo>
                    <a:pt x="20" y="74"/>
                  </a:lnTo>
                  <a:lnTo>
                    <a:pt x="20" y="74"/>
                  </a:lnTo>
                  <a:lnTo>
                    <a:pt x="17" y="70"/>
                  </a:lnTo>
                  <a:lnTo>
                    <a:pt x="17" y="70"/>
                  </a:lnTo>
                  <a:lnTo>
                    <a:pt x="3" y="63"/>
                  </a:lnTo>
                  <a:lnTo>
                    <a:pt x="3" y="63"/>
                  </a:lnTo>
                  <a:close/>
                  <a:moveTo>
                    <a:pt x="77" y="144"/>
                  </a:moveTo>
                  <a:lnTo>
                    <a:pt x="77" y="144"/>
                  </a:lnTo>
                  <a:lnTo>
                    <a:pt x="77" y="144"/>
                  </a:lnTo>
                  <a:lnTo>
                    <a:pt x="77" y="147"/>
                  </a:lnTo>
                  <a:lnTo>
                    <a:pt x="74" y="147"/>
                  </a:lnTo>
                  <a:lnTo>
                    <a:pt x="74" y="147"/>
                  </a:lnTo>
                  <a:lnTo>
                    <a:pt x="74" y="144"/>
                  </a:lnTo>
                  <a:lnTo>
                    <a:pt x="77" y="144"/>
                  </a:lnTo>
                  <a:lnTo>
                    <a:pt x="77" y="144"/>
                  </a:lnTo>
                  <a:close/>
                  <a:moveTo>
                    <a:pt x="155" y="255"/>
                  </a:moveTo>
                  <a:lnTo>
                    <a:pt x="155" y="255"/>
                  </a:lnTo>
                  <a:lnTo>
                    <a:pt x="155" y="262"/>
                  </a:lnTo>
                  <a:lnTo>
                    <a:pt x="155" y="262"/>
                  </a:lnTo>
                  <a:lnTo>
                    <a:pt x="181" y="262"/>
                  </a:lnTo>
                  <a:lnTo>
                    <a:pt x="181" y="258"/>
                  </a:lnTo>
                  <a:lnTo>
                    <a:pt x="181" y="258"/>
                  </a:lnTo>
                  <a:lnTo>
                    <a:pt x="155" y="255"/>
                  </a:lnTo>
                  <a:lnTo>
                    <a:pt x="155" y="255"/>
                  </a:lnTo>
                  <a:close/>
                  <a:moveTo>
                    <a:pt x="151" y="238"/>
                  </a:moveTo>
                  <a:lnTo>
                    <a:pt x="151" y="238"/>
                  </a:lnTo>
                  <a:lnTo>
                    <a:pt x="148" y="238"/>
                  </a:lnTo>
                  <a:lnTo>
                    <a:pt x="144" y="242"/>
                  </a:lnTo>
                  <a:lnTo>
                    <a:pt x="144" y="245"/>
                  </a:lnTo>
                  <a:lnTo>
                    <a:pt x="144" y="245"/>
                  </a:lnTo>
                  <a:lnTo>
                    <a:pt x="148" y="248"/>
                  </a:lnTo>
                  <a:lnTo>
                    <a:pt x="168" y="248"/>
                  </a:lnTo>
                  <a:lnTo>
                    <a:pt x="168" y="242"/>
                  </a:lnTo>
                  <a:lnTo>
                    <a:pt x="168" y="242"/>
                  </a:lnTo>
                  <a:lnTo>
                    <a:pt x="151" y="238"/>
                  </a:lnTo>
                  <a:lnTo>
                    <a:pt x="151" y="238"/>
                  </a:lnTo>
                  <a:close/>
                  <a:moveTo>
                    <a:pt x="71" y="178"/>
                  </a:moveTo>
                  <a:lnTo>
                    <a:pt x="71" y="178"/>
                  </a:lnTo>
                  <a:lnTo>
                    <a:pt x="74" y="188"/>
                  </a:lnTo>
                  <a:lnTo>
                    <a:pt x="81" y="191"/>
                  </a:lnTo>
                  <a:lnTo>
                    <a:pt x="81" y="191"/>
                  </a:lnTo>
                  <a:lnTo>
                    <a:pt x="84" y="191"/>
                  </a:lnTo>
                  <a:lnTo>
                    <a:pt x="81" y="188"/>
                  </a:lnTo>
                  <a:lnTo>
                    <a:pt x="81" y="188"/>
                  </a:lnTo>
                  <a:lnTo>
                    <a:pt x="77" y="181"/>
                  </a:lnTo>
                  <a:lnTo>
                    <a:pt x="71" y="178"/>
                  </a:lnTo>
                  <a:lnTo>
                    <a:pt x="71" y="178"/>
                  </a:lnTo>
                  <a:close/>
                  <a:moveTo>
                    <a:pt x="40" y="90"/>
                  </a:moveTo>
                  <a:lnTo>
                    <a:pt x="40" y="90"/>
                  </a:lnTo>
                  <a:lnTo>
                    <a:pt x="37" y="100"/>
                  </a:lnTo>
                  <a:lnTo>
                    <a:pt x="37" y="104"/>
                  </a:lnTo>
                  <a:lnTo>
                    <a:pt x="40" y="107"/>
                  </a:lnTo>
                  <a:lnTo>
                    <a:pt x="37" y="107"/>
                  </a:lnTo>
                  <a:lnTo>
                    <a:pt x="37" y="107"/>
                  </a:lnTo>
                  <a:lnTo>
                    <a:pt x="40" y="121"/>
                  </a:lnTo>
                  <a:lnTo>
                    <a:pt x="40" y="121"/>
                  </a:lnTo>
                  <a:lnTo>
                    <a:pt x="40" y="131"/>
                  </a:lnTo>
                  <a:lnTo>
                    <a:pt x="40" y="131"/>
                  </a:lnTo>
                  <a:lnTo>
                    <a:pt x="44" y="137"/>
                  </a:lnTo>
                  <a:lnTo>
                    <a:pt x="44" y="137"/>
                  </a:lnTo>
                  <a:lnTo>
                    <a:pt x="47" y="114"/>
                  </a:lnTo>
                  <a:lnTo>
                    <a:pt x="44" y="104"/>
                  </a:lnTo>
                  <a:lnTo>
                    <a:pt x="44" y="94"/>
                  </a:lnTo>
                  <a:lnTo>
                    <a:pt x="40" y="90"/>
                  </a:lnTo>
                  <a:close/>
                  <a:moveTo>
                    <a:pt x="50" y="90"/>
                  </a:moveTo>
                  <a:lnTo>
                    <a:pt x="50" y="90"/>
                  </a:lnTo>
                  <a:lnTo>
                    <a:pt x="50" y="94"/>
                  </a:lnTo>
                  <a:lnTo>
                    <a:pt x="47" y="100"/>
                  </a:lnTo>
                  <a:lnTo>
                    <a:pt x="57" y="110"/>
                  </a:lnTo>
                  <a:lnTo>
                    <a:pt x="57" y="110"/>
                  </a:lnTo>
                  <a:lnTo>
                    <a:pt x="64" y="110"/>
                  </a:lnTo>
                  <a:lnTo>
                    <a:pt x="64" y="110"/>
                  </a:lnTo>
                  <a:lnTo>
                    <a:pt x="64" y="107"/>
                  </a:lnTo>
                  <a:lnTo>
                    <a:pt x="64" y="104"/>
                  </a:lnTo>
                  <a:lnTo>
                    <a:pt x="64" y="104"/>
                  </a:lnTo>
                  <a:lnTo>
                    <a:pt x="64" y="104"/>
                  </a:lnTo>
                  <a:lnTo>
                    <a:pt x="64" y="97"/>
                  </a:lnTo>
                  <a:lnTo>
                    <a:pt x="64" y="97"/>
                  </a:lnTo>
                  <a:lnTo>
                    <a:pt x="57" y="94"/>
                  </a:lnTo>
                  <a:lnTo>
                    <a:pt x="50" y="90"/>
                  </a:lnTo>
                  <a:lnTo>
                    <a:pt x="50" y="90"/>
                  </a:lnTo>
                  <a:close/>
                </a:path>
              </a:pathLst>
            </a:custGeom>
            <a:solidFill>
              <a:srgbClr val="C0C0C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EYInterstate" pitchFamily="2" charset="0"/>
                <a:cs typeface="Arial" charset="0"/>
              </a:endParaRPr>
            </a:p>
          </p:txBody>
        </p:sp>
        <p:sp>
          <p:nvSpPr>
            <p:cNvPr id="54" name="Freeform 68"/>
            <p:cNvSpPr>
              <a:spLocks/>
            </p:cNvSpPr>
            <p:nvPr/>
          </p:nvSpPr>
          <p:spPr bwMode="auto">
            <a:xfrm>
              <a:off x="3479" y="3015"/>
              <a:ext cx="333" cy="221"/>
            </a:xfrm>
            <a:custGeom>
              <a:avLst/>
              <a:gdLst/>
              <a:ahLst/>
              <a:cxnLst>
                <a:cxn ang="0">
                  <a:pos x="299" y="151"/>
                </a:cxn>
                <a:cxn ang="0">
                  <a:pos x="279" y="131"/>
                </a:cxn>
                <a:cxn ang="0">
                  <a:pos x="293" y="118"/>
                </a:cxn>
                <a:cxn ang="0">
                  <a:pos x="303" y="104"/>
                </a:cxn>
                <a:cxn ang="0">
                  <a:pos x="310" y="71"/>
                </a:cxn>
                <a:cxn ang="0">
                  <a:pos x="330" y="44"/>
                </a:cxn>
                <a:cxn ang="0">
                  <a:pos x="333" y="20"/>
                </a:cxn>
                <a:cxn ang="0">
                  <a:pos x="323" y="14"/>
                </a:cxn>
                <a:cxn ang="0">
                  <a:pos x="310" y="17"/>
                </a:cxn>
                <a:cxn ang="0">
                  <a:pos x="296" y="10"/>
                </a:cxn>
                <a:cxn ang="0">
                  <a:pos x="286" y="7"/>
                </a:cxn>
                <a:cxn ang="0">
                  <a:pos x="269" y="7"/>
                </a:cxn>
                <a:cxn ang="0">
                  <a:pos x="229" y="7"/>
                </a:cxn>
                <a:cxn ang="0">
                  <a:pos x="209" y="24"/>
                </a:cxn>
                <a:cxn ang="0">
                  <a:pos x="195" y="37"/>
                </a:cxn>
                <a:cxn ang="0">
                  <a:pos x="182" y="47"/>
                </a:cxn>
                <a:cxn ang="0">
                  <a:pos x="155" y="51"/>
                </a:cxn>
                <a:cxn ang="0">
                  <a:pos x="135" y="54"/>
                </a:cxn>
                <a:cxn ang="0">
                  <a:pos x="108" y="57"/>
                </a:cxn>
                <a:cxn ang="0">
                  <a:pos x="81" y="51"/>
                </a:cxn>
                <a:cxn ang="0">
                  <a:pos x="51" y="51"/>
                </a:cxn>
                <a:cxn ang="0">
                  <a:pos x="34" y="51"/>
                </a:cxn>
                <a:cxn ang="0">
                  <a:pos x="41" y="37"/>
                </a:cxn>
                <a:cxn ang="0">
                  <a:pos x="21" y="27"/>
                </a:cxn>
                <a:cxn ang="0">
                  <a:pos x="10" y="40"/>
                </a:cxn>
                <a:cxn ang="0">
                  <a:pos x="4" y="47"/>
                </a:cxn>
                <a:cxn ang="0">
                  <a:pos x="0" y="57"/>
                </a:cxn>
                <a:cxn ang="0">
                  <a:pos x="4" y="71"/>
                </a:cxn>
                <a:cxn ang="0">
                  <a:pos x="7" y="84"/>
                </a:cxn>
                <a:cxn ang="0">
                  <a:pos x="17" y="87"/>
                </a:cxn>
                <a:cxn ang="0">
                  <a:pos x="24" y="91"/>
                </a:cxn>
                <a:cxn ang="0">
                  <a:pos x="31" y="101"/>
                </a:cxn>
                <a:cxn ang="0">
                  <a:pos x="41" y="104"/>
                </a:cxn>
                <a:cxn ang="0">
                  <a:pos x="44" y="111"/>
                </a:cxn>
                <a:cxn ang="0">
                  <a:pos x="34" y="121"/>
                </a:cxn>
                <a:cxn ang="0">
                  <a:pos x="24" y="128"/>
                </a:cxn>
                <a:cxn ang="0">
                  <a:pos x="14" y="124"/>
                </a:cxn>
                <a:cxn ang="0">
                  <a:pos x="10" y="131"/>
                </a:cxn>
                <a:cxn ang="0">
                  <a:pos x="7" y="141"/>
                </a:cxn>
                <a:cxn ang="0">
                  <a:pos x="14" y="148"/>
                </a:cxn>
                <a:cxn ang="0">
                  <a:pos x="10" y="161"/>
                </a:cxn>
                <a:cxn ang="0">
                  <a:pos x="21" y="168"/>
                </a:cxn>
                <a:cxn ang="0">
                  <a:pos x="34" y="178"/>
                </a:cxn>
                <a:cxn ang="0">
                  <a:pos x="47" y="185"/>
                </a:cxn>
                <a:cxn ang="0">
                  <a:pos x="51" y="192"/>
                </a:cxn>
                <a:cxn ang="0">
                  <a:pos x="57" y="202"/>
                </a:cxn>
                <a:cxn ang="0">
                  <a:pos x="54" y="208"/>
                </a:cxn>
                <a:cxn ang="0">
                  <a:pos x="54" y="219"/>
                </a:cxn>
                <a:cxn ang="0">
                  <a:pos x="54" y="235"/>
                </a:cxn>
                <a:cxn ang="0">
                  <a:pos x="74" y="229"/>
                </a:cxn>
                <a:cxn ang="0">
                  <a:pos x="91" y="225"/>
                </a:cxn>
                <a:cxn ang="0">
                  <a:pos x="105" y="222"/>
                </a:cxn>
                <a:cxn ang="0">
                  <a:pos x="125" y="215"/>
                </a:cxn>
                <a:cxn ang="0">
                  <a:pos x="138" y="215"/>
                </a:cxn>
                <a:cxn ang="0">
                  <a:pos x="152" y="225"/>
                </a:cxn>
                <a:cxn ang="0">
                  <a:pos x="172" y="229"/>
                </a:cxn>
                <a:cxn ang="0">
                  <a:pos x="182" y="229"/>
                </a:cxn>
                <a:cxn ang="0">
                  <a:pos x="209" y="198"/>
                </a:cxn>
                <a:cxn ang="0">
                  <a:pos x="236" y="175"/>
                </a:cxn>
                <a:cxn ang="0">
                  <a:pos x="279" y="168"/>
                </a:cxn>
              </a:cxnLst>
              <a:rect l="0" t="0" r="r" b="b"/>
              <a:pathLst>
                <a:path w="333" h="235">
                  <a:moveTo>
                    <a:pt x="303" y="161"/>
                  </a:moveTo>
                  <a:lnTo>
                    <a:pt x="303" y="161"/>
                  </a:lnTo>
                  <a:lnTo>
                    <a:pt x="296" y="155"/>
                  </a:lnTo>
                  <a:lnTo>
                    <a:pt x="296" y="155"/>
                  </a:lnTo>
                  <a:lnTo>
                    <a:pt x="299" y="151"/>
                  </a:lnTo>
                  <a:lnTo>
                    <a:pt x="296" y="141"/>
                  </a:lnTo>
                  <a:lnTo>
                    <a:pt x="296" y="141"/>
                  </a:lnTo>
                  <a:lnTo>
                    <a:pt x="289" y="138"/>
                  </a:lnTo>
                  <a:lnTo>
                    <a:pt x="283" y="135"/>
                  </a:lnTo>
                  <a:lnTo>
                    <a:pt x="279" y="131"/>
                  </a:lnTo>
                  <a:lnTo>
                    <a:pt x="279" y="131"/>
                  </a:lnTo>
                  <a:lnTo>
                    <a:pt x="279" y="121"/>
                  </a:lnTo>
                  <a:lnTo>
                    <a:pt x="279" y="121"/>
                  </a:lnTo>
                  <a:lnTo>
                    <a:pt x="286" y="121"/>
                  </a:lnTo>
                  <a:lnTo>
                    <a:pt x="293" y="118"/>
                  </a:lnTo>
                  <a:lnTo>
                    <a:pt x="293" y="118"/>
                  </a:lnTo>
                  <a:lnTo>
                    <a:pt x="293" y="111"/>
                  </a:lnTo>
                  <a:lnTo>
                    <a:pt x="293" y="111"/>
                  </a:lnTo>
                  <a:lnTo>
                    <a:pt x="296" y="108"/>
                  </a:lnTo>
                  <a:lnTo>
                    <a:pt x="303" y="104"/>
                  </a:lnTo>
                  <a:lnTo>
                    <a:pt x="303" y="104"/>
                  </a:lnTo>
                  <a:lnTo>
                    <a:pt x="303" y="87"/>
                  </a:lnTo>
                  <a:lnTo>
                    <a:pt x="306" y="81"/>
                  </a:lnTo>
                  <a:lnTo>
                    <a:pt x="310" y="71"/>
                  </a:lnTo>
                  <a:lnTo>
                    <a:pt x="310" y="71"/>
                  </a:lnTo>
                  <a:lnTo>
                    <a:pt x="326" y="61"/>
                  </a:lnTo>
                  <a:lnTo>
                    <a:pt x="326" y="61"/>
                  </a:lnTo>
                  <a:lnTo>
                    <a:pt x="330" y="54"/>
                  </a:lnTo>
                  <a:lnTo>
                    <a:pt x="330" y="54"/>
                  </a:lnTo>
                  <a:lnTo>
                    <a:pt x="330" y="44"/>
                  </a:lnTo>
                  <a:lnTo>
                    <a:pt x="326" y="34"/>
                  </a:lnTo>
                  <a:lnTo>
                    <a:pt x="326" y="34"/>
                  </a:lnTo>
                  <a:lnTo>
                    <a:pt x="326" y="34"/>
                  </a:lnTo>
                  <a:lnTo>
                    <a:pt x="330" y="27"/>
                  </a:lnTo>
                  <a:lnTo>
                    <a:pt x="333" y="20"/>
                  </a:lnTo>
                  <a:lnTo>
                    <a:pt x="333" y="20"/>
                  </a:lnTo>
                  <a:lnTo>
                    <a:pt x="333" y="14"/>
                  </a:lnTo>
                  <a:lnTo>
                    <a:pt x="333" y="14"/>
                  </a:lnTo>
                  <a:lnTo>
                    <a:pt x="330" y="14"/>
                  </a:lnTo>
                  <a:lnTo>
                    <a:pt x="323" y="14"/>
                  </a:lnTo>
                  <a:lnTo>
                    <a:pt x="323" y="14"/>
                  </a:lnTo>
                  <a:lnTo>
                    <a:pt x="320" y="17"/>
                  </a:lnTo>
                  <a:lnTo>
                    <a:pt x="313" y="20"/>
                  </a:lnTo>
                  <a:lnTo>
                    <a:pt x="313" y="20"/>
                  </a:lnTo>
                  <a:lnTo>
                    <a:pt x="310" y="17"/>
                  </a:lnTo>
                  <a:lnTo>
                    <a:pt x="303" y="14"/>
                  </a:lnTo>
                  <a:lnTo>
                    <a:pt x="299" y="3"/>
                  </a:lnTo>
                  <a:lnTo>
                    <a:pt x="299" y="3"/>
                  </a:lnTo>
                  <a:lnTo>
                    <a:pt x="296" y="7"/>
                  </a:lnTo>
                  <a:lnTo>
                    <a:pt x="296" y="10"/>
                  </a:lnTo>
                  <a:lnTo>
                    <a:pt x="293" y="14"/>
                  </a:lnTo>
                  <a:lnTo>
                    <a:pt x="289" y="10"/>
                  </a:lnTo>
                  <a:lnTo>
                    <a:pt x="289" y="10"/>
                  </a:lnTo>
                  <a:lnTo>
                    <a:pt x="289" y="7"/>
                  </a:lnTo>
                  <a:lnTo>
                    <a:pt x="286" y="7"/>
                  </a:lnTo>
                  <a:lnTo>
                    <a:pt x="283" y="7"/>
                  </a:lnTo>
                  <a:lnTo>
                    <a:pt x="279" y="10"/>
                  </a:lnTo>
                  <a:lnTo>
                    <a:pt x="279" y="10"/>
                  </a:lnTo>
                  <a:lnTo>
                    <a:pt x="273" y="10"/>
                  </a:lnTo>
                  <a:lnTo>
                    <a:pt x="269" y="7"/>
                  </a:lnTo>
                  <a:lnTo>
                    <a:pt x="259" y="0"/>
                  </a:lnTo>
                  <a:lnTo>
                    <a:pt x="259" y="0"/>
                  </a:lnTo>
                  <a:lnTo>
                    <a:pt x="252" y="0"/>
                  </a:lnTo>
                  <a:lnTo>
                    <a:pt x="246" y="3"/>
                  </a:lnTo>
                  <a:lnTo>
                    <a:pt x="229" y="7"/>
                  </a:lnTo>
                  <a:lnTo>
                    <a:pt x="229" y="7"/>
                  </a:lnTo>
                  <a:lnTo>
                    <a:pt x="222" y="10"/>
                  </a:lnTo>
                  <a:lnTo>
                    <a:pt x="215" y="17"/>
                  </a:lnTo>
                  <a:lnTo>
                    <a:pt x="215" y="17"/>
                  </a:lnTo>
                  <a:lnTo>
                    <a:pt x="209" y="24"/>
                  </a:lnTo>
                  <a:lnTo>
                    <a:pt x="202" y="27"/>
                  </a:lnTo>
                  <a:lnTo>
                    <a:pt x="202" y="27"/>
                  </a:lnTo>
                  <a:lnTo>
                    <a:pt x="199" y="30"/>
                  </a:lnTo>
                  <a:lnTo>
                    <a:pt x="195" y="34"/>
                  </a:lnTo>
                  <a:lnTo>
                    <a:pt x="195" y="37"/>
                  </a:lnTo>
                  <a:lnTo>
                    <a:pt x="195" y="37"/>
                  </a:lnTo>
                  <a:lnTo>
                    <a:pt x="195" y="40"/>
                  </a:lnTo>
                  <a:lnTo>
                    <a:pt x="189" y="44"/>
                  </a:lnTo>
                  <a:lnTo>
                    <a:pt x="189" y="44"/>
                  </a:lnTo>
                  <a:lnTo>
                    <a:pt x="182" y="47"/>
                  </a:lnTo>
                  <a:lnTo>
                    <a:pt x="175" y="51"/>
                  </a:lnTo>
                  <a:lnTo>
                    <a:pt x="175" y="51"/>
                  </a:lnTo>
                  <a:lnTo>
                    <a:pt x="165" y="51"/>
                  </a:lnTo>
                  <a:lnTo>
                    <a:pt x="165" y="51"/>
                  </a:lnTo>
                  <a:lnTo>
                    <a:pt x="155" y="51"/>
                  </a:lnTo>
                  <a:lnTo>
                    <a:pt x="148" y="54"/>
                  </a:lnTo>
                  <a:lnTo>
                    <a:pt x="148" y="54"/>
                  </a:lnTo>
                  <a:lnTo>
                    <a:pt x="142" y="54"/>
                  </a:lnTo>
                  <a:lnTo>
                    <a:pt x="135" y="54"/>
                  </a:lnTo>
                  <a:lnTo>
                    <a:pt x="135" y="54"/>
                  </a:lnTo>
                  <a:lnTo>
                    <a:pt x="125" y="54"/>
                  </a:lnTo>
                  <a:lnTo>
                    <a:pt x="125" y="54"/>
                  </a:lnTo>
                  <a:lnTo>
                    <a:pt x="118" y="54"/>
                  </a:lnTo>
                  <a:lnTo>
                    <a:pt x="108" y="57"/>
                  </a:lnTo>
                  <a:lnTo>
                    <a:pt x="108" y="57"/>
                  </a:lnTo>
                  <a:lnTo>
                    <a:pt x="101" y="54"/>
                  </a:lnTo>
                  <a:lnTo>
                    <a:pt x="94" y="54"/>
                  </a:lnTo>
                  <a:lnTo>
                    <a:pt x="94" y="54"/>
                  </a:lnTo>
                  <a:lnTo>
                    <a:pt x="88" y="51"/>
                  </a:lnTo>
                  <a:lnTo>
                    <a:pt x="81" y="51"/>
                  </a:lnTo>
                  <a:lnTo>
                    <a:pt x="81" y="51"/>
                  </a:lnTo>
                  <a:lnTo>
                    <a:pt x="74" y="51"/>
                  </a:lnTo>
                  <a:lnTo>
                    <a:pt x="64" y="51"/>
                  </a:lnTo>
                  <a:lnTo>
                    <a:pt x="64" y="51"/>
                  </a:lnTo>
                  <a:lnTo>
                    <a:pt x="51" y="51"/>
                  </a:lnTo>
                  <a:lnTo>
                    <a:pt x="51" y="51"/>
                  </a:lnTo>
                  <a:lnTo>
                    <a:pt x="41" y="54"/>
                  </a:lnTo>
                  <a:lnTo>
                    <a:pt x="34" y="54"/>
                  </a:lnTo>
                  <a:lnTo>
                    <a:pt x="34" y="51"/>
                  </a:lnTo>
                  <a:lnTo>
                    <a:pt x="34" y="51"/>
                  </a:lnTo>
                  <a:lnTo>
                    <a:pt x="31" y="44"/>
                  </a:lnTo>
                  <a:lnTo>
                    <a:pt x="34" y="40"/>
                  </a:lnTo>
                  <a:lnTo>
                    <a:pt x="34" y="40"/>
                  </a:lnTo>
                  <a:lnTo>
                    <a:pt x="41" y="37"/>
                  </a:lnTo>
                  <a:lnTo>
                    <a:pt x="41" y="37"/>
                  </a:lnTo>
                  <a:lnTo>
                    <a:pt x="37" y="37"/>
                  </a:lnTo>
                  <a:lnTo>
                    <a:pt x="37" y="37"/>
                  </a:lnTo>
                  <a:lnTo>
                    <a:pt x="24" y="30"/>
                  </a:lnTo>
                  <a:lnTo>
                    <a:pt x="21" y="27"/>
                  </a:lnTo>
                  <a:lnTo>
                    <a:pt x="21" y="27"/>
                  </a:lnTo>
                  <a:lnTo>
                    <a:pt x="10" y="34"/>
                  </a:lnTo>
                  <a:lnTo>
                    <a:pt x="10" y="34"/>
                  </a:lnTo>
                  <a:lnTo>
                    <a:pt x="10" y="37"/>
                  </a:lnTo>
                  <a:lnTo>
                    <a:pt x="10" y="40"/>
                  </a:lnTo>
                  <a:lnTo>
                    <a:pt x="10" y="40"/>
                  </a:lnTo>
                  <a:lnTo>
                    <a:pt x="7" y="40"/>
                  </a:lnTo>
                  <a:lnTo>
                    <a:pt x="7" y="40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7"/>
                  </a:lnTo>
                  <a:lnTo>
                    <a:pt x="4" y="51"/>
                  </a:lnTo>
                  <a:lnTo>
                    <a:pt x="4" y="51"/>
                  </a:lnTo>
                  <a:lnTo>
                    <a:pt x="0" y="54"/>
                  </a:lnTo>
                  <a:lnTo>
                    <a:pt x="0" y="57"/>
                  </a:lnTo>
                  <a:lnTo>
                    <a:pt x="0" y="57"/>
                  </a:lnTo>
                  <a:lnTo>
                    <a:pt x="0" y="61"/>
                  </a:lnTo>
                  <a:lnTo>
                    <a:pt x="0" y="67"/>
                  </a:lnTo>
                  <a:lnTo>
                    <a:pt x="0" y="67"/>
                  </a:lnTo>
                  <a:lnTo>
                    <a:pt x="4" y="71"/>
                  </a:lnTo>
                  <a:lnTo>
                    <a:pt x="4" y="71"/>
                  </a:lnTo>
                  <a:lnTo>
                    <a:pt x="7" y="77"/>
                  </a:lnTo>
                  <a:lnTo>
                    <a:pt x="7" y="77"/>
                  </a:lnTo>
                  <a:lnTo>
                    <a:pt x="7" y="81"/>
                  </a:lnTo>
                  <a:lnTo>
                    <a:pt x="7" y="81"/>
                  </a:lnTo>
                  <a:lnTo>
                    <a:pt x="7" y="84"/>
                  </a:lnTo>
                  <a:lnTo>
                    <a:pt x="10" y="84"/>
                  </a:lnTo>
                  <a:lnTo>
                    <a:pt x="10" y="84"/>
                  </a:lnTo>
                  <a:lnTo>
                    <a:pt x="14" y="87"/>
                  </a:lnTo>
                  <a:lnTo>
                    <a:pt x="14" y="87"/>
                  </a:lnTo>
                  <a:lnTo>
                    <a:pt x="17" y="87"/>
                  </a:lnTo>
                  <a:lnTo>
                    <a:pt x="17" y="87"/>
                  </a:lnTo>
                  <a:lnTo>
                    <a:pt x="21" y="91"/>
                  </a:lnTo>
                  <a:lnTo>
                    <a:pt x="21" y="91"/>
                  </a:lnTo>
                  <a:lnTo>
                    <a:pt x="24" y="91"/>
                  </a:lnTo>
                  <a:lnTo>
                    <a:pt x="24" y="91"/>
                  </a:lnTo>
                  <a:lnTo>
                    <a:pt x="27" y="94"/>
                  </a:lnTo>
                  <a:lnTo>
                    <a:pt x="27" y="94"/>
                  </a:lnTo>
                  <a:lnTo>
                    <a:pt x="27" y="98"/>
                  </a:lnTo>
                  <a:lnTo>
                    <a:pt x="27" y="98"/>
                  </a:lnTo>
                  <a:lnTo>
                    <a:pt x="31" y="101"/>
                  </a:lnTo>
                  <a:lnTo>
                    <a:pt x="31" y="101"/>
                  </a:lnTo>
                  <a:lnTo>
                    <a:pt x="37" y="104"/>
                  </a:lnTo>
                  <a:lnTo>
                    <a:pt x="37" y="104"/>
                  </a:lnTo>
                  <a:lnTo>
                    <a:pt x="41" y="104"/>
                  </a:lnTo>
                  <a:lnTo>
                    <a:pt x="41" y="104"/>
                  </a:lnTo>
                  <a:lnTo>
                    <a:pt x="44" y="108"/>
                  </a:lnTo>
                  <a:lnTo>
                    <a:pt x="44" y="108"/>
                  </a:lnTo>
                  <a:lnTo>
                    <a:pt x="44" y="108"/>
                  </a:lnTo>
                  <a:lnTo>
                    <a:pt x="44" y="108"/>
                  </a:lnTo>
                  <a:lnTo>
                    <a:pt x="44" y="111"/>
                  </a:lnTo>
                  <a:lnTo>
                    <a:pt x="41" y="114"/>
                  </a:lnTo>
                  <a:lnTo>
                    <a:pt x="41" y="114"/>
                  </a:lnTo>
                  <a:lnTo>
                    <a:pt x="37" y="118"/>
                  </a:lnTo>
                  <a:lnTo>
                    <a:pt x="37" y="118"/>
                  </a:lnTo>
                  <a:lnTo>
                    <a:pt x="34" y="121"/>
                  </a:lnTo>
                  <a:lnTo>
                    <a:pt x="34" y="121"/>
                  </a:lnTo>
                  <a:lnTo>
                    <a:pt x="27" y="124"/>
                  </a:lnTo>
                  <a:lnTo>
                    <a:pt x="27" y="124"/>
                  </a:lnTo>
                  <a:lnTo>
                    <a:pt x="24" y="128"/>
                  </a:lnTo>
                  <a:lnTo>
                    <a:pt x="24" y="128"/>
                  </a:lnTo>
                  <a:lnTo>
                    <a:pt x="21" y="128"/>
                  </a:lnTo>
                  <a:lnTo>
                    <a:pt x="21" y="128"/>
                  </a:lnTo>
                  <a:lnTo>
                    <a:pt x="17" y="124"/>
                  </a:lnTo>
                  <a:lnTo>
                    <a:pt x="14" y="124"/>
                  </a:lnTo>
                  <a:lnTo>
                    <a:pt x="14" y="124"/>
                  </a:lnTo>
                  <a:lnTo>
                    <a:pt x="10" y="128"/>
                  </a:lnTo>
                  <a:lnTo>
                    <a:pt x="10" y="128"/>
                  </a:lnTo>
                  <a:lnTo>
                    <a:pt x="7" y="128"/>
                  </a:lnTo>
                  <a:lnTo>
                    <a:pt x="7" y="128"/>
                  </a:lnTo>
                  <a:lnTo>
                    <a:pt x="10" y="131"/>
                  </a:lnTo>
                  <a:lnTo>
                    <a:pt x="10" y="135"/>
                  </a:lnTo>
                  <a:lnTo>
                    <a:pt x="10" y="135"/>
                  </a:lnTo>
                  <a:lnTo>
                    <a:pt x="10" y="141"/>
                  </a:lnTo>
                  <a:lnTo>
                    <a:pt x="10" y="141"/>
                  </a:lnTo>
                  <a:lnTo>
                    <a:pt x="7" y="141"/>
                  </a:lnTo>
                  <a:lnTo>
                    <a:pt x="10" y="145"/>
                  </a:lnTo>
                  <a:lnTo>
                    <a:pt x="10" y="145"/>
                  </a:lnTo>
                  <a:lnTo>
                    <a:pt x="10" y="145"/>
                  </a:lnTo>
                  <a:lnTo>
                    <a:pt x="14" y="148"/>
                  </a:lnTo>
                  <a:lnTo>
                    <a:pt x="14" y="148"/>
                  </a:lnTo>
                  <a:lnTo>
                    <a:pt x="14" y="151"/>
                  </a:lnTo>
                  <a:lnTo>
                    <a:pt x="14" y="151"/>
                  </a:lnTo>
                  <a:lnTo>
                    <a:pt x="14" y="155"/>
                  </a:lnTo>
                  <a:lnTo>
                    <a:pt x="14" y="155"/>
                  </a:lnTo>
                  <a:lnTo>
                    <a:pt x="10" y="161"/>
                  </a:lnTo>
                  <a:lnTo>
                    <a:pt x="10" y="161"/>
                  </a:lnTo>
                  <a:lnTo>
                    <a:pt x="17" y="161"/>
                  </a:lnTo>
                  <a:lnTo>
                    <a:pt x="17" y="161"/>
                  </a:lnTo>
                  <a:lnTo>
                    <a:pt x="21" y="165"/>
                  </a:lnTo>
                  <a:lnTo>
                    <a:pt x="21" y="168"/>
                  </a:lnTo>
                  <a:lnTo>
                    <a:pt x="21" y="168"/>
                  </a:lnTo>
                  <a:lnTo>
                    <a:pt x="27" y="175"/>
                  </a:lnTo>
                  <a:lnTo>
                    <a:pt x="27" y="175"/>
                  </a:lnTo>
                  <a:lnTo>
                    <a:pt x="34" y="178"/>
                  </a:lnTo>
                  <a:lnTo>
                    <a:pt x="34" y="178"/>
                  </a:lnTo>
                  <a:lnTo>
                    <a:pt x="37" y="182"/>
                  </a:lnTo>
                  <a:lnTo>
                    <a:pt x="37" y="182"/>
                  </a:lnTo>
                  <a:lnTo>
                    <a:pt x="44" y="182"/>
                  </a:lnTo>
                  <a:lnTo>
                    <a:pt x="44" y="182"/>
                  </a:lnTo>
                  <a:lnTo>
                    <a:pt x="47" y="185"/>
                  </a:lnTo>
                  <a:lnTo>
                    <a:pt x="47" y="185"/>
                  </a:lnTo>
                  <a:lnTo>
                    <a:pt x="47" y="188"/>
                  </a:lnTo>
                  <a:lnTo>
                    <a:pt x="47" y="188"/>
                  </a:lnTo>
                  <a:lnTo>
                    <a:pt x="51" y="192"/>
                  </a:lnTo>
                  <a:lnTo>
                    <a:pt x="51" y="192"/>
                  </a:lnTo>
                  <a:lnTo>
                    <a:pt x="51" y="195"/>
                  </a:lnTo>
                  <a:lnTo>
                    <a:pt x="51" y="195"/>
                  </a:lnTo>
                  <a:lnTo>
                    <a:pt x="51" y="198"/>
                  </a:lnTo>
                  <a:lnTo>
                    <a:pt x="51" y="198"/>
                  </a:lnTo>
                  <a:lnTo>
                    <a:pt x="57" y="202"/>
                  </a:lnTo>
                  <a:lnTo>
                    <a:pt x="57" y="202"/>
                  </a:lnTo>
                  <a:lnTo>
                    <a:pt x="54" y="205"/>
                  </a:lnTo>
                  <a:lnTo>
                    <a:pt x="54" y="205"/>
                  </a:lnTo>
                  <a:lnTo>
                    <a:pt x="54" y="208"/>
                  </a:lnTo>
                  <a:lnTo>
                    <a:pt x="54" y="208"/>
                  </a:lnTo>
                  <a:lnTo>
                    <a:pt x="54" y="208"/>
                  </a:lnTo>
                  <a:lnTo>
                    <a:pt x="54" y="212"/>
                  </a:lnTo>
                  <a:lnTo>
                    <a:pt x="54" y="212"/>
                  </a:lnTo>
                  <a:lnTo>
                    <a:pt x="54" y="219"/>
                  </a:lnTo>
                  <a:lnTo>
                    <a:pt x="54" y="219"/>
                  </a:lnTo>
                  <a:lnTo>
                    <a:pt x="54" y="222"/>
                  </a:lnTo>
                  <a:lnTo>
                    <a:pt x="54" y="222"/>
                  </a:lnTo>
                  <a:lnTo>
                    <a:pt x="54" y="229"/>
                  </a:lnTo>
                  <a:lnTo>
                    <a:pt x="54" y="229"/>
                  </a:lnTo>
                  <a:lnTo>
                    <a:pt x="54" y="235"/>
                  </a:lnTo>
                  <a:lnTo>
                    <a:pt x="54" y="235"/>
                  </a:lnTo>
                  <a:lnTo>
                    <a:pt x="68" y="232"/>
                  </a:lnTo>
                  <a:lnTo>
                    <a:pt x="71" y="232"/>
                  </a:lnTo>
                  <a:lnTo>
                    <a:pt x="74" y="229"/>
                  </a:lnTo>
                  <a:lnTo>
                    <a:pt x="74" y="229"/>
                  </a:lnTo>
                  <a:lnTo>
                    <a:pt x="78" y="225"/>
                  </a:lnTo>
                  <a:lnTo>
                    <a:pt x="81" y="229"/>
                  </a:lnTo>
                  <a:lnTo>
                    <a:pt x="81" y="229"/>
                  </a:lnTo>
                  <a:lnTo>
                    <a:pt x="84" y="229"/>
                  </a:lnTo>
                  <a:lnTo>
                    <a:pt x="91" y="225"/>
                  </a:lnTo>
                  <a:lnTo>
                    <a:pt x="91" y="225"/>
                  </a:lnTo>
                  <a:lnTo>
                    <a:pt x="98" y="222"/>
                  </a:lnTo>
                  <a:lnTo>
                    <a:pt x="101" y="219"/>
                  </a:lnTo>
                  <a:lnTo>
                    <a:pt x="105" y="222"/>
                  </a:lnTo>
                  <a:lnTo>
                    <a:pt x="105" y="222"/>
                  </a:lnTo>
                  <a:lnTo>
                    <a:pt x="108" y="222"/>
                  </a:lnTo>
                  <a:lnTo>
                    <a:pt x="111" y="222"/>
                  </a:lnTo>
                  <a:lnTo>
                    <a:pt x="115" y="219"/>
                  </a:lnTo>
                  <a:lnTo>
                    <a:pt x="115" y="219"/>
                  </a:lnTo>
                  <a:lnTo>
                    <a:pt x="125" y="215"/>
                  </a:lnTo>
                  <a:lnTo>
                    <a:pt x="128" y="215"/>
                  </a:lnTo>
                  <a:lnTo>
                    <a:pt x="128" y="215"/>
                  </a:lnTo>
                  <a:lnTo>
                    <a:pt x="135" y="215"/>
                  </a:lnTo>
                  <a:lnTo>
                    <a:pt x="138" y="215"/>
                  </a:lnTo>
                  <a:lnTo>
                    <a:pt x="138" y="215"/>
                  </a:lnTo>
                  <a:lnTo>
                    <a:pt x="142" y="222"/>
                  </a:lnTo>
                  <a:lnTo>
                    <a:pt x="142" y="222"/>
                  </a:lnTo>
                  <a:lnTo>
                    <a:pt x="145" y="222"/>
                  </a:lnTo>
                  <a:lnTo>
                    <a:pt x="152" y="225"/>
                  </a:lnTo>
                  <a:lnTo>
                    <a:pt x="152" y="225"/>
                  </a:lnTo>
                  <a:lnTo>
                    <a:pt x="155" y="229"/>
                  </a:lnTo>
                  <a:lnTo>
                    <a:pt x="158" y="225"/>
                  </a:lnTo>
                  <a:lnTo>
                    <a:pt x="158" y="225"/>
                  </a:lnTo>
                  <a:lnTo>
                    <a:pt x="162" y="225"/>
                  </a:lnTo>
                  <a:lnTo>
                    <a:pt x="172" y="229"/>
                  </a:lnTo>
                  <a:lnTo>
                    <a:pt x="172" y="229"/>
                  </a:lnTo>
                  <a:lnTo>
                    <a:pt x="172" y="229"/>
                  </a:lnTo>
                  <a:lnTo>
                    <a:pt x="178" y="232"/>
                  </a:lnTo>
                  <a:lnTo>
                    <a:pt x="182" y="229"/>
                  </a:lnTo>
                  <a:lnTo>
                    <a:pt x="182" y="229"/>
                  </a:lnTo>
                  <a:lnTo>
                    <a:pt x="195" y="225"/>
                  </a:lnTo>
                  <a:lnTo>
                    <a:pt x="202" y="222"/>
                  </a:lnTo>
                  <a:lnTo>
                    <a:pt x="202" y="215"/>
                  </a:lnTo>
                  <a:lnTo>
                    <a:pt x="195" y="198"/>
                  </a:lnTo>
                  <a:lnTo>
                    <a:pt x="209" y="198"/>
                  </a:lnTo>
                  <a:lnTo>
                    <a:pt x="222" y="202"/>
                  </a:lnTo>
                  <a:lnTo>
                    <a:pt x="229" y="192"/>
                  </a:lnTo>
                  <a:lnTo>
                    <a:pt x="236" y="185"/>
                  </a:lnTo>
                  <a:lnTo>
                    <a:pt x="232" y="175"/>
                  </a:lnTo>
                  <a:lnTo>
                    <a:pt x="236" y="175"/>
                  </a:lnTo>
                  <a:lnTo>
                    <a:pt x="246" y="168"/>
                  </a:lnTo>
                  <a:lnTo>
                    <a:pt x="256" y="165"/>
                  </a:lnTo>
                  <a:lnTo>
                    <a:pt x="263" y="158"/>
                  </a:lnTo>
                  <a:lnTo>
                    <a:pt x="273" y="155"/>
                  </a:lnTo>
                  <a:lnTo>
                    <a:pt x="279" y="168"/>
                  </a:lnTo>
                  <a:lnTo>
                    <a:pt x="286" y="168"/>
                  </a:lnTo>
                  <a:lnTo>
                    <a:pt x="289" y="165"/>
                  </a:lnTo>
                  <a:lnTo>
                    <a:pt x="303" y="161"/>
                  </a:lnTo>
                  <a:close/>
                </a:path>
              </a:pathLst>
            </a:custGeom>
            <a:solidFill>
              <a:srgbClr val="C0C0C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EYInterstate" pitchFamily="2" charset="0"/>
                <a:cs typeface="Arial" charset="0"/>
              </a:endParaRPr>
            </a:p>
          </p:txBody>
        </p:sp>
        <p:sp>
          <p:nvSpPr>
            <p:cNvPr id="55" name="Freeform 69"/>
            <p:cNvSpPr>
              <a:spLocks/>
            </p:cNvSpPr>
            <p:nvPr/>
          </p:nvSpPr>
          <p:spPr bwMode="auto">
            <a:xfrm>
              <a:off x="3133" y="2956"/>
              <a:ext cx="188" cy="191"/>
            </a:xfrm>
            <a:custGeom>
              <a:avLst/>
              <a:gdLst/>
              <a:ahLst/>
              <a:cxnLst>
                <a:cxn ang="0">
                  <a:pos x="121" y="205"/>
                </a:cxn>
                <a:cxn ang="0">
                  <a:pos x="108" y="195"/>
                </a:cxn>
                <a:cxn ang="0">
                  <a:pos x="88" y="182"/>
                </a:cxn>
                <a:cxn ang="0">
                  <a:pos x="74" y="182"/>
                </a:cxn>
                <a:cxn ang="0">
                  <a:pos x="84" y="168"/>
                </a:cxn>
                <a:cxn ang="0">
                  <a:pos x="74" y="151"/>
                </a:cxn>
                <a:cxn ang="0">
                  <a:pos x="64" y="138"/>
                </a:cxn>
                <a:cxn ang="0">
                  <a:pos x="57" y="128"/>
                </a:cxn>
                <a:cxn ang="0">
                  <a:pos x="47" y="111"/>
                </a:cxn>
                <a:cxn ang="0">
                  <a:pos x="34" y="94"/>
                </a:cxn>
                <a:cxn ang="0">
                  <a:pos x="27" y="81"/>
                </a:cxn>
                <a:cxn ang="0">
                  <a:pos x="17" y="67"/>
                </a:cxn>
                <a:cxn ang="0">
                  <a:pos x="20" y="51"/>
                </a:cxn>
                <a:cxn ang="0">
                  <a:pos x="17" y="44"/>
                </a:cxn>
                <a:cxn ang="0">
                  <a:pos x="7" y="37"/>
                </a:cxn>
                <a:cxn ang="0">
                  <a:pos x="4" y="24"/>
                </a:cxn>
                <a:cxn ang="0">
                  <a:pos x="7" y="4"/>
                </a:cxn>
                <a:cxn ang="0">
                  <a:pos x="17" y="0"/>
                </a:cxn>
                <a:cxn ang="0">
                  <a:pos x="24" y="10"/>
                </a:cxn>
                <a:cxn ang="0">
                  <a:pos x="34" y="24"/>
                </a:cxn>
                <a:cxn ang="0">
                  <a:pos x="41" y="14"/>
                </a:cxn>
                <a:cxn ang="0">
                  <a:pos x="51" y="4"/>
                </a:cxn>
                <a:cxn ang="0">
                  <a:pos x="61" y="10"/>
                </a:cxn>
                <a:cxn ang="0">
                  <a:pos x="74" y="14"/>
                </a:cxn>
                <a:cxn ang="0">
                  <a:pos x="84" y="14"/>
                </a:cxn>
                <a:cxn ang="0">
                  <a:pos x="91" y="14"/>
                </a:cxn>
                <a:cxn ang="0">
                  <a:pos x="104" y="27"/>
                </a:cxn>
                <a:cxn ang="0">
                  <a:pos x="114" y="24"/>
                </a:cxn>
                <a:cxn ang="0">
                  <a:pos x="121" y="20"/>
                </a:cxn>
                <a:cxn ang="0">
                  <a:pos x="128" y="27"/>
                </a:cxn>
                <a:cxn ang="0">
                  <a:pos x="135" y="27"/>
                </a:cxn>
                <a:cxn ang="0">
                  <a:pos x="151" y="30"/>
                </a:cxn>
                <a:cxn ang="0">
                  <a:pos x="155" y="37"/>
                </a:cxn>
                <a:cxn ang="0">
                  <a:pos x="155" y="44"/>
                </a:cxn>
                <a:cxn ang="0">
                  <a:pos x="172" y="44"/>
                </a:cxn>
                <a:cxn ang="0">
                  <a:pos x="188" y="41"/>
                </a:cxn>
                <a:cxn ang="0">
                  <a:pos x="178" y="61"/>
                </a:cxn>
                <a:cxn ang="0">
                  <a:pos x="175" y="74"/>
                </a:cxn>
                <a:cxn ang="0">
                  <a:pos x="182" y="88"/>
                </a:cxn>
                <a:cxn ang="0">
                  <a:pos x="185" y="101"/>
                </a:cxn>
                <a:cxn ang="0">
                  <a:pos x="172" y="101"/>
                </a:cxn>
                <a:cxn ang="0">
                  <a:pos x="172" y="108"/>
                </a:cxn>
                <a:cxn ang="0">
                  <a:pos x="185" y="121"/>
                </a:cxn>
                <a:cxn ang="0">
                  <a:pos x="188" y="128"/>
                </a:cxn>
                <a:cxn ang="0">
                  <a:pos x="175" y="128"/>
                </a:cxn>
                <a:cxn ang="0">
                  <a:pos x="162" y="138"/>
                </a:cxn>
                <a:cxn ang="0">
                  <a:pos x="155" y="138"/>
                </a:cxn>
                <a:cxn ang="0">
                  <a:pos x="158" y="151"/>
                </a:cxn>
                <a:cxn ang="0">
                  <a:pos x="151" y="155"/>
                </a:cxn>
                <a:cxn ang="0">
                  <a:pos x="131" y="155"/>
                </a:cxn>
                <a:cxn ang="0">
                  <a:pos x="131" y="168"/>
                </a:cxn>
                <a:cxn ang="0">
                  <a:pos x="125" y="175"/>
                </a:cxn>
                <a:cxn ang="0">
                  <a:pos x="125" y="192"/>
                </a:cxn>
              </a:cxnLst>
              <a:rect l="0" t="0" r="r" b="b"/>
              <a:pathLst>
                <a:path w="188" h="205">
                  <a:moveTo>
                    <a:pt x="131" y="205"/>
                  </a:moveTo>
                  <a:lnTo>
                    <a:pt x="131" y="205"/>
                  </a:lnTo>
                  <a:lnTo>
                    <a:pt x="128" y="202"/>
                  </a:lnTo>
                  <a:lnTo>
                    <a:pt x="125" y="202"/>
                  </a:lnTo>
                  <a:lnTo>
                    <a:pt x="125" y="202"/>
                  </a:lnTo>
                  <a:lnTo>
                    <a:pt x="121" y="205"/>
                  </a:lnTo>
                  <a:lnTo>
                    <a:pt x="121" y="205"/>
                  </a:lnTo>
                  <a:lnTo>
                    <a:pt x="118" y="202"/>
                  </a:lnTo>
                  <a:lnTo>
                    <a:pt x="118" y="202"/>
                  </a:lnTo>
                  <a:lnTo>
                    <a:pt x="114" y="199"/>
                  </a:lnTo>
                  <a:lnTo>
                    <a:pt x="114" y="199"/>
                  </a:lnTo>
                  <a:lnTo>
                    <a:pt x="108" y="195"/>
                  </a:lnTo>
                  <a:lnTo>
                    <a:pt x="108" y="195"/>
                  </a:lnTo>
                  <a:lnTo>
                    <a:pt x="104" y="192"/>
                  </a:lnTo>
                  <a:lnTo>
                    <a:pt x="104" y="192"/>
                  </a:lnTo>
                  <a:lnTo>
                    <a:pt x="98" y="188"/>
                  </a:lnTo>
                  <a:lnTo>
                    <a:pt x="98" y="188"/>
                  </a:lnTo>
                  <a:lnTo>
                    <a:pt x="88" y="182"/>
                  </a:lnTo>
                  <a:lnTo>
                    <a:pt x="88" y="182"/>
                  </a:lnTo>
                  <a:lnTo>
                    <a:pt x="84" y="185"/>
                  </a:lnTo>
                  <a:lnTo>
                    <a:pt x="81" y="188"/>
                  </a:lnTo>
                  <a:lnTo>
                    <a:pt x="81" y="188"/>
                  </a:lnTo>
                  <a:lnTo>
                    <a:pt x="74" y="182"/>
                  </a:lnTo>
                  <a:lnTo>
                    <a:pt x="74" y="182"/>
                  </a:lnTo>
                  <a:lnTo>
                    <a:pt x="74" y="182"/>
                  </a:lnTo>
                  <a:lnTo>
                    <a:pt x="84" y="175"/>
                  </a:lnTo>
                  <a:lnTo>
                    <a:pt x="84" y="175"/>
                  </a:lnTo>
                  <a:lnTo>
                    <a:pt x="84" y="172"/>
                  </a:lnTo>
                  <a:lnTo>
                    <a:pt x="84" y="168"/>
                  </a:lnTo>
                  <a:lnTo>
                    <a:pt x="84" y="168"/>
                  </a:lnTo>
                  <a:lnTo>
                    <a:pt x="84" y="165"/>
                  </a:lnTo>
                  <a:lnTo>
                    <a:pt x="78" y="162"/>
                  </a:lnTo>
                  <a:lnTo>
                    <a:pt x="78" y="162"/>
                  </a:lnTo>
                  <a:lnTo>
                    <a:pt x="74" y="158"/>
                  </a:lnTo>
                  <a:lnTo>
                    <a:pt x="74" y="158"/>
                  </a:lnTo>
                  <a:lnTo>
                    <a:pt x="74" y="151"/>
                  </a:lnTo>
                  <a:lnTo>
                    <a:pt x="74" y="151"/>
                  </a:lnTo>
                  <a:lnTo>
                    <a:pt x="67" y="148"/>
                  </a:lnTo>
                  <a:lnTo>
                    <a:pt x="67" y="148"/>
                  </a:lnTo>
                  <a:lnTo>
                    <a:pt x="64" y="141"/>
                  </a:lnTo>
                  <a:lnTo>
                    <a:pt x="64" y="141"/>
                  </a:lnTo>
                  <a:lnTo>
                    <a:pt x="64" y="138"/>
                  </a:lnTo>
                  <a:lnTo>
                    <a:pt x="64" y="138"/>
                  </a:lnTo>
                  <a:lnTo>
                    <a:pt x="67" y="131"/>
                  </a:lnTo>
                  <a:lnTo>
                    <a:pt x="67" y="131"/>
                  </a:lnTo>
                  <a:lnTo>
                    <a:pt x="67" y="131"/>
                  </a:lnTo>
                  <a:lnTo>
                    <a:pt x="64" y="128"/>
                  </a:lnTo>
                  <a:lnTo>
                    <a:pt x="57" y="128"/>
                  </a:lnTo>
                  <a:lnTo>
                    <a:pt x="57" y="128"/>
                  </a:lnTo>
                  <a:lnTo>
                    <a:pt x="51" y="125"/>
                  </a:lnTo>
                  <a:lnTo>
                    <a:pt x="51" y="125"/>
                  </a:lnTo>
                  <a:lnTo>
                    <a:pt x="47" y="115"/>
                  </a:lnTo>
                  <a:lnTo>
                    <a:pt x="47" y="115"/>
                  </a:lnTo>
                  <a:lnTo>
                    <a:pt x="47" y="111"/>
                  </a:lnTo>
                  <a:lnTo>
                    <a:pt x="47" y="111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1" y="104"/>
                  </a:lnTo>
                  <a:lnTo>
                    <a:pt x="41" y="104"/>
                  </a:lnTo>
                  <a:lnTo>
                    <a:pt x="34" y="94"/>
                  </a:lnTo>
                  <a:lnTo>
                    <a:pt x="34" y="94"/>
                  </a:lnTo>
                  <a:lnTo>
                    <a:pt x="34" y="91"/>
                  </a:lnTo>
                  <a:lnTo>
                    <a:pt x="34" y="91"/>
                  </a:lnTo>
                  <a:lnTo>
                    <a:pt x="30" y="84"/>
                  </a:lnTo>
                  <a:lnTo>
                    <a:pt x="30" y="84"/>
                  </a:lnTo>
                  <a:lnTo>
                    <a:pt x="27" y="81"/>
                  </a:lnTo>
                  <a:lnTo>
                    <a:pt x="27" y="81"/>
                  </a:lnTo>
                  <a:lnTo>
                    <a:pt x="24" y="74"/>
                  </a:lnTo>
                  <a:lnTo>
                    <a:pt x="24" y="74"/>
                  </a:lnTo>
                  <a:lnTo>
                    <a:pt x="20" y="71"/>
                  </a:lnTo>
                  <a:lnTo>
                    <a:pt x="17" y="67"/>
                  </a:lnTo>
                  <a:lnTo>
                    <a:pt x="17" y="67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1"/>
                  </a:lnTo>
                  <a:lnTo>
                    <a:pt x="20" y="61"/>
                  </a:lnTo>
                  <a:lnTo>
                    <a:pt x="20" y="51"/>
                  </a:lnTo>
                  <a:lnTo>
                    <a:pt x="20" y="51"/>
                  </a:lnTo>
                  <a:lnTo>
                    <a:pt x="17" y="47"/>
                  </a:lnTo>
                  <a:lnTo>
                    <a:pt x="17" y="47"/>
                  </a:lnTo>
                  <a:lnTo>
                    <a:pt x="14" y="44"/>
                  </a:lnTo>
                  <a:lnTo>
                    <a:pt x="14" y="44"/>
                  </a:lnTo>
                  <a:lnTo>
                    <a:pt x="17" y="44"/>
                  </a:lnTo>
                  <a:lnTo>
                    <a:pt x="17" y="44"/>
                  </a:lnTo>
                  <a:lnTo>
                    <a:pt x="14" y="41"/>
                  </a:lnTo>
                  <a:lnTo>
                    <a:pt x="14" y="41"/>
                  </a:lnTo>
                  <a:lnTo>
                    <a:pt x="10" y="37"/>
                  </a:lnTo>
                  <a:lnTo>
                    <a:pt x="10" y="37"/>
                  </a:lnTo>
                  <a:lnTo>
                    <a:pt x="7" y="37"/>
                  </a:lnTo>
                  <a:lnTo>
                    <a:pt x="7" y="37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7" y="20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0"/>
                  </a:lnTo>
                  <a:lnTo>
                    <a:pt x="7" y="10"/>
                  </a:lnTo>
                  <a:lnTo>
                    <a:pt x="7" y="4"/>
                  </a:lnTo>
                  <a:lnTo>
                    <a:pt x="7" y="4"/>
                  </a:lnTo>
                  <a:lnTo>
                    <a:pt x="7" y="0"/>
                  </a:lnTo>
                  <a:lnTo>
                    <a:pt x="7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7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7" y="17"/>
                  </a:lnTo>
                  <a:lnTo>
                    <a:pt x="27" y="17"/>
                  </a:lnTo>
                  <a:lnTo>
                    <a:pt x="30" y="20"/>
                  </a:lnTo>
                  <a:lnTo>
                    <a:pt x="30" y="20"/>
                  </a:lnTo>
                  <a:lnTo>
                    <a:pt x="30" y="24"/>
                  </a:lnTo>
                  <a:lnTo>
                    <a:pt x="34" y="24"/>
                  </a:lnTo>
                  <a:lnTo>
                    <a:pt x="34" y="24"/>
                  </a:lnTo>
                  <a:lnTo>
                    <a:pt x="37" y="24"/>
                  </a:lnTo>
                  <a:lnTo>
                    <a:pt x="37" y="20"/>
                  </a:lnTo>
                  <a:lnTo>
                    <a:pt x="37" y="20"/>
                  </a:lnTo>
                  <a:lnTo>
                    <a:pt x="41" y="17"/>
                  </a:lnTo>
                  <a:lnTo>
                    <a:pt x="41" y="14"/>
                  </a:lnTo>
                  <a:lnTo>
                    <a:pt x="41" y="14"/>
                  </a:lnTo>
                  <a:lnTo>
                    <a:pt x="44" y="7"/>
                  </a:lnTo>
                  <a:lnTo>
                    <a:pt x="44" y="7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51" y="4"/>
                  </a:lnTo>
                  <a:lnTo>
                    <a:pt x="54" y="4"/>
                  </a:lnTo>
                  <a:lnTo>
                    <a:pt x="54" y="4"/>
                  </a:lnTo>
                  <a:lnTo>
                    <a:pt x="57" y="7"/>
                  </a:lnTo>
                  <a:lnTo>
                    <a:pt x="57" y="7"/>
                  </a:lnTo>
                  <a:lnTo>
                    <a:pt x="61" y="10"/>
                  </a:lnTo>
                  <a:lnTo>
                    <a:pt x="61" y="10"/>
                  </a:lnTo>
                  <a:lnTo>
                    <a:pt x="64" y="7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71" y="7"/>
                  </a:lnTo>
                  <a:lnTo>
                    <a:pt x="71" y="7"/>
                  </a:lnTo>
                  <a:lnTo>
                    <a:pt x="74" y="14"/>
                  </a:lnTo>
                  <a:lnTo>
                    <a:pt x="74" y="14"/>
                  </a:lnTo>
                  <a:lnTo>
                    <a:pt x="78" y="14"/>
                  </a:lnTo>
                  <a:lnTo>
                    <a:pt x="78" y="14"/>
                  </a:lnTo>
                  <a:lnTo>
                    <a:pt x="78" y="10"/>
                  </a:lnTo>
                  <a:lnTo>
                    <a:pt x="78" y="10"/>
                  </a:lnTo>
                  <a:lnTo>
                    <a:pt x="84" y="14"/>
                  </a:lnTo>
                  <a:lnTo>
                    <a:pt x="84" y="14"/>
                  </a:lnTo>
                  <a:lnTo>
                    <a:pt x="84" y="17"/>
                  </a:lnTo>
                  <a:lnTo>
                    <a:pt x="84" y="17"/>
                  </a:lnTo>
                  <a:lnTo>
                    <a:pt x="91" y="14"/>
                  </a:lnTo>
                  <a:lnTo>
                    <a:pt x="91" y="14"/>
                  </a:lnTo>
                  <a:lnTo>
                    <a:pt x="91" y="14"/>
                  </a:lnTo>
                  <a:lnTo>
                    <a:pt x="91" y="14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101" y="20"/>
                  </a:lnTo>
                  <a:lnTo>
                    <a:pt x="101" y="20"/>
                  </a:lnTo>
                  <a:lnTo>
                    <a:pt x="104" y="27"/>
                  </a:lnTo>
                  <a:lnTo>
                    <a:pt x="104" y="27"/>
                  </a:lnTo>
                  <a:lnTo>
                    <a:pt x="108" y="27"/>
                  </a:lnTo>
                  <a:lnTo>
                    <a:pt x="108" y="27"/>
                  </a:lnTo>
                  <a:lnTo>
                    <a:pt x="108" y="27"/>
                  </a:lnTo>
                  <a:lnTo>
                    <a:pt x="114" y="24"/>
                  </a:lnTo>
                  <a:lnTo>
                    <a:pt x="114" y="24"/>
                  </a:lnTo>
                  <a:lnTo>
                    <a:pt x="118" y="20"/>
                  </a:lnTo>
                  <a:lnTo>
                    <a:pt x="118" y="20"/>
                  </a:lnTo>
                  <a:lnTo>
                    <a:pt x="121" y="20"/>
                  </a:lnTo>
                  <a:lnTo>
                    <a:pt x="121" y="20"/>
                  </a:lnTo>
                  <a:lnTo>
                    <a:pt x="121" y="20"/>
                  </a:lnTo>
                  <a:lnTo>
                    <a:pt x="121" y="20"/>
                  </a:lnTo>
                  <a:lnTo>
                    <a:pt x="121" y="20"/>
                  </a:lnTo>
                  <a:lnTo>
                    <a:pt x="121" y="24"/>
                  </a:lnTo>
                  <a:lnTo>
                    <a:pt x="121" y="27"/>
                  </a:lnTo>
                  <a:lnTo>
                    <a:pt x="121" y="27"/>
                  </a:lnTo>
                  <a:lnTo>
                    <a:pt x="128" y="27"/>
                  </a:lnTo>
                  <a:lnTo>
                    <a:pt x="128" y="27"/>
                  </a:lnTo>
                  <a:lnTo>
                    <a:pt x="128" y="24"/>
                  </a:lnTo>
                  <a:lnTo>
                    <a:pt x="128" y="24"/>
                  </a:lnTo>
                  <a:lnTo>
                    <a:pt x="131" y="20"/>
                  </a:lnTo>
                  <a:lnTo>
                    <a:pt x="131" y="20"/>
                  </a:lnTo>
                  <a:lnTo>
                    <a:pt x="135" y="27"/>
                  </a:lnTo>
                  <a:lnTo>
                    <a:pt x="135" y="27"/>
                  </a:lnTo>
                  <a:lnTo>
                    <a:pt x="141" y="30"/>
                  </a:lnTo>
                  <a:lnTo>
                    <a:pt x="141" y="30"/>
                  </a:lnTo>
                  <a:lnTo>
                    <a:pt x="145" y="30"/>
                  </a:lnTo>
                  <a:lnTo>
                    <a:pt x="145" y="30"/>
                  </a:lnTo>
                  <a:lnTo>
                    <a:pt x="151" y="30"/>
                  </a:lnTo>
                  <a:lnTo>
                    <a:pt x="151" y="30"/>
                  </a:lnTo>
                  <a:lnTo>
                    <a:pt x="155" y="30"/>
                  </a:lnTo>
                  <a:lnTo>
                    <a:pt x="155" y="30"/>
                  </a:lnTo>
                  <a:lnTo>
                    <a:pt x="155" y="37"/>
                  </a:lnTo>
                  <a:lnTo>
                    <a:pt x="155" y="37"/>
                  </a:lnTo>
                  <a:lnTo>
                    <a:pt x="155" y="37"/>
                  </a:lnTo>
                  <a:lnTo>
                    <a:pt x="155" y="37"/>
                  </a:lnTo>
                  <a:lnTo>
                    <a:pt x="155" y="37"/>
                  </a:lnTo>
                  <a:lnTo>
                    <a:pt x="158" y="41"/>
                  </a:lnTo>
                  <a:lnTo>
                    <a:pt x="155" y="44"/>
                  </a:lnTo>
                  <a:lnTo>
                    <a:pt x="155" y="44"/>
                  </a:lnTo>
                  <a:lnTo>
                    <a:pt x="155" y="44"/>
                  </a:lnTo>
                  <a:lnTo>
                    <a:pt x="155" y="44"/>
                  </a:lnTo>
                  <a:lnTo>
                    <a:pt x="158" y="47"/>
                  </a:lnTo>
                  <a:lnTo>
                    <a:pt x="158" y="47"/>
                  </a:lnTo>
                  <a:lnTo>
                    <a:pt x="162" y="47"/>
                  </a:lnTo>
                  <a:lnTo>
                    <a:pt x="165" y="47"/>
                  </a:lnTo>
                  <a:lnTo>
                    <a:pt x="165" y="47"/>
                  </a:lnTo>
                  <a:lnTo>
                    <a:pt x="172" y="44"/>
                  </a:lnTo>
                  <a:lnTo>
                    <a:pt x="172" y="44"/>
                  </a:lnTo>
                  <a:lnTo>
                    <a:pt x="175" y="41"/>
                  </a:lnTo>
                  <a:lnTo>
                    <a:pt x="178" y="37"/>
                  </a:lnTo>
                  <a:lnTo>
                    <a:pt x="178" y="37"/>
                  </a:lnTo>
                  <a:lnTo>
                    <a:pt x="182" y="41"/>
                  </a:lnTo>
                  <a:lnTo>
                    <a:pt x="188" y="41"/>
                  </a:lnTo>
                  <a:lnTo>
                    <a:pt x="188" y="41"/>
                  </a:lnTo>
                  <a:lnTo>
                    <a:pt x="185" y="51"/>
                  </a:lnTo>
                  <a:lnTo>
                    <a:pt x="185" y="51"/>
                  </a:lnTo>
                  <a:lnTo>
                    <a:pt x="178" y="54"/>
                  </a:lnTo>
                  <a:lnTo>
                    <a:pt x="178" y="54"/>
                  </a:lnTo>
                  <a:lnTo>
                    <a:pt x="178" y="61"/>
                  </a:lnTo>
                  <a:lnTo>
                    <a:pt x="178" y="61"/>
                  </a:lnTo>
                  <a:lnTo>
                    <a:pt x="178" y="67"/>
                  </a:lnTo>
                  <a:lnTo>
                    <a:pt x="178" y="67"/>
                  </a:lnTo>
                  <a:lnTo>
                    <a:pt x="175" y="71"/>
                  </a:lnTo>
                  <a:lnTo>
                    <a:pt x="175" y="74"/>
                  </a:lnTo>
                  <a:lnTo>
                    <a:pt x="175" y="74"/>
                  </a:lnTo>
                  <a:lnTo>
                    <a:pt x="178" y="78"/>
                  </a:lnTo>
                  <a:lnTo>
                    <a:pt x="178" y="78"/>
                  </a:lnTo>
                  <a:lnTo>
                    <a:pt x="182" y="84"/>
                  </a:lnTo>
                  <a:lnTo>
                    <a:pt x="182" y="84"/>
                  </a:lnTo>
                  <a:lnTo>
                    <a:pt x="182" y="88"/>
                  </a:lnTo>
                  <a:lnTo>
                    <a:pt x="182" y="88"/>
                  </a:lnTo>
                  <a:lnTo>
                    <a:pt x="185" y="91"/>
                  </a:lnTo>
                  <a:lnTo>
                    <a:pt x="185" y="91"/>
                  </a:lnTo>
                  <a:lnTo>
                    <a:pt x="188" y="98"/>
                  </a:lnTo>
                  <a:lnTo>
                    <a:pt x="188" y="98"/>
                  </a:lnTo>
                  <a:lnTo>
                    <a:pt x="185" y="101"/>
                  </a:lnTo>
                  <a:lnTo>
                    <a:pt x="185" y="101"/>
                  </a:lnTo>
                  <a:lnTo>
                    <a:pt x="185" y="101"/>
                  </a:lnTo>
                  <a:lnTo>
                    <a:pt x="178" y="104"/>
                  </a:lnTo>
                  <a:lnTo>
                    <a:pt x="178" y="104"/>
                  </a:lnTo>
                  <a:lnTo>
                    <a:pt x="175" y="104"/>
                  </a:lnTo>
                  <a:lnTo>
                    <a:pt x="175" y="104"/>
                  </a:lnTo>
                  <a:lnTo>
                    <a:pt x="172" y="101"/>
                  </a:lnTo>
                  <a:lnTo>
                    <a:pt x="172" y="101"/>
                  </a:lnTo>
                  <a:lnTo>
                    <a:pt x="168" y="101"/>
                  </a:lnTo>
                  <a:lnTo>
                    <a:pt x="165" y="98"/>
                  </a:lnTo>
                  <a:lnTo>
                    <a:pt x="165" y="101"/>
                  </a:lnTo>
                  <a:lnTo>
                    <a:pt x="165" y="101"/>
                  </a:lnTo>
                  <a:lnTo>
                    <a:pt x="172" y="108"/>
                  </a:lnTo>
                  <a:lnTo>
                    <a:pt x="172" y="108"/>
                  </a:lnTo>
                  <a:lnTo>
                    <a:pt x="175" y="115"/>
                  </a:lnTo>
                  <a:lnTo>
                    <a:pt x="175" y="115"/>
                  </a:lnTo>
                  <a:lnTo>
                    <a:pt x="178" y="118"/>
                  </a:lnTo>
                  <a:lnTo>
                    <a:pt x="178" y="118"/>
                  </a:lnTo>
                  <a:lnTo>
                    <a:pt x="185" y="121"/>
                  </a:lnTo>
                  <a:lnTo>
                    <a:pt x="185" y="121"/>
                  </a:lnTo>
                  <a:lnTo>
                    <a:pt x="188" y="121"/>
                  </a:lnTo>
                  <a:lnTo>
                    <a:pt x="188" y="121"/>
                  </a:lnTo>
                  <a:lnTo>
                    <a:pt x="188" y="128"/>
                  </a:lnTo>
                  <a:lnTo>
                    <a:pt x="188" y="128"/>
                  </a:lnTo>
                  <a:lnTo>
                    <a:pt x="188" y="128"/>
                  </a:lnTo>
                  <a:lnTo>
                    <a:pt x="185" y="131"/>
                  </a:lnTo>
                  <a:lnTo>
                    <a:pt x="182" y="131"/>
                  </a:lnTo>
                  <a:lnTo>
                    <a:pt x="182" y="131"/>
                  </a:lnTo>
                  <a:lnTo>
                    <a:pt x="178" y="128"/>
                  </a:lnTo>
                  <a:lnTo>
                    <a:pt x="178" y="128"/>
                  </a:lnTo>
                  <a:lnTo>
                    <a:pt x="175" y="128"/>
                  </a:lnTo>
                  <a:lnTo>
                    <a:pt x="168" y="128"/>
                  </a:lnTo>
                  <a:lnTo>
                    <a:pt x="168" y="128"/>
                  </a:lnTo>
                  <a:lnTo>
                    <a:pt x="168" y="131"/>
                  </a:lnTo>
                  <a:lnTo>
                    <a:pt x="168" y="135"/>
                  </a:lnTo>
                  <a:lnTo>
                    <a:pt x="168" y="135"/>
                  </a:lnTo>
                  <a:lnTo>
                    <a:pt x="162" y="138"/>
                  </a:lnTo>
                  <a:lnTo>
                    <a:pt x="162" y="138"/>
                  </a:lnTo>
                  <a:lnTo>
                    <a:pt x="158" y="141"/>
                  </a:lnTo>
                  <a:lnTo>
                    <a:pt x="158" y="141"/>
                  </a:lnTo>
                  <a:lnTo>
                    <a:pt x="155" y="138"/>
                  </a:lnTo>
                  <a:lnTo>
                    <a:pt x="155" y="138"/>
                  </a:lnTo>
                  <a:lnTo>
                    <a:pt x="155" y="138"/>
                  </a:lnTo>
                  <a:lnTo>
                    <a:pt x="151" y="138"/>
                  </a:lnTo>
                  <a:lnTo>
                    <a:pt x="151" y="141"/>
                  </a:lnTo>
                  <a:lnTo>
                    <a:pt x="151" y="141"/>
                  </a:lnTo>
                  <a:lnTo>
                    <a:pt x="158" y="148"/>
                  </a:lnTo>
                  <a:lnTo>
                    <a:pt x="158" y="148"/>
                  </a:lnTo>
                  <a:lnTo>
                    <a:pt x="158" y="151"/>
                  </a:lnTo>
                  <a:lnTo>
                    <a:pt x="158" y="151"/>
                  </a:lnTo>
                  <a:lnTo>
                    <a:pt x="158" y="155"/>
                  </a:lnTo>
                  <a:lnTo>
                    <a:pt x="155" y="158"/>
                  </a:lnTo>
                  <a:lnTo>
                    <a:pt x="155" y="158"/>
                  </a:lnTo>
                  <a:lnTo>
                    <a:pt x="151" y="155"/>
                  </a:lnTo>
                  <a:lnTo>
                    <a:pt x="151" y="155"/>
                  </a:lnTo>
                  <a:lnTo>
                    <a:pt x="145" y="151"/>
                  </a:lnTo>
                  <a:lnTo>
                    <a:pt x="145" y="151"/>
                  </a:lnTo>
                  <a:lnTo>
                    <a:pt x="141" y="151"/>
                  </a:lnTo>
                  <a:lnTo>
                    <a:pt x="138" y="155"/>
                  </a:lnTo>
                  <a:lnTo>
                    <a:pt x="138" y="155"/>
                  </a:lnTo>
                  <a:lnTo>
                    <a:pt x="131" y="155"/>
                  </a:lnTo>
                  <a:lnTo>
                    <a:pt x="131" y="155"/>
                  </a:lnTo>
                  <a:lnTo>
                    <a:pt x="135" y="162"/>
                  </a:lnTo>
                  <a:lnTo>
                    <a:pt x="135" y="162"/>
                  </a:lnTo>
                  <a:lnTo>
                    <a:pt x="131" y="165"/>
                  </a:lnTo>
                  <a:lnTo>
                    <a:pt x="131" y="168"/>
                  </a:lnTo>
                  <a:lnTo>
                    <a:pt x="131" y="168"/>
                  </a:lnTo>
                  <a:lnTo>
                    <a:pt x="131" y="168"/>
                  </a:lnTo>
                  <a:lnTo>
                    <a:pt x="128" y="172"/>
                  </a:lnTo>
                  <a:lnTo>
                    <a:pt x="128" y="172"/>
                  </a:lnTo>
                  <a:lnTo>
                    <a:pt x="125" y="172"/>
                  </a:lnTo>
                  <a:lnTo>
                    <a:pt x="125" y="172"/>
                  </a:lnTo>
                  <a:lnTo>
                    <a:pt x="125" y="175"/>
                  </a:lnTo>
                  <a:lnTo>
                    <a:pt x="121" y="178"/>
                  </a:lnTo>
                  <a:lnTo>
                    <a:pt x="121" y="178"/>
                  </a:lnTo>
                  <a:lnTo>
                    <a:pt x="121" y="185"/>
                  </a:lnTo>
                  <a:lnTo>
                    <a:pt x="121" y="185"/>
                  </a:lnTo>
                  <a:lnTo>
                    <a:pt x="125" y="192"/>
                  </a:lnTo>
                  <a:lnTo>
                    <a:pt x="125" y="192"/>
                  </a:lnTo>
                  <a:lnTo>
                    <a:pt x="128" y="195"/>
                  </a:lnTo>
                  <a:lnTo>
                    <a:pt x="128" y="195"/>
                  </a:lnTo>
                  <a:lnTo>
                    <a:pt x="131" y="205"/>
                  </a:lnTo>
                  <a:lnTo>
                    <a:pt x="131" y="205"/>
                  </a:lnTo>
                  <a:close/>
                </a:path>
              </a:pathLst>
            </a:custGeom>
            <a:solidFill>
              <a:srgbClr val="C0C0C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EYInterstate" pitchFamily="2" charset="0"/>
                <a:cs typeface="Arial" charset="0"/>
              </a:endParaRPr>
            </a:p>
          </p:txBody>
        </p:sp>
        <p:sp>
          <p:nvSpPr>
            <p:cNvPr id="56" name="Freeform 70"/>
            <p:cNvSpPr>
              <a:spLocks/>
            </p:cNvSpPr>
            <p:nvPr/>
          </p:nvSpPr>
          <p:spPr bwMode="auto">
            <a:xfrm>
              <a:off x="3489" y="2193"/>
              <a:ext cx="418" cy="333"/>
            </a:xfrm>
            <a:custGeom>
              <a:avLst/>
              <a:gdLst/>
              <a:ahLst/>
              <a:cxnLst>
                <a:cxn ang="0">
                  <a:pos x="27" y="319"/>
                </a:cxn>
                <a:cxn ang="0">
                  <a:pos x="0" y="305"/>
                </a:cxn>
                <a:cxn ang="0">
                  <a:pos x="31" y="268"/>
                </a:cxn>
                <a:cxn ang="0">
                  <a:pos x="24" y="215"/>
                </a:cxn>
                <a:cxn ang="0">
                  <a:pos x="14" y="188"/>
                </a:cxn>
                <a:cxn ang="0">
                  <a:pos x="41" y="181"/>
                </a:cxn>
                <a:cxn ang="0">
                  <a:pos x="61" y="174"/>
                </a:cxn>
                <a:cxn ang="0">
                  <a:pos x="74" y="171"/>
                </a:cxn>
                <a:cxn ang="0">
                  <a:pos x="88" y="161"/>
                </a:cxn>
                <a:cxn ang="0">
                  <a:pos x="98" y="147"/>
                </a:cxn>
                <a:cxn ang="0">
                  <a:pos x="111" y="144"/>
                </a:cxn>
                <a:cxn ang="0">
                  <a:pos x="118" y="158"/>
                </a:cxn>
                <a:cxn ang="0">
                  <a:pos x="118" y="144"/>
                </a:cxn>
                <a:cxn ang="0">
                  <a:pos x="115" y="124"/>
                </a:cxn>
                <a:cxn ang="0">
                  <a:pos x="118" y="100"/>
                </a:cxn>
                <a:cxn ang="0">
                  <a:pos x="135" y="84"/>
                </a:cxn>
                <a:cxn ang="0">
                  <a:pos x="148" y="77"/>
                </a:cxn>
                <a:cxn ang="0">
                  <a:pos x="155" y="63"/>
                </a:cxn>
                <a:cxn ang="0">
                  <a:pos x="138" y="60"/>
                </a:cxn>
                <a:cxn ang="0">
                  <a:pos x="138" y="43"/>
                </a:cxn>
                <a:cxn ang="0">
                  <a:pos x="148" y="33"/>
                </a:cxn>
                <a:cxn ang="0">
                  <a:pos x="172" y="23"/>
                </a:cxn>
                <a:cxn ang="0">
                  <a:pos x="185" y="13"/>
                </a:cxn>
                <a:cxn ang="0">
                  <a:pos x="199" y="3"/>
                </a:cxn>
                <a:cxn ang="0">
                  <a:pos x="216" y="0"/>
                </a:cxn>
                <a:cxn ang="0">
                  <a:pos x="226" y="10"/>
                </a:cxn>
                <a:cxn ang="0">
                  <a:pos x="253" y="6"/>
                </a:cxn>
                <a:cxn ang="0">
                  <a:pos x="263" y="23"/>
                </a:cxn>
                <a:cxn ang="0">
                  <a:pos x="276" y="13"/>
                </a:cxn>
                <a:cxn ang="0">
                  <a:pos x="306" y="23"/>
                </a:cxn>
                <a:cxn ang="0">
                  <a:pos x="323" y="40"/>
                </a:cxn>
                <a:cxn ang="0">
                  <a:pos x="320" y="57"/>
                </a:cxn>
                <a:cxn ang="0">
                  <a:pos x="337" y="90"/>
                </a:cxn>
                <a:cxn ang="0">
                  <a:pos x="340" y="114"/>
                </a:cxn>
                <a:cxn ang="0">
                  <a:pos x="363" y="134"/>
                </a:cxn>
                <a:cxn ang="0">
                  <a:pos x="367" y="151"/>
                </a:cxn>
                <a:cxn ang="0">
                  <a:pos x="397" y="158"/>
                </a:cxn>
                <a:cxn ang="0">
                  <a:pos x="404" y="168"/>
                </a:cxn>
                <a:cxn ang="0">
                  <a:pos x="417" y="184"/>
                </a:cxn>
                <a:cxn ang="0">
                  <a:pos x="404" y="195"/>
                </a:cxn>
                <a:cxn ang="0">
                  <a:pos x="384" y="201"/>
                </a:cxn>
                <a:cxn ang="0">
                  <a:pos x="360" y="201"/>
                </a:cxn>
                <a:cxn ang="0">
                  <a:pos x="360" y="221"/>
                </a:cxn>
                <a:cxn ang="0">
                  <a:pos x="373" y="252"/>
                </a:cxn>
                <a:cxn ang="0">
                  <a:pos x="387" y="282"/>
                </a:cxn>
                <a:cxn ang="0">
                  <a:pos x="373" y="285"/>
                </a:cxn>
                <a:cxn ang="0">
                  <a:pos x="353" y="299"/>
                </a:cxn>
                <a:cxn ang="0">
                  <a:pos x="347" y="339"/>
                </a:cxn>
                <a:cxn ang="0">
                  <a:pos x="326" y="329"/>
                </a:cxn>
                <a:cxn ang="0">
                  <a:pos x="293" y="339"/>
                </a:cxn>
                <a:cxn ang="0">
                  <a:pos x="276" y="326"/>
                </a:cxn>
                <a:cxn ang="0">
                  <a:pos x="263" y="342"/>
                </a:cxn>
                <a:cxn ang="0">
                  <a:pos x="242" y="336"/>
                </a:cxn>
                <a:cxn ang="0">
                  <a:pos x="222" y="332"/>
                </a:cxn>
                <a:cxn ang="0">
                  <a:pos x="202" y="339"/>
                </a:cxn>
                <a:cxn ang="0">
                  <a:pos x="189" y="342"/>
                </a:cxn>
                <a:cxn ang="0">
                  <a:pos x="121" y="329"/>
                </a:cxn>
                <a:cxn ang="0">
                  <a:pos x="74" y="332"/>
                </a:cxn>
                <a:cxn ang="0">
                  <a:pos x="51" y="349"/>
                </a:cxn>
                <a:cxn ang="0">
                  <a:pos x="34" y="342"/>
                </a:cxn>
                <a:cxn ang="0">
                  <a:pos x="27" y="352"/>
                </a:cxn>
              </a:cxnLst>
              <a:rect l="0" t="0" r="r" b="b"/>
              <a:pathLst>
                <a:path w="417" h="356">
                  <a:moveTo>
                    <a:pt x="27" y="352"/>
                  </a:moveTo>
                  <a:lnTo>
                    <a:pt x="27" y="352"/>
                  </a:lnTo>
                  <a:lnTo>
                    <a:pt x="24" y="339"/>
                  </a:lnTo>
                  <a:lnTo>
                    <a:pt x="24" y="339"/>
                  </a:lnTo>
                  <a:lnTo>
                    <a:pt x="24" y="326"/>
                  </a:lnTo>
                  <a:lnTo>
                    <a:pt x="27" y="322"/>
                  </a:lnTo>
                  <a:lnTo>
                    <a:pt x="27" y="319"/>
                  </a:lnTo>
                  <a:lnTo>
                    <a:pt x="27" y="319"/>
                  </a:lnTo>
                  <a:lnTo>
                    <a:pt x="21" y="312"/>
                  </a:lnTo>
                  <a:lnTo>
                    <a:pt x="14" y="312"/>
                  </a:lnTo>
                  <a:lnTo>
                    <a:pt x="14" y="312"/>
                  </a:lnTo>
                  <a:lnTo>
                    <a:pt x="7" y="309"/>
                  </a:lnTo>
                  <a:lnTo>
                    <a:pt x="0" y="305"/>
                  </a:lnTo>
                  <a:lnTo>
                    <a:pt x="0" y="305"/>
                  </a:lnTo>
                  <a:lnTo>
                    <a:pt x="7" y="292"/>
                  </a:lnTo>
                  <a:lnTo>
                    <a:pt x="17" y="282"/>
                  </a:lnTo>
                  <a:lnTo>
                    <a:pt x="17" y="282"/>
                  </a:lnTo>
                  <a:lnTo>
                    <a:pt x="24" y="282"/>
                  </a:lnTo>
                  <a:lnTo>
                    <a:pt x="27" y="275"/>
                  </a:lnTo>
                  <a:lnTo>
                    <a:pt x="31" y="268"/>
                  </a:lnTo>
                  <a:lnTo>
                    <a:pt x="31" y="268"/>
                  </a:lnTo>
                  <a:lnTo>
                    <a:pt x="31" y="262"/>
                  </a:lnTo>
                  <a:lnTo>
                    <a:pt x="27" y="252"/>
                  </a:lnTo>
                  <a:lnTo>
                    <a:pt x="27" y="252"/>
                  </a:lnTo>
                  <a:lnTo>
                    <a:pt x="24" y="245"/>
                  </a:lnTo>
                  <a:lnTo>
                    <a:pt x="27" y="235"/>
                  </a:lnTo>
                  <a:lnTo>
                    <a:pt x="27" y="235"/>
                  </a:lnTo>
                  <a:lnTo>
                    <a:pt x="24" y="215"/>
                  </a:lnTo>
                  <a:lnTo>
                    <a:pt x="24" y="215"/>
                  </a:lnTo>
                  <a:lnTo>
                    <a:pt x="21" y="205"/>
                  </a:lnTo>
                  <a:lnTo>
                    <a:pt x="21" y="205"/>
                  </a:lnTo>
                  <a:lnTo>
                    <a:pt x="17" y="195"/>
                  </a:lnTo>
                  <a:lnTo>
                    <a:pt x="17" y="195"/>
                  </a:lnTo>
                  <a:lnTo>
                    <a:pt x="14" y="188"/>
                  </a:lnTo>
                  <a:lnTo>
                    <a:pt x="14" y="188"/>
                  </a:lnTo>
                  <a:lnTo>
                    <a:pt x="14" y="188"/>
                  </a:lnTo>
                  <a:lnTo>
                    <a:pt x="31" y="188"/>
                  </a:lnTo>
                  <a:lnTo>
                    <a:pt x="31" y="188"/>
                  </a:lnTo>
                  <a:lnTo>
                    <a:pt x="34" y="188"/>
                  </a:lnTo>
                  <a:lnTo>
                    <a:pt x="34" y="184"/>
                  </a:lnTo>
                  <a:lnTo>
                    <a:pt x="41" y="181"/>
                  </a:lnTo>
                  <a:lnTo>
                    <a:pt x="41" y="181"/>
                  </a:lnTo>
                  <a:lnTo>
                    <a:pt x="47" y="181"/>
                  </a:lnTo>
                  <a:lnTo>
                    <a:pt x="47" y="181"/>
                  </a:lnTo>
                  <a:lnTo>
                    <a:pt x="51" y="181"/>
                  </a:lnTo>
                  <a:lnTo>
                    <a:pt x="54" y="181"/>
                  </a:lnTo>
                  <a:lnTo>
                    <a:pt x="54" y="181"/>
                  </a:lnTo>
                  <a:lnTo>
                    <a:pt x="58" y="178"/>
                  </a:lnTo>
                  <a:lnTo>
                    <a:pt x="61" y="174"/>
                  </a:lnTo>
                  <a:lnTo>
                    <a:pt x="61" y="174"/>
                  </a:lnTo>
                  <a:lnTo>
                    <a:pt x="64" y="171"/>
                  </a:lnTo>
                  <a:lnTo>
                    <a:pt x="68" y="168"/>
                  </a:lnTo>
                  <a:lnTo>
                    <a:pt x="68" y="168"/>
                  </a:lnTo>
                  <a:lnTo>
                    <a:pt x="71" y="171"/>
                  </a:lnTo>
                  <a:lnTo>
                    <a:pt x="74" y="171"/>
                  </a:lnTo>
                  <a:lnTo>
                    <a:pt x="74" y="171"/>
                  </a:lnTo>
                  <a:lnTo>
                    <a:pt x="74" y="168"/>
                  </a:lnTo>
                  <a:lnTo>
                    <a:pt x="78" y="168"/>
                  </a:lnTo>
                  <a:lnTo>
                    <a:pt x="78" y="168"/>
                  </a:lnTo>
                  <a:lnTo>
                    <a:pt x="81" y="161"/>
                  </a:lnTo>
                  <a:lnTo>
                    <a:pt x="81" y="161"/>
                  </a:lnTo>
                  <a:lnTo>
                    <a:pt x="84" y="161"/>
                  </a:lnTo>
                  <a:lnTo>
                    <a:pt x="88" y="161"/>
                  </a:lnTo>
                  <a:lnTo>
                    <a:pt x="88" y="161"/>
                  </a:lnTo>
                  <a:lnTo>
                    <a:pt x="91" y="158"/>
                  </a:lnTo>
                  <a:lnTo>
                    <a:pt x="91" y="158"/>
                  </a:lnTo>
                  <a:lnTo>
                    <a:pt x="95" y="154"/>
                  </a:lnTo>
                  <a:lnTo>
                    <a:pt x="98" y="151"/>
                  </a:lnTo>
                  <a:lnTo>
                    <a:pt x="98" y="151"/>
                  </a:lnTo>
                  <a:lnTo>
                    <a:pt x="98" y="147"/>
                  </a:lnTo>
                  <a:lnTo>
                    <a:pt x="101" y="144"/>
                  </a:lnTo>
                  <a:lnTo>
                    <a:pt x="101" y="144"/>
                  </a:lnTo>
                  <a:lnTo>
                    <a:pt x="108" y="147"/>
                  </a:lnTo>
                  <a:lnTo>
                    <a:pt x="108" y="147"/>
                  </a:lnTo>
                  <a:lnTo>
                    <a:pt x="108" y="144"/>
                  </a:lnTo>
                  <a:lnTo>
                    <a:pt x="111" y="144"/>
                  </a:lnTo>
                  <a:lnTo>
                    <a:pt x="111" y="144"/>
                  </a:lnTo>
                  <a:lnTo>
                    <a:pt x="115" y="147"/>
                  </a:lnTo>
                  <a:lnTo>
                    <a:pt x="115" y="151"/>
                  </a:lnTo>
                  <a:lnTo>
                    <a:pt x="111" y="154"/>
                  </a:lnTo>
                  <a:lnTo>
                    <a:pt x="111" y="154"/>
                  </a:lnTo>
                  <a:lnTo>
                    <a:pt x="115" y="158"/>
                  </a:lnTo>
                  <a:lnTo>
                    <a:pt x="118" y="158"/>
                  </a:lnTo>
                  <a:lnTo>
                    <a:pt x="118" y="158"/>
                  </a:lnTo>
                  <a:lnTo>
                    <a:pt x="121" y="154"/>
                  </a:lnTo>
                  <a:lnTo>
                    <a:pt x="125" y="151"/>
                  </a:lnTo>
                  <a:lnTo>
                    <a:pt x="125" y="151"/>
                  </a:lnTo>
                  <a:lnTo>
                    <a:pt x="121" y="144"/>
                  </a:lnTo>
                  <a:lnTo>
                    <a:pt x="121" y="144"/>
                  </a:lnTo>
                  <a:lnTo>
                    <a:pt x="118" y="144"/>
                  </a:lnTo>
                  <a:lnTo>
                    <a:pt x="118" y="144"/>
                  </a:lnTo>
                  <a:lnTo>
                    <a:pt x="115" y="141"/>
                  </a:lnTo>
                  <a:lnTo>
                    <a:pt x="115" y="141"/>
                  </a:lnTo>
                  <a:lnTo>
                    <a:pt x="111" y="137"/>
                  </a:lnTo>
                  <a:lnTo>
                    <a:pt x="111" y="134"/>
                  </a:lnTo>
                  <a:lnTo>
                    <a:pt x="115" y="127"/>
                  </a:lnTo>
                  <a:lnTo>
                    <a:pt x="115" y="127"/>
                  </a:lnTo>
                  <a:lnTo>
                    <a:pt x="115" y="124"/>
                  </a:lnTo>
                  <a:lnTo>
                    <a:pt x="115" y="121"/>
                  </a:lnTo>
                  <a:lnTo>
                    <a:pt x="115" y="121"/>
                  </a:lnTo>
                  <a:lnTo>
                    <a:pt x="118" y="117"/>
                  </a:lnTo>
                  <a:lnTo>
                    <a:pt x="118" y="114"/>
                  </a:lnTo>
                  <a:lnTo>
                    <a:pt x="118" y="114"/>
                  </a:lnTo>
                  <a:lnTo>
                    <a:pt x="118" y="107"/>
                  </a:lnTo>
                  <a:lnTo>
                    <a:pt x="118" y="100"/>
                  </a:lnTo>
                  <a:lnTo>
                    <a:pt x="118" y="100"/>
                  </a:lnTo>
                  <a:lnTo>
                    <a:pt x="125" y="94"/>
                  </a:lnTo>
                  <a:lnTo>
                    <a:pt x="125" y="94"/>
                  </a:lnTo>
                  <a:lnTo>
                    <a:pt x="128" y="90"/>
                  </a:lnTo>
                  <a:lnTo>
                    <a:pt x="128" y="90"/>
                  </a:lnTo>
                  <a:lnTo>
                    <a:pt x="132" y="87"/>
                  </a:lnTo>
                  <a:lnTo>
                    <a:pt x="135" y="84"/>
                  </a:lnTo>
                  <a:lnTo>
                    <a:pt x="135" y="84"/>
                  </a:lnTo>
                  <a:lnTo>
                    <a:pt x="135" y="80"/>
                  </a:lnTo>
                  <a:lnTo>
                    <a:pt x="135" y="80"/>
                  </a:lnTo>
                  <a:lnTo>
                    <a:pt x="138" y="77"/>
                  </a:lnTo>
                  <a:lnTo>
                    <a:pt x="138" y="77"/>
                  </a:lnTo>
                  <a:lnTo>
                    <a:pt x="145" y="77"/>
                  </a:lnTo>
                  <a:lnTo>
                    <a:pt x="148" y="77"/>
                  </a:lnTo>
                  <a:lnTo>
                    <a:pt x="152" y="74"/>
                  </a:lnTo>
                  <a:lnTo>
                    <a:pt x="152" y="74"/>
                  </a:lnTo>
                  <a:lnTo>
                    <a:pt x="152" y="70"/>
                  </a:lnTo>
                  <a:lnTo>
                    <a:pt x="152" y="70"/>
                  </a:lnTo>
                  <a:lnTo>
                    <a:pt x="155" y="67"/>
                  </a:lnTo>
                  <a:lnTo>
                    <a:pt x="155" y="67"/>
                  </a:lnTo>
                  <a:lnTo>
                    <a:pt x="155" y="63"/>
                  </a:lnTo>
                  <a:lnTo>
                    <a:pt x="155" y="63"/>
                  </a:lnTo>
                  <a:lnTo>
                    <a:pt x="148" y="63"/>
                  </a:lnTo>
                  <a:lnTo>
                    <a:pt x="148" y="63"/>
                  </a:lnTo>
                  <a:lnTo>
                    <a:pt x="142" y="63"/>
                  </a:lnTo>
                  <a:lnTo>
                    <a:pt x="138" y="63"/>
                  </a:lnTo>
                  <a:lnTo>
                    <a:pt x="138" y="60"/>
                  </a:lnTo>
                  <a:lnTo>
                    <a:pt x="138" y="60"/>
                  </a:lnTo>
                  <a:lnTo>
                    <a:pt x="142" y="57"/>
                  </a:lnTo>
                  <a:lnTo>
                    <a:pt x="142" y="57"/>
                  </a:lnTo>
                  <a:lnTo>
                    <a:pt x="142" y="57"/>
                  </a:lnTo>
                  <a:lnTo>
                    <a:pt x="142" y="50"/>
                  </a:lnTo>
                  <a:lnTo>
                    <a:pt x="142" y="50"/>
                  </a:lnTo>
                  <a:lnTo>
                    <a:pt x="138" y="43"/>
                  </a:lnTo>
                  <a:lnTo>
                    <a:pt x="138" y="43"/>
                  </a:lnTo>
                  <a:lnTo>
                    <a:pt x="138" y="40"/>
                  </a:lnTo>
                  <a:lnTo>
                    <a:pt x="142" y="37"/>
                  </a:lnTo>
                  <a:lnTo>
                    <a:pt x="142" y="37"/>
                  </a:lnTo>
                  <a:lnTo>
                    <a:pt x="145" y="37"/>
                  </a:lnTo>
                  <a:lnTo>
                    <a:pt x="145" y="37"/>
                  </a:lnTo>
                  <a:lnTo>
                    <a:pt x="148" y="37"/>
                  </a:lnTo>
                  <a:lnTo>
                    <a:pt x="148" y="33"/>
                  </a:lnTo>
                  <a:lnTo>
                    <a:pt x="152" y="30"/>
                  </a:lnTo>
                  <a:lnTo>
                    <a:pt x="155" y="26"/>
                  </a:lnTo>
                  <a:lnTo>
                    <a:pt x="155" y="26"/>
                  </a:lnTo>
                  <a:lnTo>
                    <a:pt x="162" y="26"/>
                  </a:lnTo>
                  <a:lnTo>
                    <a:pt x="162" y="26"/>
                  </a:lnTo>
                  <a:lnTo>
                    <a:pt x="168" y="23"/>
                  </a:lnTo>
                  <a:lnTo>
                    <a:pt x="172" y="23"/>
                  </a:lnTo>
                  <a:lnTo>
                    <a:pt x="172" y="23"/>
                  </a:lnTo>
                  <a:lnTo>
                    <a:pt x="179" y="20"/>
                  </a:lnTo>
                  <a:lnTo>
                    <a:pt x="185" y="20"/>
                  </a:lnTo>
                  <a:lnTo>
                    <a:pt x="185" y="20"/>
                  </a:lnTo>
                  <a:lnTo>
                    <a:pt x="185" y="20"/>
                  </a:lnTo>
                  <a:lnTo>
                    <a:pt x="185" y="16"/>
                  </a:lnTo>
                  <a:lnTo>
                    <a:pt x="185" y="13"/>
                  </a:lnTo>
                  <a:lnTo>
                    <a:pt x="185" y="13"/>
                  </a:lnTo>
                  <a:lnTo>
                    <a:pt x="189" y="6"/>
                  </a:lnTo>
                  <a:lnTo>
                    <a:pt x="192" y="3"/>
                  </a:lnTo>
                  <a:lnTo>
                    <a:pt x="192" y="3"/>
                  </a:lnTo>
                  <a:lnTo>
                    <a:pt x="195" y="0"/>
                  </a:lnTo>
                  <a:lnTo>
                    <a:pt x="195" y="0"/>
                  </a:lnTo>
                  <a:lnTo>
                    <a:pt x="199" y="3"/>
                  </a:lnTo>
                  <a:lnTo>
                    <a:pt x="202" y="6"/>
                  </a:lnTo>
                  <a:lnTo>
                    <a:pt x="202" y="6"/>
                  </a:lnTo>
                  <a:lnTo>
                    <a:pt x="205" y="3"/>
                  </a:lnTo>
                  <a:lnTo>
                    <a:pt x="209" y="3"/>
                  </a:lnTo>
                  <a:lnTo>
                    <a:pt x="209" y="3"/>
                  </a:lnTo>
                  <a:lnTo>
                    <a:pt x="216" y="0"/>
                  </a:lnTo>
                  <a:lnTo>
                    <a:pt x="216" y="0"/>
                  </a:lnTo>
                  <a:lnTo>
                    <a:pt x="219" y="3"/>
                  </a:lnTo>
                  <a:lnTo>
                    <a:pt x="219" y="6"/>
                  </a:lnTo>
                  <a:lnTo>
                    <a:pt x="219" y="6"/>
                  </a:lnTo>
                  <a:lnTo>
                    <a:pt x="222" y="10"/>
                  </a:lnTo>
                  <a:lnTo>
                    <a:pt x="222" y="10"/>
                  </a:lnTo>
                  <a:lnTo>
                    <a:pt x="226" y="10"/>
                  </a:lnTo>
                  <a:lnTo>
                    <a:pt x="226" y="10"/>
                  </a:lnTo>
                  <a:lnTo>
                    <a:pt x="229" y="10"/>
                  </a:lnTo>
                  <a:lnTo>
                    <a:pt x="236" y="6"/>
                  </a:lnTo>
                  <a:lnTo>
                    <a:pt x="236" y="6"/>
                  </a:lnTo>
                  <a:lnTo>
                    <a:pt x="239" y="6"/>
                  </a:lnTo>
                  <a:lnTo>
                    <a:pt x="239" y="6"/>
                  </a:lnTo>
                  <a:lnTo>
                    <a:pt x="253" y="6"/>
                  </a:lnTo>
                  <a:lnTo>
                    <a:pt x="253" y="6"/>
                  </a:lnTo>
                  <a:lnTo>
                    <a:pt x="256" y="6"/>
                  </a:lnTo>
                  <a:lnTo>
                    <a:pt x="256" y="6"/>
                  </a:lnTo>
                  <a:lnTo>
                    <a:pt x="259" y="13"/>
                  </a:lnTo>
                  <a:lnTo>
                    <a:pt x="259" y="20"/>
                  </a:lnTo>
                  <a:lnTo>
                    <a:pt x="259" y="20"/>
                  </a:lnTo>
                  <a:lnTo>
                    <a:pt x="259" y="20"/>
                  </a:lnTo>
                  <a:lnTo>
                    <a:pt x="263" y="23"/>
                  </a:lnTo>
                  <a:lnTo>
                    <a:pt x="263" y="23"/>
                  </a:lnTo>
                  <a:lnTo>
                    <a:pt x="266" y="20"/>
                  </a:lnTo>
                  <a:lnTo>
                    <a:pt x="269" y="16"/>
                  </a:lnTo>
                  <a:lnTo>
                    <a:pt x="269" y="16"/>
                  </a:lnTo>
                  <a:lnTo>
                    <a:pt x="273" y="16"/>
                  </a:lnTo>
                  <a:lnTo>
                    <a:pt x="273" y="16"/>
                  </a:lnTo>
                  <a:lnTo>
                    <a:pt x="276" y="13"/>
                  </a:lnTo>
                  <a:lnTo>
                    <a:pt x="283" y="10"/>
                  </a:lnTo>
                  <a:lnTo>
                    <a:pt x="283" y="10"/>
                  </a:lnTo>
                  <a:lnTo>
                    <a:pt x="289" y="10"/>
                  </a:lnTo>
                  <a:lnTo>
                    <a:pt x="289" y="10"/>
                  </a:lnTo>
                  <a:lnTo>
                    <a:pt x="300" y="16"/>
                  </a:lnTo>
                  <a:lnTo>
                    <a:pt x="300" y="16"/>
                  </a:lnTo>
                  <a:lnTo>
                    <a:pt x="306" y="23"/>
                  </a:lnTo>
                  <a:lnTo>
                    <a:pt x="310" y="26"/>
                  </a:lnTo>
                  <a:lnTo>
                    <a:pt x="310" y="26"/>
                  </a:lnTo>
                  <a:lnTo>
                    <a:pt x="316" y="30"/>
                  </a:lnTo>
                  <a:lnTo>
                    <a:pt x="323" y="30"/>
                  </a:lnTo>
                  <a:lnTo>
                    <a:pt x="323" y="30"/>
                  </a:lnTo>
                  <a:lnTo>
                    <a:pt x="323" y="37"/>
                  </a:lnTo>
                  <a:lnTo>
                    <a:pt x="323" y="40"/>
                  </a:lnTo>
                  <a:lnTo>
                    <a:pt x="323" y="40"/>
                  </a:lnTo>
                  <a:lnTo>
                    <a:pt x="323" y="47"/>
                  </a:lnTo>
                  <a:lnTo>
                    <a:pt x="323" y="50"/>
                  </a:lnTo>
                  <a:lnTo>
                    <a:pt x="323" y="50"/>
                  </a:lnTo>
                  <a:lnTo>
                    <a:pt x="320" y="53"/>
                  </a:lnTo>
                  <a:lnTo>
                    <a:pt x="320" y="53"/>
                  </a:lnTo>
                  <a:lnTo>
                    <a:pt x="320" y="57"/>
                  </a:lnTo>
                  <a:lnTo>
                    <a:pt x="323" y="60"/>
                  </a:lnTo>
                  <a:lnTo>
                    <a:pt x="323" y="60"/>
                  </a:lnTo>
                  <a:lnTo>
                    <a:pt x="323" y="74"/>
                  </a:lnTo>
                  <a:lnTo>
                    <a:pt x="326" y="84"/>
                  </a:lnTo>
                  <a:lnTo>
                    <a:pt x="330" y="90"/>
                  </a:lnTo>
                  <a:lnTo>
                    <a:pt x="330" y="90"/>
                  </a:lnTo>
                  <a:lnTo>
                    <a:pt x="337" y="90"/>
                  </a:lnTo>
                  <a:lnTo>
                    <a:pt x="337" y="94"/>
                  </a:lnTo>
                  <a:lnTo>
                    <a:pt x="337" y="94"/>
                  </a:lnTo>
                  <a:lnTo>
                    <a:pt x="337" y="100"/>
                  </a:lnTo>
                  <a:lnTo>
                    <a:pt x="337" y="100"/>
                  </a:lnTo>
                  <a:lnTo>
                    <a:pt x="337" y="104"/>
                  </a:lnTo>
                  <a:lnTo>
                    <a:pt x="337" y="104"/>
                  </a:lnTo>
                  <a:lnTo>
                    <a:pt x="340" y="114"/>
                  </a:lnTo>
                  <a:lnTo>
                    <a:pt x="340" y="114"/>
                  </a:lnTo>
                  <a:lnTo>
                    <a:pt x="343" y="121"/>
                  </a:lnTo>
                  <a:lnTo>
                    <a:pt x="347" y="124"/>
                  </a:lnTo>
                  <a:lnTo>
                    <a:pt x="347" y="124"/>
                  </a:lnTo>
                  <a:lnTo>
                    <a:pt x="353" y="131"/>
                  </a:lnTo>
                  <a:lnTo>
                    <a:pt x="353" y="131"/>
                  </a:lnTo>
                  <a:lnTo>
                    <a:pt x="363" y="134"/>
                  </a:lnTo>
                  <a:lnTo>
                    <a:pt x="363" y="134"/>
                  </a:lnTo>
                  <a:lnTo>
                    <a:pt x="367" y="141"/>
                  </a:lnTo>
                  <a:lnTo>
                    <a:pt x="367" y="144"/>
                  </a:lnTo>
                  <a:lnTo>
                    <a:pt x="367" y="144"/>
                  </a:lnTo>
                  <a:lnTo>
                    <a:pt x="367" y="147"/>
                  </a:lnTo>
                  <a:lnTo>
                    <a:pt x="367" y="151"/>
                  </a:lnTo>
                  <a:lnTo>
                    <a:pt x="367" y="151"/>
                  </a:lnTo>
                  <a:lnTo>
                    <a:pt x="370" y="154"/>
                  </a:lnTo>
                  <a:lnTo>
                    <a:pt x="377" y="151"/>
                  </a:lnTo>
                  <a:lnTo>
                    <a:pt x="380" y="151"/>
                  </a:lnTo>
                  <a:lnTo>
                    <a:pt x="387" y="151"/>
                  </a:lnTo>
                  <a:lnTo>
                    <a:pt x="387" y="151"/>
                  </a:lnTo>
                  <a:lnTo>
                    <a:pt x="390" y="154"/>
                  </a:lnTo>
                  <a:lnTo>
                    <a:pt x="397" y="158"/>
                  </a:lnTo>
                  <a:lnTo>
                    <a:pt x="397" y="158"/>
                  </a:lnTo>
                  <a:lnTo>
                    <a:pt x="400" y="161"/>
                  </a:lnTo>
                  <a:lnTo>
                    <a:pt x="404" y="161"/>
                  </a:lnTo>
                  <a:lnTo>
                    <a:pt x="404" y="161"/>
                  </a:lnTo>
                  <a:lnTo>
                    <a:pt x="404" y="164"/>
                  </a:lnTo>
                  <a:lnTo>
                    <a:pt x="404" y="168"/>
                  </a:lnTo>
                  <a:lnTo>
                    <a:pt x="404" y="168"/>
                  </a:lnTo>
                  <a:lnTo>
                    <a:pt x="404" y="171"/>
                  </a:lnTo>
                  <a:lnTo>
                    <a:pt x="410" y="174"/>
                  </a:lnTo>
                  <a:lnTo>
                    <a:pt x="417" y="174"/>
                  </a:lnTo>
                  <a:lnTo>
                    <a:pt x="417" y="178"/>
                  </a:lnTo>
                  <a:lnTo>
                    <a:pt x="417" y="178"/>
                  </a:lnTo>
                  <a:lnTo>
                    <a:pt x="417" y="181"/>
                  </a:lnTo>
                  <a:lnTo>
                    <a:pt x="417" y="184"/>
                  </a:lnTo>
                  <a:lnTo>
                    <a:pt x="417" y="184"/>
                  </a:lnTo>
                  <a:lnTo>
                    <a:pt x="414" y="184"/>
                  </a:lnTo>
                  <a:lnTo>
                    <a:pt x="410" y="184"/>
                  </a:lnTo>
                  <a:lnTo>
                    <a:pt x="410" y="184"/>
                  </a:lnTo>
                  <a:lnTo>
                    <a:pt x="407" y="191"/>
                  </a:lnTo>
                  <a:lnTo>
                    <a:pt x="407" y="191"/>
                  </a:lnTo>
                  <a:lnTo>
                    <a:pt x="404" y="195"/>
                  </a:lnTo>
                  <a:lnTo>
                    <a:pt x="404" y="195"/>
                  </a:lnTo>
                  <a:lnTo>
                    <a:pt x="400" y="198"/>
                  </a:lnTo>
                  <a:lnTo>
                    <a:pt x="400" y="198"/>
                  </a:lnTo>
                  <a:lnTo>
                    <a:pt x="397" y="201"/>
                  </a:lnTo>
                  <a:lnTo>
                    <a:pt x="390" y="201"/>
                  </a:lnTo>
                  <a:lnTo>
                    <a:pt x="390" y="201"/>
                  </a:lnTo>
                  <a:lnTo>
                    <a:pt x="384" y="201"/>
                  </a:lnTo>
                  <a:lnTo>
                    <a:pt x="384" y="201"/>
                  </a:lnTo>
                  <a:lnTo>
                    <a:pt x="373" y="198"/>
                  </a:lnTo>
                  <a:lnTo>
                    <a:pt x="373" y="198"/>
                  </a:lnTo>
                  <a:lnTo>
                    <a:pt x="367" y="198"/>
                  </a:lnTo>
                  <a:lnTo>
                    <a:pt x="363" y="198"/>
                  </a:lnTo>
                  <a:lnTo>
                    <a:pt x="363" y="198"/>
                  </a:lnTo>
                  <a:lnTo>
                    <a:pt x="360" y="201"/>
                  </a:lnTo>
                  <a:lnTo>
                    <a:pt x="357" y="205"/>
                  </a:lnTo>
                  <a:lnTo>
                    <a:pt x="357" y="205"/>
                  </a:lnTo>
                  <a:lnTo>
                    <a:pt x="353" y="208"/>
                  </a:lnTo>
                  <a:lnTo>
                    <a:pt x="353" y="208"/>
                  </a:lnTo>
                  <a:lnTo>
                    <a:pt x="353" y="211"/>
                  </a:lnTo>
                  <a:lnTo>
                    <a:pt x="357" y="215"/>
                  </a:lnTo>
                  <a:lnTo>
                    <a:pt x="360" y="221"/>
                  </a:lnTo>
                  <a:lnTo>
                    <a:pt x="360" y="221"/>
                  </a:lnTo>
                  <a:lnTo>
                    <a:pt x="363" y="231"/>
                  </a:lnTo>
                  <a:lnTo>
                    <a:pt x="363" y="231"/>
                  </a:lnTo>
                  <a:lnTo>
                    <a:pt x="370" y="242"/>
                  </a:lnTo>
                  <a:lnTo>
                    <a:pt x="370" y="242"/>
                  </a:lnTo>
                  <a:lnTo>
                    <a:pt x="373" y="252"/>
                  </a:lnTo>
                  <a:lnTo>
                    <a:pt x="373" y="252"/>
                  </a:lnTo>
                  <a:lnTo>
                    <a:pt x="377" y="255"/>
                  </a:lnTo>
                  <a:lnTo>
                    <a:pt x="380" y="258"/>
                  </a:lnTo>
                  <a:lnTo>
                    <a:pt x="380" y="258"/>
                  </a:lnTo>
                  <a:lnTo>
                    <a:pt x="380" y="268"/>
                  </a:lnTo>
                  <a:lnTo>
                    <a:pt x="384" y="272"/>
                  </a:lnTo>
                  <a:lnTo>
                    <a:pt x="384" y="272"/>
                  </a:lnTo>
                  <a:lnTo>
                    <a:pt x="387" y="282"/>
                  </a:lnTo>
                  <a:lnTo>
                    <a:pt x="387" y="282"/>
                  </a:lnTo>
                  <a:lnTo>
                    <a:pt x="384" y="282"/>
                  </a:lnTo>
                  <a:lnTo>
                    <a:pt x="380" y="282"/>
                  </a:lnTo>
                  <a:lnTo>
                    <a:pt x="377" y="282"/>
                  </a:lnTo>
                  <a:lnTo>
                    <a:pt x="377" y="282"/>
                  </a:lnTo>
                  <a:lnTo>
                    <a:pt x="373" y="282"/>
                  </a:lnTo>
                  <a:lnTo>
                    <a:pt x="373" y="285"/>
                  </a:lnTo>
                  <a:lnTo>
                    <a:pt x="370" y="289"/>
                  </a:lnTo>
                  <a:lnTo>
                    <a:pt x="363" y="285"/>
                  </a:lnTo>
                  <a:lnTo>
                    <a:pt x="363" y="285"/>
                  </a:lnTo>
                  <a:lnTo>
                    <a:pt x="360" y="289"/>
                  </a:lnTo>
                  <a:lnTo>
                    <a:pt x="357" y="292"/>
                  </a:lnTo>
                  <a:lnTo>
                    <a:pt x="357" y="295"/>
                  </a:lnTo>
                  <a:lnTo>
                    <a:pt x="353" y="299"/>
                  </a:lnTo>
                  <a:lnTo>
                    <a:pt x="353" y="299"/>
                  </a:lnTo>
                  <a:lnTo>
                    <a:pt x="350" y="305"/>
                  </a:lnTo>
                  <a:lnTo>
                    <a:pt x="347" y="312"/>
                  </a:lnTo>
                  <a:lnTo>
                    <a:pt x="347" y="329"/>
                  </a:lnTo>
                  <a:lnTo>
                    <a:pt x="347" y="329"/>
                  </a:lnTo>
                  <a:lnTo>
                    <a:pt x="347" y="336"/>
                  </a:lnTo>
                  <a:lnTo>
                    <a:pt x="347" y="339"/>
                  </a:lnTo>
                  <a:lnTo>
                    <a:pt x="343" y="342"/>
                  </a:lnTo>
                  <a:lnTo>
                    <a:pt x="343" y="342"/>
                  </a:lnTo>
                  <a:lnTo>
                    <a:pt x="340" y="342"/>
                  </a:lnTo>
                  <a:lnTo>
                    <a:pt x="337" y="339"/>
                  </a:lnTo>
                  <a:lnTo>
                    <a:pt x="330" y="332"/>
                  </a:lnTo>
                  <a:lnTo>
                    <a:pt x="330" y="332"/>
                  </a:lnTo>
                  <a:lnTo>
                    <a:pt x="326" y="329"/>
                  </a:lnTo>
                  <a:lnTo>
                    <a:pt x="316" y="332"/>
                  </a:lnTo>
                  <a:lnTo>
                    <a:pt x="306" y="332"/>
                  </a:lnTo>
                  <a:lnTo>
                    <a:pt x="296" y="332"/>
                  </a:lnTo>
                  <a:lnTo>
                    <a:pt x="296" y="332"/>
                  </a:lnTo>
                  <a:lnTo>
                    <a:pt x="293" y="332"/>
                  </a:lnTo>
                  <a:lnTo>
                    <a:pt x="293" y="336"/>
                  </a:lnTo>
                  <a:lnTo>
                    <a:pt x="293" y="339"/>
                  </a:lnTo>
                  <a:lnTo>
                    <a:pt x="289" y="339"/>
                  </a:lnTo>
                  <a:lnTo>
                    <a:pt x="289" y="339"/>
                  </a:lnTo>
                  <a:lnTo>
                    <a:pt x="283" y="339"/>
                  </a:lnTo>
                  <a:lnTo>
                    <a:pt x="279" y="332"/>
                  </a:lnTo>
                  <a:lnTo>
                    <a:pt x="279" y="329"/>
                  </a:lnTo>
                  <a:lnTo>
                    <a:pt x="276" y="326"/>
                  </a:lnTo>
                  <a:lnTo>
                    <a:pt x="276" y="326"/>
                  </a:lnTo>
                  <a:lnTo>
                    <a:pt x="273" y="329"/>
                  </a:lnTo>
                  <a:lnTo>
                    <a:pt x="269" y="332"/>
                  </a:lnTo>
                  <a:lnTo>
                    <a:pt x="269" y="339"/>
                  </a:lnTo>
                  <a:lnTo>
                    <a:pt x="269" y="339"/>
                  </a:lnTo>
                  <a:lnTo>
                    <a:pt x="269" y="342"/>
                  </a:lnTo>
                  <a:lnTo>
                    <a:pt x="266" y="342"/>
                  </a:lnTo>
                  <a:lnTo>
                    <a:pt x="263" y="342"/>
                  </a:lnTo>
                  <a:lnTo>
                    <a:pt x="263" y="342"/>
                  </a:lnTo>
                  <a:lnTo>
                    <a:pt x="259" y="342"/>
                  </a:lnTo>
                  <a:lnTo>
                    <a:pt x="256" y="339"/>
                  </a:lnTo>
                  <a:lnTo>
                    <a:pt x="256" y="332"/>
                  </a:lnTo>
                  <a:lnTo>
                    <a:pt x="246" y="332"/>
                  </a:lnTo>
                  <a:lnTo>
                    <a:pt x="246" y="332"/>
                  </a:lnTo>
                  <a:lnTo>
                    <a:pt x="242" y="336"/>
                  </a:lnTo>
                  <a:lnTo>
                    <a:pt x="236" y="339"/>
                  </a:lnTo>
                  <a:lnTo>
                    <a:pt x="236" y="339"/>
                  </a:lnTo>
                  <a:lnTo>
                    <a:pt x="232" y="339"/>
                  </a:lnTo>
                  <a:lnTo>
                    <a:pt x="229" y="336"/>
                  </a:lnTo>
                  <a:lnTo>
                    <a:pt x="226" y="332"/>
                  </a:lnTo>
                  <a:lnTo>
                    <a:pt x="226" y="332"/>
                  </a:lnTo>
                  <a:lnTo>
                    <a:pt x="222" y="332"/>
                  </a:lnTo>
                  <a:lnTo>
                    <a:pt x="219" y="336"/>
                  </a:lnTo>
                  <a:lnTo>
                    <a:pt x="219" y="339"/>
                  </a:lnTo>
                  <a:lnTo>
                    <a:pt x="216" y="342"/>
                  </a:lnTo>
                  <a:lnTo>
                    <a:pt x="216" y="342"/>
                  </a:lnTo>
                  <a:lnTo>
                    <a:pt x="205" y="342"/>
                  </a:lnTo>
                  <a:lnTo>
                    <a:pt x="202" y="342"/>
                  </a:lnTo>
                  <a:lnTo>
                    <a:pt x="202" y="339"/>
                  </a:lnTo>
                  <a:lnTo>
                    <a:pt x="202" y="339"/>
                  </a:lnTo>
                  <a:lnTo>
                    <a:pt x="202" y="339"/>
                  </a:lnTo>
                  <a:lnTo>
                    <a:pt x="199" y="339"/>
                  </a:lnTo>
                  <a:lnTo>
                    <a:pt x="192" y="339"/>
                  </a:lnTo>
                  <a:lnTo>
                    <a:pt x="192" y="339"/>
                  </a:lnTo>
                  <a:lnTo>
                    <a:pt x="189" y="342"/>
                  </a:lnTo>
                  <a:lnTo>
                    <a:pt x="189" y="342"/>
                  </a:lnTo>
                  <a:lnTo>
                    <a:pt x="189" y="342"/>
                  </a:lnTo>
                  <a:lnTo>
                    <a:pt x="175" y="336"/>
                  </a:lnTo>
                  <a:lnTo>
                    <a:pt x="162" y="332"/>
                  </a:lnTo>
                  <a:lnTo>
                    <a:pt x="162" y="332"/>
                  </a:lnTo>
                  <a:lnTo>
                    <a:pt x="142" y="332"/>
                  </a:lnTo>
                  <a:lnTo>
                    <a:pt x="142" y="332"/>
                  </a:lnTo>
                  <a:lnTo>
                    <a:pt x="121" y="329"/>
                  </a:lnTo>
                  <a:lnTo>
                    <a:pt x="111" y="326"/>
                  </a:lnTo>
                  <a:lnTo>
                    <a:pt x="111" y="326"/>
                  </a:lnTo>
                  <a:lnTo>
                    <a:pt x="105" y="329"/>
                  </a:lnTo>
                  <a:lnTo>
                    <a:pt x="95" y="332"/>
                  </a:lnTo>
                  <a:lnTo>
                    <a:pt x="95" y="332"/>
                  </a:lnTo>
                  <a:lnTo>
                    <a:pt x="84" y="336"/>
                  </a:lnTo>
                  <a:lnTo>
                    <a:pt x="74" y="332"/>
                  </a:lnTo>
                  <a:lnTo>
                    <a:pt x="74" y="332"/>
                  </a:lnTo>
                  <a:lnTo>
                    <a:pt x="68" y="332"/>
                  </a:lnTo>
                  <a:lnTo>
                    <a:pt x="64" y="336"/>
                  </a:lnTo>
                  <a:lnTo>
                    <a:pt x="64" y="336"/>
                  </a:lnTo>
                  <a:lnTo>
                    <a:pt x="58" y="342"/>
                  </a:lnTo>
                  <a:lnTo>
                    <a:pt x="51" y="349"/>
                  </a:lnTo>
                  <a:lnTo>
                    <a:pt x="51" y="349"/>
                  </a:lnTo>
                  <a:lnTo>
                    <a:pt x="47" y="349"/>
                  </a:lnTo>
                  <a:lnTo>
                    <a:pt x="44" y="349"/>
                  </a:lnTo>
                  <a:lnTo>
                    <a:pt x="41" y="342"/>
                  </a:lnTo>
                  <a:lnTo>
                    <a:pt x="41" y="342"/>
                  </a:lnTo>
                  <a:lnTo>
                    <a:pt x="37" y="342"/>
                  </a:lnTo>
                  <a:lnTo>
                    <a:pt x="34" y="342"/>
                  </a:lnTo>
                  <a:lnTo>
                    <a:pt x="34" y="342"/>
                  </a:lnTo>
                  <a:lnTo>
                    <a:pt x="31" y="346"/>
                  </a:lnTo>
                  <a:lnTo>
                    <a:pt x="34" y="349"/>
                  </a:lnTo>
                  <a:lnTo>
                    <a:pt x="34" y="352"/>
                  </a:lnTo>
                  <a:lnTo>
                    <a:pt x="31" y="356"/>
                  </a:lnTo>
                  <a:lnTo>
                    <a:pt x="31" y="356"/>
                  </a:lnTo>
                  <a:lnTo>
                    <a:pt x="27" y="352"/>
                  </a:lnTo>
                  <a:lnTo>
                    <a:pt x="27" y="352"/>
                  </a:lnTo>
                  <a:close/>
                </a:path>
              </a:pathLst>
            </a:custGeom>
            <a:solidFill>
              <a:srgbClr val="C0C0C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EYInterstate" pitchFamily="2" charset="0"/>
                <a:cs typeface="Arial" charset="0"/>
              </a:endParaRPr>
            </a:p>
          </p:txBody>
        </p:sp>
        <p:sp>
          <p:nvSpPr>
            <p:cNvPr id="57" name="Freeform 71"/>
            <p:cNvSpPr>
              <a:spLocks/>
            </p:cNvSpPr>
            <p:nvPr/>
          </p:nvSpPr>
          <p:spPr bwMode="auto">
            <a:xfrm>
              <a:off x="2545" y="2478"/>
              <a:ext cx="173" cy="157"/>
            </a:xfrm>
            <a:custGeom>
              <a:avLst/>
              <a:gdLst/>
              <a:ahLst/>
              <a:cxnLst>
                <a:cxn ang="0">
                  <a:pos x="128" y="165"/>
                </a:cxn>
                <a:cxn ang="0">
                  <a:pos x="118" y="168"/>
                </a:cxn>
                <a:cxn ang="0">
                  <a:pos x="115" y="168"/>
                </a:cxn>
                <a:cxn ang="0">
                  <a:pos x="111" y="145"/>
                </a:cxn>
                <a:cxn ang="0">
                  <a:pos x="108" y="138"/>
                </a:cxn>
                <a:cxn ang="0">
                  <a:pos x="101" y="138"/>
                </a:cxn>
                <a:cxn ang="0">
                  <a:pos x="98" y="131"/>
                </a:cxn>
                <a:cxn ang="0">
                  <a:pos x="95" y="125"/>
                </a:cxn>
                <a:cxn ang="0">
                  <a:pos x="91" y="118"/>
                </a:cxn>
                <a:cxn ang="0">
                  <a:pos x="91" y="108"/>
                </a:cxn>
                <a:cxn ang="0">
                  <a:pos x="91" y="101"/>
                </a:cxn>
                <a:cxn ang="0">
                  <a:pos x="84" y="108"/>
                </a:cxn>
                <a:cxn ang="0">
                  <a:pos x="78" y="111"/>
                </a:cxn>
                <a:cxn ang="0">
                  <a:pos x="64" y="118"/>
                </a:cxn>
                <a:cxn ang="0">
                  <a:pos x="54" y="108"/>
                </a:cxn>
                <a:cxn ang="0">
                  <a:pos x="54" y="101"/>
                </a:cxn>
                <a:cxn ang="0">
                  <a:pos x="54" y="91"/>
                </a:cxn>
                <a:cxn ang="0">
                  <a:pos x="44" y="81"/>
                </a:cxn>
                <a:cxn ang="0">
                  <a:pos x="37" y="74"/>
                </a:cxn>
                <a:cxn ang="0">
                  <a:pos x="34" y="71"/>
                </a:cxn>
                <a:cxn ang="0">
                  <a:pos x="27" y="58"/>
                </a:cxn>
                <a:cxn ang="0">
                  <a:pos x="24" y="54"/>
                </a:cxn>
                <a:cxn ang="0">
                  <a:pos x="17" y="61"/>
                </a:cxn>
                <a:cxn ang="0">
                  <a:pos x="14" y="58"/>
                </a:cxn>
                <a:cxn ang="0">
                  <a:pos x="11" y="47"/>
                </a:cxn>
                <a:cxn ang="0">
                  <a:pos x="4" y="44"/>
                </a:cxn>
                <a:cxn ang="0">
                  <a:pos x="4" y="34"/>
                </a:cxn>
                <a:cxn ang="0">
                  <a:pos x="0" y="24"/>
                </a:cxn>
                <a:cxn ang="0">
                  <a:pos x="17" y="14"/>
                </a:cxn>
                <a:cxn ang="0">
                  <a:pos x="34" y="14"/>
                </a:cxn>
                <a:cxn ang="0">
                  <a:pos x="51" y="0"/>
                </a:cxn>
                <a:cxn ang="0">
                  <a:pos x="54" y="0"/>
                </a:cxn>
                <a:cxn ang="0">
                  <a:pos x="58" y="11"/>
                </a:cxn>
                <a:cxn ang="0">
                  <a:pos x="68" y="14"/>
                </a:cxn>
                <a:cxn ang="0">
                  <a:pos x="68" y="14"/>
                </a:cxn>
                <a:cxn ang="0">
                  <a:pos x="81" y="21"/>
                </a:cxn>
                <a:cxn ang="0">
                  <a:pos x="95" y="17"/>
                </a:cxn>
                <a:cxn ang="0">
                  <a:pos x="98" y="21"/>
                </a:cxn>
                <a:cxn ang="0">
                  <a:pos x="101" y="14"/>
                </a:cxn>
                <a:cxn ang="0">
                  <a:pos x="108" y="14"/>
                </a:cxn>
                <a:cxn ang="0">
                  <a:pos x="108" y="21"/>
                </a:cxn>
                <a:cxn ang="0">
                  <a:pos x="115" y="24"/>
                </a:cxn>
                <a:cxn ang="0">
                  <a:pos x="115" y="17"/>
                </a:cxn>
                <a:cxn ang="0">
                  <a:pos x="121" y="21"/>
                </a:cxn>
                <a:cxn ang="0">
                  <a:pos x="125" y="27"/>
                </a:cxn>
                <a:cxn ang="0">
                  <a:pos x="138" y="31"/>
                </a:cxn>
                <a:cxn ang="0">
                  <a:pos x="138" y="34"/>
                </a:cxn>
                <a:cxn ang="0">
                  <a:pos x="145" y="37"/>
                </a:cxn>
                <a:cxn ang="0">
                  <a:pos x="145" y="44"/>
                </a:cxn>
                <a:cxn ang="0">
                  <a:pos x="142" y="61"/>
                </a:cxn>
                <a:cxn ang="0">
                  <a:pos x="138" y="64"/>
                </a:cxn>
                <a:cxn ang="0">
                  <a:pos x="152" y="71"/>
                </a:cxn>
                <a:cxn ang="0">
                  <a:pos x="158" y="71"/>
                </a:cxn>
                <a:cxn ang="0">
                  <a:pos x="168" y="78"/>
                </a:cxn>
                <a:cxn ang="0">
                  <a:pos x="168" y="88"/>
                </a:cxn>
                <a:cxn ang="0">
                  <a:pos x="168" y="98"/>
                </a:cxn>
                <a:cxn ang="0">
                  <a:pos x="172" y="105"/>
                </a:cxn>
                <a:cxn ang="0">
                  <a:pos x="158" y="111"/>
                </a:cxn>
                <a:cxn ang="0">
                  <a:pos x="145" y="118"/>
                </a:cxn>
                <a:cxn ang="0">
                  <a:pos x="132" y="142"/>
                </a:cxn>
                <a:cxn ang="0">
                  <a:pos x="135" y="158"/>
                </a:cxn>
                <a:cxn ang="0">
                  <a:pos x="135" y="162"/>
                </a:cxn>
              </a:cxnLst>
              <a:rect l="0" t="0" r="r" b="b"/>
              <a:pathLst>
                <a:path w="172" h="168">
                  <a:moveTo>
                    <a:pt x="135" y="162"/>
                  </a:moveTo>
                  <a:lnTo>
                    <a:pt x="135" y="162"/>
                  </a:lnTo>
                  <a:lnTo>
                    <a:pt x="128" y="165"/>
                  </a:lnTo>
                  <a:lnTo>
                    <a:pt x="125" y="168"/>
                  </a:lnTo>
                  <a:lnTo>
                    <a:pt x="125" y="168"/>
                  </a:lnTo>
                  <a:lnTo>
                    <a:pt x="118" y="168"/>
                  </a:lnTo>
                  <a:lnTo>
                    <a:pt x="115" y="168"/>
                  </a:lnTo>
                  <a:lnTo>
                    <a:pt x="115" y="168"/>
                  </a:lnTo>
                  <a:lnTo>
                    <a:pt x="115" y="168"/>
                  </a:lnTo>
                  <a:lnTo>
                    <a:pt x="115" y="152"/>
                  </a:lnTo>
                  <a:lnTo>
                    <a:pt x="115" y="152"/>
                  </a:lnTo>
                  <a:lnTo>
                    <a:pt x="111" y="145"/>
                  </a:lnTo>
                  <a:lnTo>
                    <a:pt x="111" y="145"/>
                  </a:lnTo>
                  <a:lnTo>
                    <a:pt x="108" y="142"/>
                  </a:lnTo>
                  <a:lnTo>
                    <a:pt x="108" y="138"/>
                  </a:lnTo>
                  <a:lnTo>
                    <a:pt x="108" y="138"/>
                  </a:lnTo>
                  <a:lnTo>
                    <a:pt x="101" y="138"/>
                  </a:lnTo>
                  <a:lnTo>
                    <a:pt x="101" y="138"/>
                  </a:lnTo>
                  <a:lnTo>
                    <a:pt x="101" y="135"/>
                  </a:lnTo>
                  <a:lnTo>
                    <a:pt x="98" y="131"/>
                  </a:lnTo>
                  <a:lnTo>
                    <a:pt x="98" y="131"/>
                  </a:lnTo>
                  <a:lnTo>
                    <a:pt x="95" y="128"/>
                  </a:lnTo>
                  <a:lnTo>
                    <a:pt x="95" y="128"/>
                  </a:lnTo>
                  <a:lnTo>
                    <a:pt x="95" y="125"/>
                  </a:lnTo>
                  <a:lnTo>
                    <a:pt x="95" y="125"/>
                  </a:lnTo>
                  <a:lnTo>
                    <a:pt x="98" y="121"/>
                  </a:lnTo>
                  <a:lnTo>
                    <a:pt x="91" y="118"/>
                  </a:lnTo>
                  <a:lnTo>
                    <a:pt x="91" y="118"/>
                  </a:lnTo>
                  <a:lnTo>
                    <a:pt x="91" y="115"/>
                  </a:lnTo>
                  <a:lnTo>
                    <a:pt x="91" y="108"/>
                  </a:lnTo>
                  <a:lnTo>
                    <a:pt x="91" y="101"/>
                  </a:lnTo>
                  <a:lnTo>
                    <a:pt x="91" y="101"/>
                  </a:lnTo>
                  <a:lnTo>
                    <a:pt x="91" y="101"/>
                  </a:lnTo>
                  <a:lnTo>
                    <a:pt x="88" y="101"/>
                  </a:lnTo>
                  <a:lnTo>
                    <a:pt x="84" y="105"/>
                  </a:lnTo>
                  <a:lnTo>
                    <a:pt x="84" y="108"/>
                  </a:lnTo>
                  <a:lnTo>
                    <a:pt x="81" y="111"/>
                  </a:lnTo>
                  <a:lnTo>
                    <a:pt x="81" y="111"/>
                  </a:lnTo>
                  <a:lnTo>
                    <a:pt x="78" y="111"/>
                  </a:lnTo>
                  <a:lnTo>
                    <a:pt x="74" y="115"/>
                  </a:lnTo>
                  <a:lnTo>
                    <a:pt x="71" y="118"/>
                  </a:lnTo>
                  <a:lnTo>
                    <a:pt x="64" y="118"/>
                  </a:lnTo>
                  <a:lnTo>
                    <a:pt x="64" y="118"/>
                  </a:lnTo>
                  <a:lnTo>
                    <a:pt x="58" y="115"/>
                  </a:lnTo>
                  <a:lnTo>
                    <a:pt x="54" y="108"/>
                  </a:lnTo>
                  <a:lnTo>
                    <a:pt x="51" y="105"/>
                  </a:lnTo>
                  <a:lnTo>
                    <a:pt x="51" y="105"/>
                  </a:lnTo>
                  <a:lnTo>
                    <a:pt x="54" y="101"/>
                  </a:lnTo>
                  <a:lnTo>
                    <a:pt x="54" y="95"/>
                  </a:lnTo>
                  <a:lnTo>
                    <a:pt x="54" y="91"/>
                  </a:lnTo>
                  <a:lnTo>
                    <a:pt x="54" y="91"/>
                  </a:lnTo>
                  <a:lnTo>
                    <a:pt x="47" y="88"/>
                  </a:lnTo>
                  <a:lnTo>
                    <a:pt x="47" y="88"/>
                  </a:lnTo>
                  <a:lnTo>
                    <a:pt x="44" y="81"/>
                  </a:lnTo>
                  <a:lnTo>
                    <a:pt x="41" y="74"/>
                  </a:lnTo>
                  <a:lnTo>
                    <a:pt x="41" y="74"/>
                  </a:lnTo>
                  <a:lnTo>
                    <a:pt x="37" y="74"/>
                  </a:lnTo>
                  <a:lnTo>
                    <a:pt x="37" y="74"/>
                  </a:lnTo>
                  <a:lnTo>
                    <a:pt x="34" y="71"/>
                  </a:lnTo>
                  <a:lnTo>
                    <a:pt x="34" y="71"/>
                  </a:lnTo>
                  <a:lnTo>
                    <a:pt x="31" y="64"/>
                  </a:lnTo>
                  <a:lnTo>
                    <a:pt x="31" y="64"/>
                  </a:lnTo>
                  <a:lnTo>
                    <a:pt x="27" y="58"/>
                  </a:lnTo>
                  <a:lnTo>
                    <a:pt x="27" y="58"/>
                  </a:lnTo>
                  <a:lnTo>
                    <a:pt x="24" y="54"/>
                  </a:lnTo>
                  <a:lnTo>
                    <a:pt x="24" y="54"/>
                  </a:lnTo>
                  <a:lnTo>
                    <a:pt x="21" y="54"/>
                  </a:lnTo>
                  <a:lnTo>
                    <a:pt x="17" y="58"/>
                  </a:lnTo>
                  <a:lnTo>
                    <a:pt x="17" y="61"/>
                  </a:lnTo>
                  <a:lnTo>
                    <a:pt x="14" y="61"/>
                  </a:lnTo>
                  <a:lnTo>
                    <a:pt x="14" y="61"/>
                  </a:lnTo>
                  <a:lnTo>
                    <a:pt x="14" y="58"/>
                  </a:lnTo>
                  <a:lnTo>
                    <a:pt x="11" y="54"/>
                  </a:lnTo>
                  <a:lnTo>
                    <a:pt x="11" y="47"/>
                  </a:lnTo>
                  <a:lnTo>
                    <a:pt x="11" y="47"/>
                  </a:lnTo>
                  <a:lnTo>
                    <a:pt x="11" y="47"/>
                  </a:lnTo>
                  <a:lnTo>
                    <a:pt x="7" y="51"/>
                  </a:lnTo>
                  <a:lnTo>
                    <a:pt x="4" y="44"/>
                  </a:lnTo>
                  <a:lnTo>
                    <a:pt x="4" y="41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0" y="27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14" y="21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27" y="14"/>
                  </a:lnTo>
                  <a:lnTo>
                    <a:pt x="34" y="14"/>
                  </a:lnTo>
                  <a:lnTo>
                    <a:pt x="34" y="14"/>
                  </a:lnTo>
                  <a:lnTo>
                    <a:pt x="37" y="7"/>
                  </a:lnTo>
                  <a:lnTo>
                    <a:pt x="37" y="7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54" y="7"/>
                  </a:lnTo>
                  <a:lnTo>
                    <a:pt x="58" y="11"/>
                  </a:lnTo>
                  <a:lnTo>
                    <a:pt x="58" y="11"/>
                  </a:lnTo>
                  <a:lnTo>
                    <a:pt x="61" y="14"/>
                  </a:lnTo>
                  <a:lnTo>
                    <a:pt x="61" y="14"/>
                  </a:lnTo>
                  <a:lnTo>
                    <a:pt x="68" y="14"/>
                  </a:lnTo>
                  <a:lnTo>
                    <a:pt x="68" y="14"/>
                  </a:lnTo>
                  <a:lnTo>
                    <a:pt x="68" y="14"/>
                  </a:lnTo>
                  <a:lnTo>
                    <a:pt x="68" y="14"/>
                  </a:lnTo>
                  <a:lnTo>
                    <a:pt x="68" y="21"/>
                  </a:lnTo>
                  <a:lnTo>
                    <a:pt x="71" y="21"/>
                  </a:lnTo>
                  <a:lnTo>
                    <a:pt x="81" y="21"/>
                  </a:lnTo>
                  <a:lnTo>
                    <a:pt x="81" y="21"/>
                  </a:lnTo>
                  <a:lnTo>
                    <a:pt x="88" y="21"/>
                  </a:lnTo>
                  <a:lnTo>
                    <a:pt x="95" y="17"/>
                  </a:lnTo>
                  <a:lnTo>
                    <a:pt x="95" y="17"/>
                  </a:lnTo>
                  <a:lnTo>
                    <a:pt x="98" y="21"/>
                  </a:lnTo>
                  <a:lnTo>
                    <a:pt x="98" y="21"/>
                  </a:lnTo>
                  <a:lnTo>
                    <a:pt x="101" y="17"/>
                  </a:lnTo>
                  <a:lnTo>
                    <a:pt x="101" y="14"/>
                  </a:lnTo>
                  <a:lnTo>
                    <a:pt x="101" y="14"/>
                  </a:lnTo>
                  <a:lnTo>
                    <a:pt x="108" y="14"/>
                  </a:lnTo>
                  <a:lnTo>
                    <a:pt x="108" y="14"/>
                  </a:lnTo>
                  <a:lnTo>
                    <a:pt x="108" y="14"/>
                  </a:lnTo>
                  <a:lnTo>
                    <a:pt x="108" y="17"/>
                  </a:lnTo>
                  <a:lnTo>
                    <a:pt x="108" y="21"/>
                  </a:lnTo>
                  <a:lnTo>
                    <a:pt x="108" y="21"/>
                  </a:lnTo>
                  <a:lnTo>
                    <a:pt x="111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1"/>
                  </a:lnTo>
                  <a:lnTo>
                    <a:pt x="115" y="17"/>
                  </a:lnTo>
                  <a:lnTo>
                    <a:pt x="115" y="17"/>
                  </a:lnTo>
                  <a:lnTo>
                    <a:pt x="118" y="17"/>
                  </a:lnTo>
                  <a:lnTo>
                    <a:pt x="121" y="21"/>
                  </a:lnTo>
                  <a:lnTo>
                    <a:pt x="121" y="21"/>
                  </a:lnTo>
                  <a:lnTo>
                    <a:pt x="121" y="27"/>
                  </a:lnTo>
                  <a:lnTo>
                    <a:pt x="121" y="27"/>
                  </a:lnTo>
                  <a:lnTo>
                    <a:pt x="125" y="27"/>
                  </a:lnTo>
                  <a:lnTo>
                    <a:pt x="132" y="27"/>
                  </a:lnTo>
                  <a:lnTo>
                    <a:pt x="135" y="27"/>
                  </a:lnTo>
                  <a:lnTo>
                    <a:pt x="138" y="31"/>
                  </a:lnTo>
                  <a:lnTo>
                    <a:pt x="138" y="31"/>
                  </a:lnTo>
                  <a:lnTo>
                    <a:pt x="138" y="34"/>
                  </a:lnTo>
                  <a:lnTo>
                    <a:pt x="138" y="34"/>
                  </a:lnTo>
                  <a:lnTo>
                    <a:pt x="142" y="37"/>
                  </a:lnTo>
                  <a:lnTo>
                    <a:pt x="145" y="37"/>
                  </a:lnTo>
                  <a:lnTo>
                    <a:pt x="145" y="37"/>
                  </a:lnTo>
                  <a:lnTo>
                    <a:pt x="148" y="41"/>
                  </a:lnTo>
                  <a:lnTo>
                    <a:pt x="145" y="44"/>
                  </a:lnTo>
                  <a:lnTo>
                    <a:pt x="145" y="44"/>
                  </a:lnTo>
                  <a:lnTo>
                    <a:pt x="145" y="51"/>
                  </a:lnTo>
                  <a:lnTo>
                    <a:pt x="145" y="51"/>
                  </a:lnTo>
                  <a:lnTo>
                    <a:pt x="142" y="61"/>
                  </a:lnTo>
                  <a:lnTo>
                    <a:pt x="142" y="61"/>
                  </a:lnTo>
                  <a:lnTo>
                    <a:pt x="138" y="64"/>
                  </a:lnTo>
                  <a:lnTo>
                    <a:pt x="138" y="64"/>
                  </a:lnTo>
                  <a:lnTo>
                    <a:pt x="138" y="68"/>
                  </a:lnTo>
                  <a:lnTo>
                    <a:pt x="142" y="68"/>
                  </a:lnTo>
                  <a:lnTo>
                    <a:pt x="152" y="71"/>
                  </a:lnTo>
                  <a:lnTo>
                    <a:pt x="152" y="71"/>
                  </a:lnTo>
                  <a:lnTo>
                    <a:pt x="155" y="71"/>
                  </a:lnTo>
                  <a:lnTo>
                    <a:pt x="158" y="71"/>
                  </a:lnTo>
                  <a:lnTo>
                    <a:pt x="158" y="71"/>
                  </a:lnTo>
                  <a:lnTo>
                    <a:pt x="168" y="78"/>
                  </a:lnTo>
                  <a:lnTo>
                    <a:pt x="168" y="78"/>
                  </a:lnTo>
                  <a:lnTo>
                    <a:pt x="172" y="84"/>
                  </a:lnTo>
                  <a:lnTo>
                    <a:pt x="168" y="88"/>
                  </a:lnTo>
                  <a:lnTo>
                    <a:pt x="168" y="88"/>
                  </a:lnTo>
                  <a:lnTo>
                    <a:pt x="168" y="91"/>
                  </a:lnTo>
                  <a:lnTo>
                    <a:pt x="168" y="98"/>
                  </a:lnTo>
                  <a:lnTo>
                    <a:pt x="168" y="98"/>
                  </a:lnTo>
                  <a:lnTo>
                    <a:pt x="168" y="101"/>
                  </a:lnTo>
                  <a:lnTo>
                    <a:pt x="172" y="105"/>
                  </a:lnTo>
                  <a:lnTo>
                    <a:pt x="172" y="105"/>
                  </a:lnTo>
                  <a:lnTo>
                    <a:pt x="168" y="108"/>
                  </a:lnTo>
                  <a:lnTo>
                    <a:pt x="158" y="111"/>
                  </a:lnTo>
                  <a:lnTo>
                    <a:pt x="158" y="111"/>
                  </a:lnTo>
                  <a:lnTo>
                    <a:pt x="155" y="115"/>
                  </a:lnTo>
                  <a:lnTo>
                    <a:pt x="145" y="118"/>
                  </a:lnTo>
                  <a:lnTo>
                    <a:pt x="145" y="118"/>
                  </a:lnTo>
                  <a:lnTo>
                    <a:pt x="138" y="125"/>
                  </a:lnTo>
                  <a:lnTo>
                    <a:pt x="132" y="142"/>
                  </a:lnTo>
                  <a:lnTo>
                    <a:pt x="132" y="142"/>
                  </a:lnTo>
                  <a:lnTo>
                    <a:pt x="132" y="148"/>
                  </a:lnTo>
                  <a:lnTo>
                    <a:pt x="132" y="155"/>
                  </a:lnTo>
                  <a:lnTo>
                    <a:pt x="135" y="158"/>
                  </a:lnTo>
                  <a:lnTo>
                    <a:pt x="135" y="158"/>
                  </a:lnTo>
                  <a:lnTo>
                    <a:pt x="135" y="162"/>
                  </a:lnTo>
                  <a:lnTo>
                    <a:pt x="135" y="162"/>
                  </a:lnTo>
                  <a:close/>
                </a:path>
              </a:pathLst>
            </a:custGeom>
            <a:solidFill>
              <a:srgbClr val="C0C0C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EYInterstate" pitchFamily="2" charset="0"/>
                <a:cs typeface="Arial" charset="0"/>
              </a:endParaRPr>
            </a:p>
          </p:txBody>
        </p:sp>
        <p:sp>
          <p:nvSpPr>
            <p:cNvPr id="58" name="Freeform 72"/>
            <p:cNvSpPr>
              <a:spLocks/>
            </p:cNvSpPr>
            <p:nvPr/>
          </p:nvSpPr>
          <p:spPr bwMode="auto">
            <a:xfrm>
              <a:off x="2840" y="2709"/>
              <a:ext cx="379" cy="183"/>
            </a:xfrm>
            <a:custGeom>
              <a:avLst/>
              <a:gdLst/>
              <a:ahLst/>
              <a:cxnLst>
                <a:cxn ang="0">
                  <a:pos x="3" y="107"/>
                </a:cxn>
                <a:cxn ang="0">
                  <a:pos x="3" y="121"/>
                </a:cxn>
                <a:cxn ang="0">
                  <a:pos x="27" y="127"/>
                </a:cxn>
                <a:cxn ang="0">
                  <a:pos x="33" y="138"/>
                </a:cxn>
                <a:cxn ang="0">
                  <a:pos x="40" y="148"/>
                </a:cxn>
                <a:cxn ang="0">
                  <a:pos x="64" y="141"/>
                </a:cxn>
                <a:cxn ang="0">
                  <a:pos x="77" y="138"/>
                </a:cxn>
                <a:cxn ang="0">
                  <a:pos x="104" y="141"/>
                </a:cxn>
                <a:cxn ang="0">
                  <a:pos x="131" y="134"/>
                </a:cxn>
                <a:cxn ang="0">
                  <a:pos x="124" y="148"/>
                </a:cxn>
                <a:cxn ang="0">
                  <a:pos x="134" y="161"/>
                </a:cxn>
                <a:cxn ang="0">
                  <a:pos x="158" y="175"/>
                </a:cxn>
                <a:cxn ang="0">
                  <a:pos x="178" y="178"/>
                </a:cxn>
                <a:cxn ang="0">
                  <a:pos x="201" y="181"/>
                </a:cxn>
                <a:cxn ang="0">
                  <a:pos x="218" y="185"/>
                </a:cxn>
                <a:cxn ang="0">
                  <a:pos x="238" y="191"/>
                </a:cxn>
                <a:cxn ang="0">
                  <a:pos x="255" y="188"/>
                </a:cxn>
                <a:cxn ang="0">
                  <a:pos x="272" y="181"/>
                </a:cxn>
                <a:cxn ang="0">
                  <a:pos x="282" y="178"/>
                </a:cxn>
                <a:cxn ang="0">
                  <a:pos x="299" y="178"/>
                </a:cxn>
                <a:cxn ang="0">
                  <a:pos x="319" y="178"/>
                </a:cxn>
                <a:cxn ang="0">
                  <a:pos x="322" y="164"/>
                </a:cxn>
                <a:cxn ang="0">
                  <a:pos x="339" y="151"/>
                </a:cxn>
                <a:cxn ang="0">
                  <a:pos x="339" y="131"/>
                </a:cxn>
                <a:cxn ang="0">
                  <a:pos x="346" y="117"/>
                </a:cxn>
                <a:cxn ang="0">
                  <a:pos x="343" y="104"/>
                </a:cxn>
                <a:cxn ang="0">
                  <a:pos x="363" y="107"/>
                </a:cxn>
                <a:cxn ang="0">
                  <a:pos x="373" y="97"/>
                </a:cxn>
                <a:cxn ang="0">
                  <a:pos x="376" y="84"/>
                </a:cxn>
                <a:cxn ang="0">
                  <a:pos x="370" y="67"/>
                </a:cxn>
                <a:cxn ang="0">
                  <a:pos x="370" y="40"/>
                </a:cxn>
                <a:cxn ang="0">
                  <a:pos x="363" y="23"/>
                </a:cxn>
                <a:cxn ang="0">
                  <a:pos x="346" y="17"/>
                </a:cxn>
                <a:cxn ang="0">
                  <a:pos x="326" y="17"/>
                </a:cxn>
                <a:cxn ang="0">
                  <a:pos x="309" y="6"/>
                </a:cxn>
                <a:cxn ang="0">
                  <a:pos x="296" y="0"/>
                </a:cxn>
                <a:cxn ang="0">
                  <a:pos x="279" y="3"/>
                </a:cxn>
                <a:cxn ang="0">
                  <a:pos x="269" y="0"/>
                </a:cxn>
                <a:cxn ang="0">
                  <a:pos x="265" y="13"/>
                </a:cxn>
                <a:cxn ang="0">
                  <a:pos x="255" y="30"/>
                </a:cxn>
                <a:cxn ang="0">
                  <a:pos x="242" y="27"/>
                </a:cxn>
                <a:cxn ang="0">
                  <a:pos x="228" y="23"/>
                </a:cxn>
                <a:cxn ang="0">
                  <a:pos x="215" y="10"/>
                </a:cxn>
                <a:cxn ang="0">
                  <a:pos x="201" y="30"/>
                </a:cxn>
                <a:cxn ang="0">
                  <a:pos x="185" y="40"/>
                </a:cxn>
                <a:cxn ang="0">
                  <a:pos x="168" y="54"/>
                </a:cxn>
                <a:cxn ang="0">
                  <a:pos x="158" y="64"/>
                </a:cxn>
                <a:cxn ang="0">
                  <a:pos x="168" y="90"/>
                </a:cxn>
                <a:cxn ang="0">
                  <a:pos x="168" y="104"/>
                </a:cxn>
                <a:cxn ang="0">
                  <a:pos x="158" y="94"/>
                </a:cxn>
                <a:cxn ang="0">
                  <a:pos x="144" y="90"/>
                </a:cxn>
                <a:cxn ang="0">
                  <a:pos x="134" y="84"/>
                </a:cxn>
                <a:cxn ang="0">
                  <a:pos x="117" y="90"/>
                </a:cxn>
                <a:cxn ang="0">
                  <a:pos x="104" y="101"/>
                </a:cxn>
                <a:cxn ang="0">
                  <a:pos x="74" y="101"/>
                </a:cxn>
                <a:cxn ang="0">
                  <a:pos x="64" y="97"/>
                </a:cxn>
                <a:cxn ang="0">
                  <a:pos x="54" y="90"/>
                </a:cxn>
                <a:cxn ang="0">
                  <a:pos x="44" y="94"/>
                </a:cxn>
                <a:cxn ang="0">
                  <a:pos x="37" y="107"/>
                </a:cxn>
                <a:cxn ang="0">
                  <a:pos x="27" y="101"/>
                </a:cxn>
                <a:cxn ang="0">
                  <a:pos x="7" y="90"/>
                </a:cxn>
              </a:cxnLst>
              <a:rect l="0" t="0" r="r" b="b"/>
              <a:pathLst>
                <a:path w="380" h="195">
                  <a:moveTo>
                    <a:pt x="3" y="87"/>
                  </a:moveTo>
                  <a:lnTo>
                    <a:pt x="3" y="87"/>
                  </a:lnTo>
                  <a:lnTo>
                    <a:pt x="0" y="94"/>
                  </a:lnTo>
                  <a:lnTo>
                    <a:pt x="0" y="101"/>
                  </a:lnTo>
                  <a:lnTo>
                    <a:pt x="0" y="101"/>
                  </a:lnTo>
                  <a:lnTo>
                    <a:pt x="3" y="104"/>
                  </a:lnTo>
                  <a:lnTo>
                    <a:pt x="3" y="107"/>
                  </a:lnTo>
                  <a:lnTo>
                    <a:pt x="3" y="107"/>
                  </a:lnTo>
                  <a:lnTo>
                    <a:pt x="3" y="111"/>
                  </a:lnTo>
                  <a:lnTo>
                    <a:pt x="3" y="111"/>
                  </a:lnTo>
                  <a:lnTo>
                    <a:pt x="3" y="114"/>
                  </a:lnTo>
                  <a:lnTo>
                    <a:pt x="3" y="114"/>
                  </a:lnTo>
                  <a:lnTo>
                    <a:pt x="3" y="117"/>
                  </a:lnTo>
                  <a:lnTo>
                    <a:pt x="3" y="117"/>
                  </a:lnTo>
                  <a:lnTo>
                    <a:pt x="3" y="121"/>
                  </a:lnTo>
                  <a:lnTo>
                    <a:pt x="3" y="121"/>
                  </a:lnTo>
                  <a:lnTo>
                    <a:pt x="3" y="124"/>
                  </a:lnTo>
                  <a:lnTo>
                    <a:pt x="3" y="124"/>
                  </a:lnTo>
                  <a:lnTo>
                    <a:pt x="7" y="127"/>
                  </a:lnTo>
                  <a:lnTo>
                    <a:pt x="7" y="127"/>
                  </a:lnTo>
                  <a:lnTo>
                    <a:pt x="13" y="127"/>
                  </a:lnTo>
                  <a:lnTo>
                    <a:pt x="17" y="124"/>
                  </a:lnTo>
                  <a:lnTo>
                    <a:pt x="17" y="124"/>
                  </a:lnTo>
                  <a:lnTo>
                    <a:pt x="27" y="127"/>
                  </a:lnTo>
                  <a:lnTo>
                    <a:pt x="27" y="127"/>
                  </a:lnTo>
                  <a:lnTo>
                    <a:pt x="27" y="134"/>
                  </a:lnTo>
                  <a:lnTo>
                    <a:pt x="27" y="134"/>
                  </a:lnTo>
                  <a:lnTo>
                    <a:pt x="27" y="138"/>
                  </a:lnTo>
                  <a:lnTo>
                    <a:pt x="27" y="138"/>
                  </a:lnTo>
                  <a:lnTo>
                    <a:pt x="30" y="138"/>
                  </a:lnTo>
                  <a:lnTo>
                    <a:pt x="33" y="138"/>
                  </a:lnTo>
                  <a:lnTo>
                    <a:pt x="33" y="138"/>
                  </a:lnTo>
                  <a:lnTo>
                    <a:pt x="37" y="134"/>
                  </a:lnTo>
                  <a:lnTo>
                    <a:pt x="37" y="134"/>
                  </a:lnTo>
                  <a:lnTo>
                    <a:pt x="37" y="134"/>
                  </a:lnTo>
                  <a:lnTo>
                    <a:pt x="40" y="138"/>
                  </a:lnTo>
                  <a:lnTo>
                    <a:pt x="40" y="138"/>
                  </a:lnTo>
                  <a:lnTo>
                    <a:pt x="44" y="141"/>
                  </a:lnTo>
                  <a:lnTo>
                    <a:pt x="44" y="141"/>
                  </a:lnTo>
                  <a:lnTo>
                    <a:pt x="40" y="148"/>
                  </a:lnTo>
                  <a:lnTo>
                    <a:pt x="40" y="148"/>
                  </a:lnTo>
                  <a:lnTo>
                    <a:pt x="50" y="138"/>
                  </a:lnTo>
                  <a:lnTo>
                    <a:pt x="50" y="138"/>
                  </a:lnTo>
                  <a:lnTo>
                    <a:pt x="54" y="138"/>
                  </a:lnTo>
                  <a:lnTo>
                    <a:pt x="54" y="138"/>
                  </a:lnTo>
                  <a:lnTo>
                    <a:pt x="57" y="141"/>
                  </a:lnTo>
                  <a:lnTo>
                    <a:pt x="57" y="141"/>
                  </a:lnTo>
                  <a:lnTo>
                    <a:pt x="64" y="141"/>
                  </a:lnTo>
                  <a:lnTo>
                    <a:pt x="64" y="141"/>
                  </a:lnTo>
                  <a:lnTo>
                    <a:pt x="67" y="144"/>
                  </a:lnTo>
                  <a:lnTo>
                    <a:pt x="67" y="144"/>
                  </a:lnTo>
                  <a:lnTo>
                    <a:pt x="70" y="141"/>
                  </a:lnTo>
                  <a:lnTo>
                    <a:pt x="70" y="141"/>
                  </a:lnTo>
                  <a:lnTo>
                    <a:pt x="74" y="138"/>
                  </a:lnTo>
                  <a:lnTo>
                    <a:pt x="74" y="138"/>
                  </a:lnTo>
                  <a:lnTo>
                    <a:pt x="77" y="138"/>
                  </a:lnTo>
                  <a:lnTo>
                    <a:pt x="84" y="141"/>
                  </a:lnTo>
                  <a:lnTo>
                    <a:pt x="84" y="141"/>
                  </a:lnTo>
                  <a:lnTo>
                    <a:pt x="91" y="141"/>
                  </a:lnTo>
                  <a:lnTo>
                    <a:pt x="91" y="141"/>
                  </a:lnTo>
                  <a:lnTo>
                    <a:pt x="97" y="141"/>
                  </a:lnTo>
                  <a:lnTo>
                    <a:pt x="97" y="141"/>
                  </a:lnTo>
                  <a:lnTo>
                    <a:pt x="104" y="141"/>
                  </a:lnTo>
                  <a:lnTo>
                    <a:pt x="104" y="141"/>
                  </a:lnTo>
                  <a:lnTo>
                    <a:pt x="111" y="141"/>
                  </a:lnTo>
                  <a:lnTo>
                    <a:pt x="111" y="141"/>
                  </a:lnTo>
                  <a:lnTo>
                    <a:pt x="114" y="138"/>
                  </a:lnTo>
                  <a:lnTo>
                    <a:pt x="114" y="138"/>
                  </a:lnTo>
                  <a:lnTo>
                    <a:pt x="121" y="138"/>
                  </a:lnTo>
                  <a:lnTo>
                    <a:pt x="121" y="138"/>
                  </a:lnTo>
                  <a:lnTo>
                    <a:pt x="128" y="138"/>
                  </a:lnTo>
                  <a:lnTo>
                    <a:pt x="131" y="134"/>
                  </a:lnTo>
                  <a:lnTo>
                    <a:pt x="134" y="138"/>
                  </a:lnTo>
                  <a:lnTo>
                    <a:pt x="134" y="138"/>
                  </a:lnTo>
                  <a:lnTo>
                    <a:pt x="134" y="141"/>
                  </a:lnTo>
                  <a:lnTo>
                    <a:pt x="134" y="141"/>
                  </a:lnTo>
                  <a:lnTo>
                    <a:pt x="131" y="144"/>
                  </a:lnTo>
                  <a:lnTo>
                    <a:pt x="128" y="144"/>
                  </a:lnTo>
                  <a:lnTo>
                    <a:pt x="128" y="144"/>
                  </a:lnTo>
                  <a:lnTo>
                    <a:pt x="124" y="148"/>
                  </a:lnTo>
                  <a:lnTo>
                    <a:pt x="124" y="148"/>
                  </a:lnTo>
                  <a:lnTo>
                    <a:pt x="124" y="151"/>
                  </a:lnTo>
                  <a:lnTo>
                    <a:pt x="124" y="151"/>
                  </a:lnTo>
                  <a:lnTo>
                    <a:pt x="128" y="151"/>
                  </a:lnTo>
                  <a:lnTo>
                    <a:pt x="128" y="151"/>
                  </a:lnTo>
                  <a:lnTo>
                    <a:pt x="131" y="158"/>
                  </a:lnTo>
                  <a:lnTo>
                    <a:pt x="131" y="158"/>
                  </a:lnTo>
                  <a:lnTo>
                    <a:pt x="134" y="161"/>
                  </a:lnTo>
                  <a:lnTo>
                    <a:pt x="134" y="161"/>
                  </a:lnTo>
                  <a:lnTo>
                    <a:pt x="138" y="164"/>
                  </a:lnTo>
                  <a:lnTo>
                    <a:pt x="138" y="164"/>
                  </a:lnTo>
                  <a:lnTo>
                    <a:pt x="144" y="168"/>
                  </a:lnTo>
                  <a:lnTo>
                    <a:pt x="144" y="168"/>
                  </a:lnTo>
                  <a:lnTo>
                    <a:pt x="151" y="171"/>
                  </a:lnTo>
                  <a:lnTo>
                    <a:pt x="151" y="171"/>
                  </a:lnTo>
                  <a:lnTo>
                    <a:pt x="158" y="175"/>
                  </a:lnTo>
                  <a:lnTo>
                    <a:pt x="158" y="175"/>
                  </a:lnTo>
                  <a:lnTo>
                    <a:pt x="161" y="175"/>
                  </a:lnTo>
                  <a:lnTo>
                    <a:pt x="161" y="175"/>
                  </a:lnTo>
                  <a:lnTo>
                    <a:pt x="168" y="178"/>
                  </a:lnTo>
                  <a:lnTo>
                    <a:pt x="168" y="178"/>
                  </a:lnTo>
                  <a:lnTo>
                    <a:pt x="171" y="181"/>
                  </a:lnTo>
                  <a:lnTo>
                    <a:pt x="171" y="181"/>
                  </a:lnTo>
                  <a:lnTo>
                    <a:pt x="178" y="178"/>
                  </a:lnTo>
                  <a:lnTo>
                    <a:pt x="178" y="178"/>
                  </a:lnTo>
                  <a:lnTo>
                    <a:pt x="185" y="178"/>
                  </a:lnTo>
                  <a:lnTo>
                    <a:pt x="185" y="178"/>
                  </a:lnTo>
                  <a:lnTo>
                    <a:pt x="191" y="181"/>
                  </a:lnTo>
                  <a:lnTo>
                    <a:pt x="191" y="181"/>
                  </a:lnTo>
                  <a:lnTo>
                    <a:pt x="195" y="181"/>
                  </a:lnTo>
                  <a:lnTo>
                    <a:pt x="195" y="181"/>
                  </a:lnTo>
                  <a:lnTo>
                    <a:pt x="201" y="181"/>
                  </a:lnTo>
                  <a:lnTo>
                    <a:pt x="201" y="181"/>
                  </a:lnTo>
                  <a:lnTo>
                    <a:pt x="208" y="181"/>
                  </a:lnTo>
                  <a:lnTo>
                    <a:pt x="208" y="181"/>
                  </a:lnTo>
                  <a:lnTo>
                    <a:pt x="212" y="185"/>
                  </a:lnTo>
                  <a:lnTo>
                    <a:pt x="212" y="185"/>
                  </a:lnTo>
                  <a:lnTo>
                    <a:pt x="215" y="181"/>
                  </a:lnTo>
                  <a:lnTo>
                    <a:pt x="215" y="181"/>
                  </a:lnTo>
                  <a:lnTo>
                    <a:pt x="218" y="185"/>
                  </a:lnTo>
                  <a:lnTo>
                    <a:pt x="222" y="185"/>
                  </a:lnTo>
                  <a:lnTo>
                    <a:pt x="222" y="185"/>
                  </a:lnTo>
                  <a:lnTo>
                    <a:pt x="232" y="188"/>
                  </a:lnTo>
                  <a:lnTo>
                    <a:pt x="232" y="188"/>
                  </a:lnTo>
                  <a:lnTo>
                    <a:pt x="235" y="191"/>
                  </a:lnTo>
                  <a:lnTo>
                    <a:pt x="235" y="191"/>
                  </a:lnTo>
                  <a:lnTo>
                    <a:pt x="238" y="191"/>
                  </a:lnTo>
                  <a:lnTo>
                    <a:pt x="238" y="191"/>
                  </a:lnTo>
                  <a:lnTo>
                    <a:pt x="245" y="191"/>
                  </a:lnTo>
                  <a:lnTo>
                    <a:pt x="245" y="191"/>
                  </a:lnTo>
                  <a:lnTo>
                    <a:pt x="245" y="195"/>
                  </a:lnTo>
                  <a:lnTo>
                    <a:pt x="245" y="195"/>
                  </a:lnTo>
                  <a:lnTo>
                    <a:pt x="249" y="195"/>
                  </a:lnTo>
                  <a:lnTo>
                    <a:pt x="249" y="195"/>
                  </a:lnTo>
                  <a:lnTo>
                    <a:pt x="255" y="188"/>
                  </a:lnTo>
                  <a:lnTo>
                    <a:pt x="255" y="188"/>
                  </a:lnTo>
                  <a:lnTo>
                    <a:pt x="262" y="188"/>
                  </a:lnTo>
                  <a:lnTo>
                    <a:pt x="262" y="188"/>
                  </a:lnTo>
                  <a:lnTo>
                    <a:pt x="265" y="188"/>
                  </a:lnTo>
                  <a:lnTo>
                    <a:pt x="269" y="191"/>
                  </a:lnTo>
                  <a:lnTo>
                    <a:pt x="269" y="191"/>
                  </a:lnTo>
                  <a:lnTo>
                    <a:pt x="269" y="185"/>
                  </a:lnTo>
                  <a:lnTo>
                    <a:pt x="269" y="185"/>
                  </a:lnTo>
                  <a:lnTo>
                    <a:pt x="272" y="181"/>
                  </a:lnTo>
                  <a:lnTo>
                    <a:pt x="272" y="181"/>
                  </a:lnTo>
                  <a:lnTo>
                    <a:pt x="275" y="185"/>
                  </a:lnTo>
                  <a:lnTo>
                    <a:pt x="279" y="185"/>
                  </a:lnTo>
                  <a:lnTo>
                    <a:pt x="279" y="185"/>
                  </a:lnTo>
                  <a:lnTo>
                    <a:pt x="279" y="181"/>
                  </a:lnTo>
                  <a:lnTo>
                    <a:pt x="279" y="178"/>
                  </a:lnTo>
                  <a:lnTo>
                    <a:pt x="279" y="178"/>
                  </a:lnTo>
                  <a:lnTo>
                    <a:pt x="282" y="178"/>
                  </a:lnTo>
                  <a:lnTo>
                    <a:pt x="285" y="178"/>
                  </a:lnTo>
                  <a:lnTo>
                    <a:pt x="285" y="178"/>
                  </a:lnTo>
                  <a:lnTo>
                    <a:pt x="289" y="178"/>
                  </a:lnTo>
                  <a:lnTo>
                    <a:pt x="289" y="178"/>
                  </a:lnTo>
                  <a:lnTo>
                    <a:pt x="292" y="178"/>
                  </a:lnTo>
                  <a:lnTo>
                    <a:pt x="296" y="181"/>
                  </a:lnTo>
                  <a:lnTo>
                    <a:pt x="296" y="181"/>
                  </a:lnTo>
                  <a:lnTo>
                    <a:pt x="299" y="178"/>
                  </a:lnTo>
                  <a:lnTo>
                    <a:pt x="299" y="175"/>
                  </a:lnTo>
                  <a:lnTo>
                    <a:pt x="299" y="175"/>
                  </a:lnTo>
                  <a:lnTo>
                    <a:pt x="306" y="175"/>
                  </a:lnTo>
                  <a:lnTo>
                    <a:pt x="306" y="175"/>
                  </a:lnTo>
                  <a:lnTo>
                    <a:pt x="312" y="175"/>
                  </a:lnTo>
                  <a:lnTo>
                    <a:pt x="312" y="175"/>
                  </a:lnTo>
                  <a:lnTo>
                    <a:pt x="316" y="178"/>
                  </a:lnTo>
                  <a:lnTo>
                    <a:pt x="319" y="178"/>
                  </a:lnTo>
                  <a:lnTo>
                    <a:pt x="319" y="178"/>
                  </a:lnTo>
                  <a:lnTo>
                    <a:pt x="319" y="178"/>
                  </a:lnTo>
                  <a:lnTo>
                    <a:pt x="319" y="175"/>
                  </a:lnTo>
                  <a:lnTo>
                    <a:pt x="316" y="171"/>
                  </a:lnTo>
                  <a:lnTo>
                    <a:pt x="316" y="171"/>
                  </a:lnTo>
                  <a:lnTo>
                    <a:pt x="319" y="164"/>
                  </a:lnTo>
                  <a:lnTo>
                    <a:pt x="319" y="164"/>
                  </a:lnTo>
                  <a:lnTo>
                    <a:pt x="322" y="164"/>
                  </a:lnTo>
                  <a:lnTo>
                    <a:pt x="326" y="164"/>
                  </a:lnTo>
                  <a:lnTo>
                    <a:pt x="326" y="164"/>
                  </a:lnTo>
                  <a:lnTo>
                    <a:pt x="329" y="158"/>
                  </a:lnTo>
                  <a:lnTo>
                    <a:pt x="329" y="158"/>
                  </a:lnTo>
                  <a:lnTo>
                    <a:pt x="336" y="154"/>
                  </a:lnTo>
                  <a:lnTo>
                    <a:pt x="336" y="154"/>
                  </a:lnTo>
                  <a:lnTo>
                    <a:pt x="339" y="151"/>
                  </a:lnTo>
                  <a:lnTo>
                    <a:pt x="339" y="151"/>
                  </a:lnTo>
                  <a:lnTo>
                    <a:pt x="339" y="148"/>
                  </a:lnTo>
                  <a:lnTo>
                    <a:pt x="339" y="144"/>
                  </a:lnTo>
                  <a:lnTo>
                    <a:pt x="339" y="144"/>
                  </a:lnTo>
                  <a:lnTo>
                    <a:pt x="339" y="138"/>
                  </a:lnTo>
                  <a:lnTo>
                    <a:pt x="339" y="138"/>
                  </a:lnTo>
                  <a:lnTo>
                    <a:pt x="339" y="131"/>
                  </a:lnTo>
                  <a:lnTo>
                    <a:pt x="339" y="131"/>
                  </a:lnTo>
                  <a:lnTo>
                    <a:pt x="339" y="131"/>
                  </a:lnTo>
                  <a:lnTo>
                    <a:pt x="339" y="131"/>
                  </a:lnTo>
                  <a:lnTo>
                    <a:pt x="339" y="127"/>
                  </a:lnTo>
                  <a:lnTo>
                    <a:pt x="339" y="124"/>
                  </a:lnTo>
                  <a:lnTo>
                    <a:pt x="339" y="124"/>
                  </a:lnTo>
                  <a:lnTo>
                    <a:pt x="343" y="121"/>
                  </a:lnTo>
                  <a:lnTo>
                    <a:pt x="343" y="121"/>
                  </a:lnTo>
                  <a:lnTo>
                    <a:pt x="346" y="117"/>
                  </a:lnTo>
                  <a:lnTo>
                    <a:pt x="346" y="117"/>
                  </a:lnTo>
                  <a:lnTo>
                    <a:pt x="346" y="114"/>
                  </a:lnTo>
                  <a:lnTo>
                    <a:pt x="346" y="114"/>
                  </a:lnTo>
                  <a:lnTo>
                    <a:pt x="339" y="111"/>
                  </a:lnTo>
                  <a:lnTo>
                    <a:pt x="339" y="111"/>
                  </a:lnTo>
                  <a:lnTo>
                    <a:pt x="339" y="107"/>
                  </a:lnTo>
                  <a:lnTo>
                    <a:pt x="339" y="107"/>
                  </a:lnTo>
                  <a:lnTo>
                    <a:pt x="343" y="104"/>
                  </a:lnTo>
                  <a:lnTo>
                    <a:pt x="343" y="104"/>
                  </a:lnTo>
                  <a:lnTo>
                    <a:pt x="346" y="104"/>
                  </a:lnTo>
                  <a:lnTo>
                    <a:pt x="346" y="104"/>
                  </a:lnTo>
                  <a:lnTo>
                    <a:pt x="356" y="104"/>
                  </a:lnTo>
                  <a:lnTo>
                    <a:pt x="356" y="104"/>
                  </a:lnTo>
                  <a:lnTo>
                    <a:pt x="359" y="104"/>
                  </a:lnTo>
                  <a:lnTo>
                    <a:pt x="359" y="104"/>
                  </a:lnTo>
                  <a:lnTo>
                    <a:pt x="363" y="107"/>
                  </a:lnTo>
                  <a:lnTo>
                    <a:pt x="363" y="107"/>
                  </a:lnTo>
                  <a:lnTo>
                    <a:pt x="366" y="107"/>
                  </a:lnTo>
                  <a:lnTo>
                    <a:pt x="366" y="104"/>
                  </a:lnTo>
                  <a:lnTo>
                    <a:pt x="366" y="104"/>
                  </a:lnTo>
                  <a:lnTo>
                    <a:pt x="370" y="104"/>
                  </a:lnTo>
                  <a:lnTo>
                    <a:pt x="376" y="107"/>
                  </a:lnTo>
                  <a:lnTo>
                    <a:pt x="376" y="107"/>
                  </a:lnTo>
                  <a:lnTo>
                    <a:pt x="376" y="104"/>
                  </a:lnTo>
                  <a:lnTo>
                    <a:pt x="373" y="97"/>
                  </a:lnTo>
                  <a:lnTo>
                    <a:pt x="373" y="97"/>
                  </a:lnTo>
                  <a:lnTo>
                    <a:pt x="373" y="97"/>
                  </a:lnTo>
                  <a:lnTo>
                    <a:pt x="373" y="97"/>
                  </a:lnTo>
                  <a:lnTo>
                    <a:pt x="373" y="94"/>
                  </a:lnTo>
                  <a:lnTo>
                    <a:pt x="373" y="90"/>
                  </a:lnTo>
                  <a:lnTo>
                    <a:pt x="373" y="90"/>
                  </a:lnTo>
                  <a:lnTo>
                    <a:pt x="376" y="84"/>
                  </a:lnTo>
                  <a:lnTo>
                    <a:pt x="376" y="84"/>
                  </a:lnTo>
                  <a:lnTo>
                    <a:pt x="380" y="80"/>
                  </a:lnTo>
                  <a:lnTo>
                    <a:pt x="380" y="80"/>
                  </a:lnTo>
                  <a:lnTo>
                    <a:pt x="376" y="70"/>
                  </a:lnTo>
                  <a:lnTo>
                    <a:pt x="376" y="70"/>
                  </a:lnTo>
                  <a:lnTo>
                    <a:pt x="373" y="70"/>
                  </a:lnTo>
                  <a:lnTo>
                    <a:pt x="373" y="70"/>
                  </a:lnTo>
                  <a:lnTo>
                    <a:pt x="370" y="67"/>
                  </a:lnTo>
                  <a:lnTo>
                    <a:pt x="370" y="67"/>
                  </a:lnTo>
                  <a:lnTo>
                    <a:pt x="373" y="60"/>
                  </a:lnTo>
                  <a:lnTo>
                    <a:pt x="373" y="60"/>
                  </a:lnTo>
                  <a:lnTo>
                    <a:pt x="370" y="57"/>
                  </a:lnTo>
                  <a:lnTo>
                    <a:pt x="370" y="57"/>
                  </a:lnTo>
                  <a:lnTo>
                    <a:pt x="370" y="50"/>
                  </a:lnTo>
                  <a:lnTo>
                    <a:pt x="370" y="47"/>
                  </a:lnTo>
                  <a:lnTo>
                    <a:pt x="370" y="47"/>
                  </a:lnTo>
                  <a:lnTo>
                    <a:pt x="370" y="40"/>
                  </a:lnTo>
                  <a:lnTo>
                    <a:pt x="370" y="40"/>
                  </a:lnTo>
                  <a:lnTo>
                    <a:pt x="370" y="37"/>
                  </a:lnTo>
                  <a:lnTo>
                    <a:pt x="370" y="37"/>
                  </a:lnTo>
                  <a:lnTo>
                    <a:pt x="370" y="30"/>
                  </a:lnTo>
                  <a:lnTo>
                    <a:pt x="370" y="30"/>
                  </a:lnTo>
                  <a:lnTo>
                    <a:pt x="366" y="23"/>
                  </a:lnTo>
                  <a:lnTo>
                    <a:pt x="366" y="23"/>
                  </a:lnTo>
                  <a:lnTo>
                    <a:pt x="363" y="23"/>
                  </a:lnTo>
                  <a:lnTo>
                    <a:pt x="363" y="23"/>
                  </a:lnTo>
                  <a:lnTo>
                    <a:pt x="363" y="23"/>
                  </a:lnTo>
                  <a:lnTo>
                    <a:pt x="363" y="23"/>
                  </a:lnTo>
                  <a:lnTo>
                    <a:pt x="359" y="23"/>
                  </a:lnTo>
                  <a:lnTo>
                    <a:pt x="359" y="23"/>
                  </a:lnTo>
                  <a:lnTo>
                    <a:pt x="353" y="20"/>
                  </a:lnTo>
                  <a:lnTo>
                    <a:pt x="353" y="20"/>
                  </a:lnTo>
                  <a:lnTo>
                    <a:pt x="346" y="17"/>
                  </a:lnTo>
                  <a:lnTo>
                    <a:pt x="346" y="17"/>
                  </a:lnTo>
                  <a:lnTo>
                    <a:pt x="343" y="20"/>
                  </a:lnTo>
                  <a:lnTo>
                    <a:pt x="343" y="20"/>
                  </a:lnTo>
                  <a:lnTo>
                    <a:pt x="336" y="20"/>
                  </a:lnTo>
                  <a:lnTo>
                    <a:pt x="336" y="20"/>
                  </a:lnTo>
                  <a:lnTo>
                    <a:pt x="326" y="20"/>
                  </a:lnTo>
                  <a:lnTo>
                    <a:pt x="326" y="20"/>
                  </a:lnTo>
                  <a:lnTo>
                    <a:pt x="326" y="17"/>
                  </a:lnTo>
                  <a:lnTo>
                    <a:pt x="326" y="17"/>
                  </a:lnTo>
                  <a:lnTo>
                    <a:pt x="319" y="17"/>
                  </a:lnTo>
                  <a:lnTo>
                    <a:pt x="319" y="17"/>
                  </a:lnTo>
                  <a:lnTo>
                    <a:pt x="319" y="13"/>
                  </a:lnTo>
                  <a:lnTo>
                    <a:pt x="319" y="13"/>
                  </a:lnTo>
                  <a:lnTo>
                    <a:pt x="312" y="10"/>
                  </a:lnTo>
                  <a:lnTo>
                    <a:pt x="312" y="10"/>
                  </a:lnTo>
                  <a:lnTo>
                    <a:pt x="309" y="6"/>
                  </a:lnTo>
                  <a:lnTo>
                    <a:pt x="309" y="6"/>
                  </a:lnTo>
                  <a:lnTo>
                    <a:pt x="306" y="6"/>
                  </a:lnTo>
                  <a:lnTo>
                    <a:pt x="302" y="6"/>
                  </a:lnTo>
                  <a:lnTo>
                    <a:pt x="302" y="6"/>
                  </a:lnTo>
                  <a:lnTo>
                    <a:pt x="302" y="3"/>
                  </a:lnTo>
                  <a:lnTo>
                    <a:pt x="302" y="3"/>
                  </a:lnTo>
                  <a:lnTo>
                    <a:pt x="296" y="0"/>
                  </a:lnTo>
                  <a:lnTo>
                    <a:pt x="296" y="0"/>
                  </a:lnTo>
                  <a:lnTo>
                    <a:pt x="289" y="0"/>
                  </a:lnTo>
                  <a:lnTo>
                    <a:pt x="289" y="0"/>
                  </a:lnTo>
                  <a:lnTo>
                    <a:pt x="285" y="0"/>
                  </a:lnTo>
                  <a:lnTo>
                    <a:pt x="285" y="0"/>
                  </a:lnTo>
                  <a:lnTo>
                    <a:pt x="282" y="0"/>
                  </a:lnTo>
                  <a:lnTo>
                    <a:pt x="282" y="0"/>
                  </a:lnTo>
                  <a:lnTo>
                    <a:pt x="279" y="3"/>
                  </a:lnTo>
                  <a:lnTo>
                    <a:pt x="279" y="3"/>
                  </a:lnTo>
                  <a:lnTo>
                    <a:pt x="279" y="3"/>
                  </a:lnTo>
                  <a:lnTo>
                    <a:pt x="279" y="0"/>
                  </a:lnTo>
                  <a:lnTo>
                    <a:pt x="279" y="0"/>
                  </a:lnTo>
                  <a:lnTo>
                    <a:pt x="272" y="0"/>
                  </a:lnTo>
                  <a:lnTo>
                    <a:pt x="272" y="0"/>
                  </a:lnTo>
                  <a:lnTo>
                    <a:pt x="272" y="0"/>
                  </a:lnTo>
                  <a:lnTo>
                    <a:pt x="272" y="0"/>
                  </a:lnTo>
                  <a:lnTo>
                    <a:pt x="269" y="0"/>
                  </a:lnTo>
                  <a:lnTo>
                    <a:pt x="272" y="3"/>
                  </a:lnTo>
                  <a:lnTo>
                    <a:pt x="272" y="3"/>
                  </a:lnTo>
                  <a:lnTo>
                    <a:pt x="269" y="10"/>
                  </a:lnTo>
                  <a:lnTo>
                    <a:pt x="269" y="10"/>
                  </a:lnTo>
                  <a:lnTo>
                    <a:pt x="272" y="13"/>
                  </a:lnTo>
                  <a:lnTo>
                    <a:pt x="269" y="13"/>
                  </a:lnTo>
                  <a:lnTo>
                    <a:pt x="269" y="13"/>
                  </a:lnTo>
                  <a:lnTo>
                    <a:pt x="265" y="13"/>
                  </a:lnTo>
                  <a:lnTo>
                    <a:pt x="265" y="13"/>
                  </a:lnTo>
                  <a:lnTo>
                    <a:pt x="262" y="17"/>
                  </a:lnTo>
                  <a:lnTo>
                    <a:pt x="262" y="17"/>
                  </a:lnTo>
                  <a:lnTo>
                    <a:pt x="259" y="20"/>
                  </a:lnTo>
                  <a:lnTo>
                    <a:pt x="259" y="20"/>
                  </a:lnTo>
                  <a:lnTo>
                    <a:pt x="259" y="23"/>
                  </a:lnTo>
                  <a:lnTo>
                    <a:pt x="259" y="27"/>
                  </a:lnTo>
                  <a:lnTo>
                    <a:pt x="255" y="30"/>
                  </a:lnTo>
                  <a:lnTo>
                    <a:pt x="255" y="30"/>
                  </a:lnTo>
                  <a:lnTo>
                    <a:pt x="252" y="27"/>
                  </a:lnTo>
                  <a:lnTo>
                    <a:pt x="252" y="23"/>
                  </a:lnTo>
                  <a:lnTo>
                    <a:pt x="252" y="23"/>
                  </a:lnTo>
                  <a:lnTo>
                    <a:pt x="249" y="23"/>
                  </a:lnTo>
                  <a:lnTo>
                    <a:pt x="249" y="23"/>
                  </a:lnTo>
                  <a:lnTo>
                    <a:pt x="245" y="27"/>
                  </a:lnTo>
                  <a:lnTo>
                    <a:pt x="242" y="27"/>
                  </a:lnTo>
                  <a:lnTo>
                    <a:pt x="242" y="27"/>
                  </a:lnTo>
                  <a:lnTo>
                    <a:pt x="235" y="27"/>
                  </a:lnTo>
                  <a:lnTo>
                    <a:pt x="235" y="27"/>
                  </a:lnTo>
                  <a:lnTo>
                    <a:pt x="232" y="27"/>
                  </a:lnTo>
                  <a:lnTo>
                    <a:pt x="232" y="27"/>
                  </a:lnTo>
                  <a:lnTo>
                    <a:pt x="228" y="23"/>
                  </a:lnTo>
                  <a:lnTo>
                    <a:pt x="228" y="23"/>
                  </a:lnTo>
                  <a:lnTo>
                    <a:pt x="228" y="23"/>
                  </a:lnTo>
                  <a:lnTo>
                    <a:pt x="228" y="20"/>
                  </a:lnTo>
                  <a:lnTo>
                    <a:pt x="228" y="20"/>
                  </a:lnTo>
                  <a:lnTo>
                    <a:pt x="222" y="17"/>
                  </a:lnTo>
                  <a:lnTo>
                    <a:pt x="222" y="17"/>
                  </a:lnTo>
                  <a:lnTo>
                    <a:pt x="218" y="13"/>
                  </a:lnTo>
                  <a:lnTo>
                    <a:pt x="218" y="13"/>
                  </a:lnTo>
                  <a:lnTo>
                    <a:pt x="215" y="10"/>
                  </a:lnTo>
                  <a:lnTo>
                    <a:pt x="215" y="10"/>
                  </a:lnTo>
                  <a:lnTo>
                    <a:pt x="205" y="13"/>
                  </a:lnTo>
                  <a:lnTo>
                    <a:pt x="205" y="13"/>
                  </a:lnTo>
                  <a:lnTo>
                    <a:pt x="205" y="20"/>
                  </a:lnTo>
                  <a:lnTo>
                    <a:pt x="201" y="23"/>
                  </a:lnTo>
                  <a:lnTo>
                    <a:pt x="201" y="23"/>
                  </a:lnTo>
                  <a:lnTo>
                    <a:pt x="201" y="27"/>
                  </a:lnTo>
                  <a:lnTo>
                    <a:pt x="201" y="30"/>
                  </a:lnTo>
                  <a:lnTo>
                    <a:pt x="201" y="30"/>
                  </a:lnTo>
                  <a:lnTo>
                    <a:pt x="198" y="33"/>
                  </a:lnTo>
                  <a:lnTo>
                    <a:pt x="198" y="33"/>
                  </a:lnTo>
                  <a:lnTo>
                    <a:pt x="195" y="37"/>
                  </a:lnTo>
                  <a:lnTo>
                    <a:pt x="195" y="37"/>
                  </a:lnTo>
                  <a:lnTo>
                    <a:pt x="188" y="33"/>
                  </a:lnTo>
                  <a:lnTo>
                    <a:pt x="185" y="30"/>
                  </a:lnTo>
                  <a:lnTo>
                    <a:pt x="185" y="30"/>
                  </a:lnTo>
                  <a:lnTo>
                    <a:pt x="185" y="40"/>
                  </a:lnTo>
                  <a:lnTo>
                    <a:pt x="185" y="40"/>
                  </a:lnTo>
                  <a:lnTo>
                    <a:pt x="181" y="43"/>
                  </a:lnTo>
                  <a:lnTo>
                    <a:pt x="181" y="43"/>
                  </a:lnTo>
                  <a:lnTo>
                    <a:pt x="178" y="47"/>
                  </a:lnTo>
                  <a:lnTo>
                    <a:pt x="175" y="50"/>
                  </a:lnTo>
                  <a:lnTo>
                    <a:pt x="175" y="50"/>
                  </a:lnTo>
                  <a:lnTo>
                    <a:pt x="168" y="54"/>
                  </a:lnTo>
                  <a:lnTo>
                    <a:pt x="168" y="54"/>
                  </a:lnTo>
                  <a:lnTo>
                    <a:pt x="161" y="60"/>
                  </a:lnTo>
                  <a:lnTo>
                    <a:pt x="161" y="60"/>
                  </a:lnTo>
                  <a:lnTo>
                    <a:pt x="158" y="60"/>
                  </a:lnTo>
                  <a:lnTo>
                    <a:pt x="158" y="60"/>
                  </a:lnTo>
                  <a:lnTo>
                    <a:pt x="158" y="64"/>
                  </a:lnTo>
                  <a:lnTo>
                    <a:pt x="158" y="64"/>
                  </a:lnTo>
                  <a:lnTo>
                    <a:pt x="158" y="64"/>
                  </a:lnTo>
                  <a:lnTo>
                    <a:pt x="158" y="64"/>
                  </a:lnTo>
                  <a:lnTo>
                    <a:pt x="161" y="67"/>
                  </a:lnTo>
                  <a:lnTo>
                    <a:pt x="161" y="67"/>
                  </a:lnTo>
                  <a:lnTo>
                    <a:pt x="164" y="70"/>
                  </a:lnTo>
                  <a:lnTo>
                    <a:pt x="164" y="77"/>
                  </a:lnTo>
                  <a:lnTo>
                    <a:pt x="164" y="77"/>
                  </a:lnTo>
                  <a:lnTo>
                    <a:pt x="168" y="80"/>
                  </a:lnTo>
                  <a:lnTo>
                    <a:pt x="168" y="80"/>
                  </a:lnTo>
                  <a:lnTo>
                    <a:pt x="168" y="90"/>
                  </a:lnTo>
                  <a:lnTo>
                    <a:pt x="168" y="90"/>
                  </a:lnTo>
                  <a:lnTo>
                    <a:pt x="171" y="90"/>
                  </a:lnTo>
                  <a:lnTo>
                    <a:pt x="171" y="94"/>
                  </a:lnTo>
                  <a:lnTo>
                    <a:pt x="171" y="94"/>
                  </a:lnTo>
                  <a:lnTo>
                    <a:pt x="171" y="97"/>
                  </a:lnTo>
                  <a:lnTo>
                    <a:pt x="171" y="97"/>
                  </a:lnTo>
                  <a:lnTo>
                    <a:pt x="168" y="104"/>
                  </a:lnTo>
                  <a:lnTo>
                    <a:pt x="168" y="104"/>
                  </a:lnTo>
                  <a:lnTo>
                    <a:pt x="164" y="107"/>
                  </a:lnTo>
                  <a:lnTo>
                    <a:pt x="164" y="107"/>
                  </a:lnTo>
                  <a:lnTo>
                    <a:pt x="161" y="104"/>
                  </a:lnTo>
                  <a:lnTo>
                    <a:pt x="161" y="104"/>
                  </a:lnTo>
                  <a:lnTo>
                    <a:pt x="161" y="101"/>
                  </a:lnTo>
                  <a:lnTo>
                    <a:pt x="161" y="101"/>
                  </a:lnTo>
                  <a:lnTo>
                    <a:pt x="158" y="94"/>
                  </a:lnTo>
                  <a:lnTo>
                    <a:pt x="158" y="94"/>
                  </a:lnTo>
                  <a:lnTo>
                    <a:pt x="158" y="94"/>
                  </a:lnTo>
                  <a:lnTo>
                    <a:pt x="158" y="94"/>
                  </a:lnTo>
                  <a:lnTo>
                    <a:pt x="158" y="94"/>
                  </a:lnTo>
                  <a:lnTo>
                    <a:pt x="154" y="90"/>
                  </a:lnTo>
                  <a:lnTo>
                    <a:pt x="154" y="90"/>
                  </a:lnTo>
                  <a:lnTo>
                    <a:pt x="148" y="90"/>
                  </a:lnTo>
                  <a:lnTo>
                    <a:pt x="148" y="90"/>
                  </a:lnTo>
                  <a:lnTo>
                    <a:pt x="144" y="90"/>
                  </a:lnTo>
                  <a:lnTo>
                    <a:pt x="144" y="90"/>
                  </a:lnTo>
                  <a:lnTo>
                    <a:pt x="144" y="87"/>
                  </a:lnTo>
                  <a:lnTo>
                    <a:pt x="144" y="87"/>
                  </a:lnTo>
                  <a:lnTo>
                    <a:pt x="141" y="87"/>
                  </a:lnTo>
                  <a:lnTo>
                    <a:pt x="138" y="87"/>
                  </a:lnTo>
                  <a:lnTo>
                    <a:pt x="138" y="87"/>
                  </a:lnTo>
                  <a:lnTo>
                    <a:pt x="134" y="84"/>
                  </a:lnTo>
                  <a:lnTo>
                    <a:pt x="134" y="84"/>
                  </a:lnTo>
                  <a:lnTo>
                    <a:pt x="131" y="90"/>
                  </a:lnTo>
                  <a:lnTo>
                    <a:pt x="131" y="90"/>
                  </a:lnTo>
                  <a:lnTo>
                    <a:pt x="131" y="90"/>
                  </a:lnTo>
                  <a:lnTo>
                    <a:pt x="131" y="94"/>
                  </a:lnTo>
                  <a:lnTo>
                    <a:pt x="131" y="94"/>
                  </a:lnTo>
                  <a:lnTo>
                    <a:pt x="128" y="90"/>
                  </a:lnTo>
                  <a:lnTo>
                    <a:pt x="128" y="90"/>
                  </a:lnTo>
                  <a:lnTo>
                    <a:pt x="117" y="90"/>
                  </a:lnTo>
                  <a:lnTo>
                    <a:pt x="117" y="90"/>
                  </a:lnTo>
                  <a:lnTo>
                    <a:pt x="114" y="90"/>
                  </a:lnTo>
                  <a:lnTo>
                    <a:pt x="114" y="90"/>
                  </a:lnTo>
                  <a:lnTo>
                    <a:pt x="111" y="97"/>
                  </a:lnTo>
                  <a:lnTo>
                    <a:pt x="107" y="101"/>
                  </a:lnTo>
                  <a:lnTo>
                    <a:pt x="107" y="101"/>
                  </a:lnTo>
                  <a:lnTo>
                    <a:pt x="104" y="101"/>
                  </a:lnTo>
                  <a:lnTo>
                    <a:pt x="104" y="101"/>
                  </a:lnTo>
                  <a:lnTo>
                    <a:pt x="97" y="101"/>
                  </a:lnTo>
                  <a:lnTo>
                    <a:pt x="97" y="101"/>
                  </a:lnTo>
                  <a:lnTo>
                    <a:pt x="94" y="97"/>
                  </a:lnTo>
                  <a:lnTo>
                    <a:pt x="94" y="97"/>
                  </a:lnTo>
                  <a:lnTo>
                    <a:pt x="87" y="97"/>
                  </a:lnTo>
                  <a:lnTo>
                    <a:pt x="84" y="101"/>
                  </a:lnTo>
                  <a:lnTo>
                    <a:pt x="84" y="101"/>
                  </a:lnTo>
                  <a:lnTo>
                    <a:pt x="74" y="101"/>
                  </a:lnTo>
                  <a:lnTo>
                    <a:pt x="74" y="101"/>
                  </a:lnTo>
                  <a:lnTo>
                    <a:pt x="67" y="97"/>
                  </a:lnTo>
                  <a:lnTo>
                    <a:pt x="67" y="97"/>
                  </a:lnTo>
                  <a:lnTo>
                    <a:pt x="64" y="101"/>
                  </a:lnTo>
                  <a:lnTo>
                    <a:pt x="60" y="101"/>
                  </a:lnTo>
                  <a:lnTo>
                    <a:pt x="60" y="101"/>
                  </a:lnTo>
                  <a:lnTo>
                    <a:pt x="60" y="97"/>
                  </a:lnTo>
                  <a:lnTo>
                    <a:pt x="64" y="97"/>
                  </a:lnTo>
                  <a:lnTo>
                    <a:pt x="64" y="94"/>
                  </a:lnTo>
                  <a:lnTo>
                    <a:pt x="67" y="90"/>
                  </a:lnTo>
                  <a:lnTo>
                    <a:pt x="67" y="90"/>
                  </a:lnTo>
                  <a:lnTo>
                    <a:pt x="60" y="90"/>
                  </a:lnTo>
                  <a:lnTo>
                    <a:pt x="57" y="90"/>
                  </a:lnTo>
                  <a:lnTo>
                    <a:pt x="57" y="90"/>
                  </a:lnTo>
                  <a:lnTo>
                    <a:pt x="54" y="90"/>
                  </a:lnTo>
                  <a:lnTo>
                    <a:pt x="54" y="90"/>
                  </a:lnTo>
                  <a:lnTo>
                    <a:pt x="50" y="94"/>
                  </a:lnTo>
                  <a:lnTo>
                    <a:pt x="50" y="94"/>
                  </a:lnTo>
                  <a:lnTo>
                    <a:pt x="50" y="90"/>
                  </a:lnTo>
                  <a:lnTo>
                    <a:pt x="50" y="90"/>
                  </a:lnTo>
                  <a:lnTo>
                    <a:pt x="50" y="90"/>
                  </a:lnTo>
                  <a:lnTo>
                    <a:pt x="47" y="90"/>
                  </a:lnTo>
                  <a:lnTo>
                    <a:pt x="47" y="90"/>
                  </a:lnTo>
                  <a:lnTo>
                    <a:pt x="44" y="94"/>
                  </a:lnTo>
                  <a:lnTo>
                    <a:pt x="44" y="94"/>
                  </a:lnTo>
                  <a:lnTo>
                    <a:pt x="47" y="97"/>
                  </a:lnTo>
                  <a:lnTo>
                    <a:pt x="47" y="97"/>
                  </a:lnTo>
                  <a:lnTo>
                    <a:pt x="44" y="101"/>
                  </a:lnTo>
                  <a:lnTo>
                    <a:pt x="44" y="101"/>
                  </a:lnTo>
                  <a:lnTo>
                    <a:pt x="40" y="104"/>
                  </a:lnTo>
                  <a:lnTo>
                    <a:pt x="40" y="104"/>
                  </a:lnTo>
                  <a:lnTo>
                    <a:pt x="37" y="107"/>
                  </a:lnTo>
                  <a:lnTo>
                    <a:pt x="37" y="107"/>
                  </a:lnTo>
                  <a:lnTo>
                    <a:pt x="30" y="111"/>
                  </a:lnTo>
                  <a:lnTo>
                    <a:pt x="30" y="111"/>
                  </a:lnTo>
                  <a:lnTo>
                    <a:pt x="30" y="107"/>
                  </a:lnTo>
                  <a:lnTo>
                    <a:pt x="30" y="104"/>
                  </a:lnTo>
                  <a:lnTo>
                    <a:pt x="30" y="104"/>
                  </a:lnTo>
                  <a:lnTo>
                    <a:pt x="30" y="101"/>
                  </a:lnTo>
                  <a:lnTo>
                    <a:pt x="27" y="101"/>
                  </a:lnTo>
                  <a:lnTo>
                    <a:pt x="27" y="101"/>
                  </a:lnTo>
                  <a:lnTo>
                    <a:pt x="23" y="104"/>
                  </a:lnTo>
                  <a:lnTo>
                    <a:pt x="23" y="104"/>
                  </a:lnTo>
                  <a:lnTo>
                    <a:pt x="13" y="97"/>
                  </a:lnTo>
                  <a:lnTo>
                    <a:pt x="13" y="97"/>
                  </a:lnTo>
                  <a:lnTo>
                    <a:pt x="10" y="97"/>
                  </a:lnTo>
                  <a:lnTo>
                    <a:pt x="10" y="97"/>
                  </a:lnTo>
                  <a:lnTo>
                    <a:pt x="7" y="90"/>
                  </a:lnTo>
                  <a:lnTo>
                    <a:pt x="3" y="87"/>
                  </a:lnTo>
                  <a:lnTo>
                    <a:pt x="3" y="87"/>
                  </a:lnTo>
                  <a:lnTo>
                    <a:pt x="3" y="87"/>
                  </a:lnTo>
                  <a:lnTo>
                    <a:pt x="3" y="87"/>
                  </a:lnTo>
                  <a:close/>
                </a:path>
              </a:pathLst>
            </a:custGeom>
            <a:solidFill>
              <a:srgbClr val="C0C0C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EYInterstate" pitchFamily="2" charset="0"/>
                <a:cs typeface="Arial" charset="0"/>
              </a:endParaRPr>
            </a:p>
          </p:txBody>
        </p:sp>
        <p:sp>
          <p:nvSpPr>
            <p:cNvPr id="59" name="Freeform 73"/>
            <p:cNvSpPr>
              <a:spLocks/>
            </p:cNvSpPr>
            <p:nvPr/>
          </p:nvSpPr>
          <p:spPr bwMode="auto">
            <a:xfrm>
              <a:off x="2331" y="3053"/>
              <a:ext cx="22" cy="23"/>
            </a:xfrm>
            <a:custGeom>
              <a:avLst/>
              <a:gdLst/>
              <a:ahLst/>
              <a:cxnLst>
                <a:cxn ang="0">
                  <a:pos x="21" y="17"/>
                </a:cxn>
                <a:cxn ang="0">
                  <a:pos x="21" y="17"/>
                </a:cxn>
                <a:cxn ang="0">
                  <a:pos x="10" y="21"/>
                </a:cxn>
                <a:cxn ang="0">
                  <a:pos x="7" y="24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0" y="21"/>
                </a:cxn>
                <a:cxn ang="0">
                  <a:pos x="0" y="1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10" y="0"/>
                </a:cxn>
                <a:cxn ang="0">
                  <a:pos x="10" y="0"/>
                </a:cxn>
                <a:cxn ang="0">
                  <a:pos x="17" y="0"/>
                </a:cxn>
                <a:cxn ang="0">
                  <a:pos x="21" y="4"/>
                </a:cxn>
                <a:cxn ang="0">
                  <a:pos x="21" y="4"/>
                </a:cxn>
                <a:cxn ang="0">
                  <a:pos x="21" y="11"/>
                </a:cxn>
                <a:cxn ang="0">
                  <a:pos x="21" y="11"/>
                </a:cxn>
                <a:cxn ang="0">
                  <a:pos x="21" y="17"/>
                </a:cxn>
                <a:cxn ang="0">
                  <a:pos x="21" y="17"/>
                </a:cxn>
              </a:cxnLst>
              <a:rect l="0" t="0" r="r" b="b"/>
              <a:pathLst>
                <a:path w="21" h="24">
                  <a:moveTo>
                    <a:pt x="21" y="17"/>
                  </a:moveTo>
                  <a:lnTo>
                    <a:pt x="21" y="17"/>
                  </a:lnTo>
                  <a:lnTo>
                    <a:pt x="10" y="21"/>
                  </a:lnTo>
                  <a:lnTo>
                    <a:pt x="7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0" y="21"/>
                  </a:lnTo>
                  <a:lnTo>
                    <a:pt x="0" y="14"/>
                  </a:lnTo>
                  <a:lnTo>
                    <a:pt x="0" y="4"/>
                  </a:lnTo>
                  <a:lnTo>
                    <a:pt x="0" y="4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7" y="0"/>
                  </a:lnTo>
                  <a:lnTo>
                    <a:pt x="21" y="4"/>
                  </a:lnTo>
                  <a:lnTo>
                    <a:pt x="21" y="4"/>
                  </a:lnTo>
                  <a:lnTo>
                    <a:pt x="21" y="11"/>
                  </a:lnTo>
                  <a:lnTo>
                    <a:pt x="21" y="11"/>
                  </a:lnTo>
                  <a:lnTo>
                    <a:pt x="21" y="17"/>
                  </a:lnTo>
                  <a:lnTo>
                    <a:pt x="21" y="17"/>
                  </a:lnTo>
                  <a:close/>
                </a:path>
              </a:pathLst>
            </a:custGeom>
            <a:solidFill>
              <a:srgbClr val="C0C0C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EYInterstate" pitchFamily="2" charset="0"/>
                <a:cs typeface="Arial" charset="0"/>
              </a:endParaRPr>
            </a:p>
          </p:txBody>
        </p:sp>
        <p:sp>
          <p:nvSpPr>
            <p:cNvPr id="60" name="Freeform 74"/>
            <p:cNvSpPr>
              <a:spLocks/>
            </p:cNvSpPr>
            <p:nvPr/>
          </p:nvSpPr>
          <p:spPr bwMode="auto">
            <a:xfrm>
              <a:off x="3304" y="3142"/>
              <a:ext cx="113" cy="236"/>
            </a:xfrm>
            <a:custGeom>
              <a:avLst/>
              <a:gdLst/>
              <a:ahLst/>
              <a:cxnLst>
                <a:cxn ang="0">
                  <a:pos x="23" y="70"/>
                </a:cxn>
                <a:cxn ang="0">
                  <a:pos x="16" y="87"/>
                </a:cxn>
                <a:cxn ang="0">
                  <a:pos x="16" y="87"/>
                </a:cxn>
                <a:cxn ang="0">
                  <a:pos x="10" y="100"/>
                </a:cxn>
                <a:cxn ang="0">
                  <a:pos x="16" y="121"/>
                </a:cxn>
                <a:cxn ang="0">
                  <a:pos x="10" y="141"/>
                </a:cxn>
                <a:cxn ang="0">
                  <a:pos x="16" y="168"/>
                </a:cxn>
                <a:cxn ang="0">
                  <a:pos x="16" y="178"/>
                </a:cxn>
                <a:cxn ang="0">
                  <a:pos x="10" y="174"/>
                </a:cxn>
                <a:cxn ang="0">
                  <a:pos x="37" y="205"/>
                </a:cxn>
                <a:cxn ang="0">
                  <a:pos x="33" y="221"/>
                </a:cxn>
                <a:cxn ang="0">
                  <a:pos x="37" y="248"/>
                </a:cxn>
                <a:cxn ang="0">
                  <a:pos x="53" y="248"/>
                </a:cxn>
                <a:cxn ang="0">
                  <a:pos x="40" y="225"/>
                </a:cxn>
                <a:cxn ang="0">
                  <a:pos x="53" y="228"/>
                </a:cxn>
                <a:cxn ang="0">
                  <a:pos x="67" y="225"/>
                </a:cxn>
                <a:cxn ang="0">
                  <a:pos x="67" y="218"/>
                </a:cxn>
                <a:cxn ang="0">
                  <a:pos x="74" y="221"/>
                </a:cxn>
                <a:cxn ang="0">
                  <a:pos x="74" y="215"/>
                </a:cxn>
                <a:cxn ang="0">
                  <a:pos x="70" y="208"/>
                </a:cxn>
                <a:cxn ang="0">
                  <a:pos x="74" y="201"/>
                </a:cxn>
                <a:cxn ang="0">
                  <a:pos x="77" y="198"/>
                </a:cxn>
                <a:cxn ang="0">
                  <a:pos x="87" y="194"/>
                </a:cxn>
                <a:cxn ang="0">
                  <a:pos x="97" y="188"/>
                </a:cxn>
                <a:cxn ang="0">
                  <a:pos x="97" y="178"/>
                </a:cxn>
                <a:cxn ang="0">
                  <a:pos x="107" y="171"/>
                </a:cxn>
                <a:cxn ang="0">
                  <a:pos x="114" y="171"/>
                </a:cxn>
                <a:cxn ang="0">
                  <a:pos x="111" y="161"/>
                </a:cxn>
                <a:cxn ang="0">
                  <a:pos x="107" y="141"/>
                </a:cxn>
                <a:cxn ang="0">
                  <a:pos x="104" y="137"/>
                </a:cxn>
                <a:cxn ang="0">
                  <a:pos x="94" y="134"/>
                </a:cxn>
                <a:cxn ang="0">
                  <a:pos x="80" y="124"/>
                </a:cxn>
                <a:cxn ang="0">
                  <a:pos x="80" y="117"/>
                </a:cxn>
                <a:cxn ang="0">
                  <a:pos x="80" y="107"/>
                </a:cxn>
                <a:cxn ang="0">
                  <a:pos x="80" y="97"/>
                </a:cxn>
                <a:cxn ang="0">
                  <a:pos x="80" y="84"/>
                </a:cxn>
                <a:cxn ang="0">
                  <a:pos x="84" y="57"/>
                </a:cxn>
                <a:cxn ang="0">
                  <a:pos x="87" y="50"/>
                </a:cxn>
                <a:cxn ang="0">
                  <a:pos x="77" y="33"/>
                </a:cxn>
                <a:cxn ang="0">
                  <a:pos x="67" y="26"/>
                </a:cxn>
                <a:cxn ang="0">
                  <a:pos x="57" y="13"/>
                </a:cxn>
                <a:cxn ang="0">
                  <a:pos x="50" y="3"/>
                </a:cxn>
                <a:cxn ang="0">
                  <a:pos x="40" y="10"/>
                </a:cxn>
                <a:cxn ang="0">
                  <a:pos x="26" y="13"/>
                </a:cxn>
                <a:cxn ang="0">
                  <a:pos x="26" y="3"/>
                </a:cxn>
                <a:cxn ang="0">
                  <a:pos x="20" y="0"/>
                </a:cxn>
                <a:cxn ang="0">
                  <a:pos x="13" y="10"/>
                </a:cxn>
                <a:cxn ang="0">
                  <a:pos x="6" y="20"/>
                </a:cxn>
                <a:cxn ang="0">
                  <a:pos x="0" y="23"/>
                </a:cxn>
                <a:cxn ang="0">
                  <a:pos x="6" y="33"/>
                </a:cxn>
                <a:cxn ang="0">
                  <a:pos x="13" y="47"/>
                </a:cxn>
                <a:cxn ang="0">
                  <a:pos x="13" y="60"/>
                </a:cxn>
                <a:cxn ang="0">
                  <a:pos x="6" y="67"/>
                </a:cxn>
              </a:cxnLst>
              <a:rect l="0" t="0" r="r" b="b"/>
              <a:pathLst>
                <a:path w="114" h="252">
                  <a:moveTo>
                    <a:pt x="6" y="67"/>
                  </a:moveTo>
                  <a:lnTo>
                    <a:pt x="6" y="67"/>
                  </a:lnTo>
                  <a:lnTo>
                    <a:pt x="23" y="70"/>
                  </a:lnTo>
                  <a:lnTo>
                    <a:pt x="23" y="70"/>
                  </a:lnTo>
                  <a:lnTo>
                    <a:pt x="20" y="84"/>
                  </a:lnTo>
                  <a:lnTo>
                    <a:pt x="20" y="84"/>
                  </a:lnTo>
                  <a:lnTo>
                    <a:pt x="16" y="84"/>
                  </a:lnTo>
                  <a:lnTo>
                    <a:pt x="16" y="87"/>
                  </a:lnTo>
                  <a:lnTo>
                    <a:pt x="16" y="87"/>
                  </a:lnTo>
                  <a:lnTo>
                    <a:pt x="16" y="87"/>
                  </a:lnTo>
                  <a:lnTo>
                    <a:pt x="16" y="87"/>
                  </a:lnTo>
                  <a:lnTo>
                    <a:pt x="16" y="87"/>
                  </a:lnTo>
                  <a:lnTo>
                    <a:pt x="16" y="94"/>
                  </a:lnTo>
                  <a:lnTo>
                    <a:pt x="10" y="97"/>
                  </a:lnTo>
                  <a:lnTo>
                    <a:pt x="10" y="97"/>
                  </a:lnTo>
                  <a:lnTo>
                    <a:pt x="10" y="100"/>
                  </a:lnTo>
                  <a:lnTo>
                    <a:pt x="13" y="104"/>
                  </a:lnTo>
                  <a:lnTo>
                    <a:pt x="13" y="104"/>
                  </a:lnTo>
                  <a:lnTo>
                    <a:pt x="16" y="110"/>
                  </a:lnTo>
                  <a:lnTo>
                    <a:pt x="16" y="121"/>
                  </a:lnTo>
                  <a:lnTo>
                    <a:pt x="16" y="144"/>
                  </a:lnTo>
                  <a:lnTo>
                    <a:pt x="16" y="144"/>
                  </a:lnTo>
                  <a:lnTo>
                    <a:pt x="10" y="141"/>
                  </a:lnTo>
                  <a:lnTo>
                    <a:pt x="10" y="141"/>
                  </a:lnTo>
                  <a:lnTo>
                    <a:pt x="6" y="161"/>
                  </a:lnTo>
                  <a:lnTo>
                    <a:pt x="6" y="161"/>
                  </a:lnTo>
                  <a:lnTo>
                    <a:pt x="16" y="168"/>
                  </a:lnTo>
                  <a:lnTo>
                    <a:pt x="16" y="168"/>
                  </a:lnTo>
                  <a:lnTo>
                    <a:pt x="13" y="168"/>
                  </a:lnTo>
                  <a:lnTo>
                    <a:pt x="13" y="171"/>
                  </a:lnTo>
                  <a:lnTo>
                    <a:pt x="13" y="171"/>
                  </a:lnTo>
                  <a:lnTo>
                    <a:pt x="16" y="178"/>
                  </a:lnTo>
                  <a:lnTo>
                    <a:pt x="16" y="178"/>
                  </a:lnTo>
                  <a:lnTo>
                    <a:pt x="10" y="178"/>
                  </a:lnTo>
                  <a:lnTo>
                    <a:pt x="10" y="178"/>
                  </a:lnTo>
                  <a:lnTo>
                    <a:pt x="10" y="174"/>
                  </a:lnTo>
                  <a:lnTo>
                    <a:pt x="6" y="181"/>
                  </a:lnTo>
                  <a:lnTo>
                    <a:pt x="6" y="181"/>
                  </a:lnTo>
                  <a:lnTo>
                    <a:pt x="26" y="194"/>
                  </a:lnTo>
                  <a:lnTo>
                    <a:pt x="37" y="205"/>
                  </a:lnTo>
                  <a:lnTo>
                    <a:pt x="43" y="218"/>
                  </a:lnTo>
                  <a:lnTo>
                    <a:pt x="43" y="221"/>
                  </a:lnTo>
                  <a:lnTo>
                    <a:pt x="43" y="221"/>
                  </a:lnTo>
                  <a:lnTo>
                    <a:pt x="33" y="221"/>
                  </a:lnTo>
                  <a:lnTo>
                    <a:pt x="33" y="221"/>
                  </a:lnTo>
                  <a:lnTo>
                    <a:pt x="30" y="235"/>
                  </a:lnTo>
                  <a:lnTo>
                    <a:pt x="37" y="248"/>
                  </a:lnTo>
                  <a:lnTo>
                    <a:pt x="37" y="248"/>
                  </a:lnTo>
                  <a:lnTo>
                    <a:pt x="50" y="252"/>
                  </a:lnTo>
                  <a:lnTo>
                    <a:pt x="57" y="252"/>
                  </a:lnTo>
                  <a:lnTo>
                    <a:pt x="53" y="248"/>
                  </a:lnTo>
                  <a:lnTo>
                    <a:pt x="53" y="248"/>
                  </a:lnTo>
                  <a:lnTo>
                    <a:pt x="47" y="245"/>
                  </a:lnTo>
                  <a:lnTo>
                    <a:pt x="43" y="238"/>
                  </a:lnTo>
                  <a:lnTo>
                    <a:pt x="40" y="225"/>
                  </a:lnTo>
                  <a:lnTo>
                    <a:pt x="40" y="225"/>
                  </a:lnTo>
                  <a:lnTo>
                    <a:pt x="47" y="228"/>
                  </a:lnTo>
                  <a:lnTo>
                    <a:pt x="47" y="228"/>
                  </a:lnTo>
                  <a:lnTo>
                    <a:pt x="53" y="228"/>
                  </a:lnTo>
                  <a:lnTo>
                    <a:pt x="53" y="228"/>
                  </a:lnTo>
                  <a:lnTo>
                    <a:pt x="57" y="228"/>
                  </a:lnTo>
                  <a:lnTo>
                    <a:pt x="60" y="231"/>
                  </a:lnTo>
                  <a:lnTo>
                    <a:pt x="60" y="231"/>
                  </a:lnTo>
                  <a:lnTo>
                    <a:pt x="67" y="225"/>
                  </a:lnTo>
                  <a:lnTo>
                    <a:pt x="67" y="225"/>
                  </a:lnTo>
                  <a:lnTo>
                    <a:pt x="67" y="221"/>
                  </a:lnTo>
                  <a:lnTo>
                    <a:pt x="67" y="218"/>
                  </a:lnTo>
                  <a:lnTo>
                    <a:pt x="67" y="218"/>
                  </a:lnTo>
                  <a:lnTo>
                    <a:pt x="67" y="218"/>
                  </a:lnTo>
                  <a:lnTo>
                    <a:pt x="70" y="218"/>
                  </a:lnTo>
                  <a:lnTo>
                    <a:pt x="70" y="218"/>
                  </a:lnTo>
                  <a:lnTo>
                    <a:pt x="74" y="221"/>
                  </a:lnTo>
                  <a:lnTo>
                    <a:pt x="74" y="221"/>
                  </a:lnTo>
                  <a:lnTo>
                    <a:pt x="74" y="218"/>
                  </a:lnTo>
                  <a:lnTo>
                    <a:pt x="74" y="218"/>
                  </a:lnTo>
                  <a:lnTo>
                    <a:pt x="74" y="215"/>
                  </a:lnTo>
                  <a:lnTo>
                    <a:pt x="74" y="215"/>
                  </a:lnTo>
                  <a:lnTo>
                    <a:pt x="70" y="208"/>
                  </a:lnTo>
                  <a:lnTo>
                    <a:pt x="70" y="208"/>
                  </a:lnTo>
                  <a:lnTo>
                    <a:pt x="70" y="208"/>
                  </a:lnTo>
                  <a:lnTo>
                    <a:pt x="74" y="208"/>
                  </a:lnTo>
                  <a:lnTo>
                    <a:pt x="74" y="208"/>
                  </a:lnTo>
                  <a:lnTo>
                    <a:pt x="74" y="205"/>
                  </a:lnTo>
                  <a:lnTo>
                    <a:pt x="74" y="201"/>
                  </a:lnTo>
                  <a:lnTo>
                    <a:pt x="74" y="201"/>
                  </a:lnTo>
                  <a:lnTo>
                    <a:pt x="74" y="198"/>
                  </a:lnTo>
                  <a:lnTo>
                    <a:pt x="77" y="198"/>
                  </a:lnTo>
                  <a:lnTo>
                    <a:pt x="77" y="198"/>
                  </a:lnTo>
                  <a:lnTo>
                    <a:pt x="80" y="198"/>
                  </a:lnTo>
                  <a:lnTo>
                    <a:pt x="80" y="198"/>
                  </a:lnTo>
                  <a:lnTo>
                    <a:pt x="87" y="194"/>
                  </a:lnTo>
                  <a:lnTo>
                    <a:pt x="87" y="194"/>
                  </a:lnTo>
                  <a:lnTo>
                    <a:pt x="94" y="194"/>
                  </a:lnTo>
                  <a:lnTo>
                    <a:pt x="94" y="194"/>
                  </a:lnTo>
                  <a:lnTo>
                    <a:pt x="97" y="188"/>
                  </a:lnTo>
                  <a:lnTo>
                    <a:pt x="97" y="188"/>
                  </a:lnTo>
                  <a:lnTo>
                    <a:pt x="97" y="181"/>
                  </a:lnTo>
                  <a:lnTo>
                    <a:pt x="97" y="181"/>
                  </a:lnTo>
                  <a:lnTo>
                    <a:pt x="97" y="178"/>
                  </a:lnTo>
                  <a:lnTo>
                    <a:pt x="97" y="178"/>
                  </a:lnTo>
                  <a:lnTo>
                    <a:pt x="104" y="168"/>
                  </a:lnTo>
                  <a:lnTo>
                    <a:pt x="104" y="168"/>
                  </a:lnTo>
                  <a:lnTo>
                    <a:pt x="104" y="168"/>
                  </a:lnTo>
                  <a:lnTo>
                    <a:pt x="107" y="171"/>
                  </a:lnTo>
                  <a:lnTo>
                    <a:pt x="107" y="171"/>
                  </a:lnTo>
                  <a:lnTo>
                    <a:pt x="111" y="171"/>
                  </a:lnTo>
                  <a:lnTo>
                    <a:pt x="111" y="171"/>
                  </a:lnTo>
                  <a:lnTo>
                    <a:pt x="114" y="171"/>
                  </a:lnTo>
                  <a:lnTo>
                    <a:pt x="114" y="164"/>
                  </a:lnTo>
                  <a:lnTo>
                    <a:pt x="114" y="164"/>
                  </a:lnTo>
                  <a:lnTo>
                    <a:pt x="111" y="161"/>
                  </a:lnTo>
                  <a:lnTo>
                    <a:pt x="111" y="161"/>
                  </a:lnTo>
                  <a:lnTo>
                    <a:pt x="114" y="151"/>
                  </a:lnTo>
                  <a:lnTo>
                    <a:pt x="114" y="151"/>
                  </a:lnTo>
                  <a:lnTo>
                    <a:pt x="111" y="144"/>
                  </a:lnTo>
                  <a:lnTo>
                    <a:pt x="107" y="141"/>
                  </a:lnTo>
                  <a:lnTo>
                    <a:pt x="104" y="141"/>
                  </a:lnTo>
                  <a:lnTo>
                    <a:pt x="104" y="141"/>
                  </a:lnTo>
                  <a:lnTo>
                    <a:pt x="104" y="137"/>
                  </a:lnTo>
                  <a:lnTo>
                    <a:pt x="104" y="137"/>
                  </a:lnTo>
                  <a:lnTo>
                    <a:pt x="100" y="134"/>
                  </a:lnTo>
                  <a:lnTo>
                    <a:pt x="97" y="137"/>
                  </a:lnTo>
                  <a:lnTo>
                    <a:pt x="94" y="137"/>
                  </a:lnTo>
                  <a:lnTo>
                    <a:pt x="94" y="134"/>
                  </a:lnTo>
                  <a:lnTo>
                    <a:pt x="94" y="134"/>
                  </a:lnTo>
                  <a:lnTo>
                    <a:pt x="87" y="124"/>
                  </a:lnTo>
                  <a:lnTo>
                    <a:pt x="87" y="124"/>
                  </a:lnTo>
                  <a:lnTo>
                    <a:pt x="80" y="124"/>
                  </a:lnTo>
                  <a:lnTo>
                    <a:pt x="80" y="124"/>
                  </a:lnTo>
                  <a:lnTo>
                    <a:pt x="80" y="121"/>
                  </a:lnTo>
                  <a:lnTo>
                    <a:pt x="80" y="117"/>
                  </a:lnTo>
                  <a:lnTo>
                    <a:pt x="80" y="117"/>
                  </a:lnTo>
                  <a:lnTo>
                    <a:pt x="77" y="110"/>
                  </a:lnTo>
                  <a:lnTo>
                    <a:pt x="77" y="107"/>
                  </a:lnTo>
                  <a:lnTo>
                    <a:pt x="77" y="107"/>
                  </a:lnTo>
                  <a:lnTo>
                    <a:pt x="80" y="107"/>
                  </a:lnTo>
                  <a:lnTo>
                    <a:pt x="80" y="107"/>
                  </a:lnTo>
                  <a:lnTo>
                    <a:pt x="80" y="107"/>
                  </a:lnTo>
                  <a:lnTo>
                    <a:pt x="80" y="97"/>
                  </a:lnTo>
                  <a:lnTo>
                    <a:pt x="80" y="97"/>
                  </a:lnTo>
                  <a:lnTo>
                    <a:pt x="77" y="94"/>
                  </a:lnTo>
                  <a:lnTo>
                    <a:pt x="77" y="87"/>
                  </a:lnTo>
                  <a:lnTo>
                    <a:pt x="77" y="87"/>
                  </a:lnTo>
                  <a:lnTo>
                    <a:pt x="80" y="84"/>
                  </a:lnTo>
                  <a:lnTo>
                    <a:pt x="80" y="84"/>
                  </a:lnTo>
                  <a:lnTo>
                    <a:pt x="84" y="70"/>
                  </a:lnTo>
                  <a:lnTo>
                    <a:pt x="84" y="70"/>
                  </a:lnTo>
                  <a:lnTo>
                    <a:pt x="84" y="57"/>
                  </a:lnTo>
                  <a:lnTo>
                    <a:pt x="84" y="57"/>
                  </a:lnTo>
                  <a:lnTo>
                    <a:pt x="87" y="53"/>
                  </a:lnTo>
                  <a:lnTo>
                    <a:pt x="87" y="50"/>
                  </a:lnTo>
                  <a:lnTo>
                    <a:pt x="87" y="50"/>
                  </a:lnTo>
                  <a:lnTo>
                    <a:pt x="80" y="43"/>
                  </a:lnTo>
                  <a:lnTo>
                    <a:pt x="80" y="43"/>
                  </a:lnTo>
                  <a:lnTo>
                    <a:pt x="77" y="33"/>
                  </a:lnTo>
                  <a:lnTo>
                    <a:pt x="77" y="33"/>
                  </a:lnTo>
                  <a:lnTo>
                    <a:pt x="74" y="30"/>
                  </a:lnTo>
                  <a:lnTo>
                    <a:pt x="74" y="30"/>
                  </a:lnTo>
                  <a:lnTo>
                    <a:pt x="67" y="26"/>
                  </a:lnTo>
                  <a:lnTo>
                    <a:pt x="67" y="26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57" y="13"/>
                  </a:lnTo>
                  <a:lnTo>
                    <a:pt x="57" y="13"/>
                  </a:lnTo>
                  <a:lnTo>
                    <a:pt x="53" y="6"/>
                  </a:lnTo>
                  <a:lnTo>
                    <a:pt x="53" y="3"/>
                  </a:lnTo>
                  <a:lnTo>
                    <a:pt x="50" y="3"/>
                  </a:lnTo>
                  <a:lnTo>
                    <a:pt x="50" y="3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0" y="10"/>
                  </a:lnTo>
                  <a:lnTo>
                    <a:pt x="40" y="10"/>
                  </a:lnTo>
                  <a:lnTo>
                    <a:pt x="33" y="13"/>
                  </a:lnTo>
                  <a:lnTo>
                    <a:pt x="33" y="13"/>
                  </a:lnTo>
                  <a:lnTo>
                    <a:pt x="26" y="13"/>
                  </a:lnTo>
                  <a:lnTo>
                    <a:pt x="26" y="13"/>
                  </a:lnTo>
                  <a:lnTo>
                    <a:pt x="26" y="10"/>
                  </a:lnTo>
                  <a:lnTo>
                    <a:pt x="26" y="6"/>
                  </a:lnTo>
                  <a:lnTo>
                    <a:pt x="26" y="6"/>
                  </a:lnTo>
                  <a:lnTo>
                    <a:pt x="26" y="3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16" y="0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3" y="10"/>
                  </a:lnTo>
                  <a:lnTo>
                    <a:pt x="13" y="10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20"/>
                  </a:lnTo>
                  <a:lnTo>
                    <a:pt x="6" y="20"/>
                  </a:lnTo>
                  <a:lnTo>
                    <a:pt x="3" y="20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3" y="30"/>
                  </a:lnTo>
                  <a:lnTo>
                    <a:pt x="3" y="30"/>
                  </a:lnTo>
                  <a:lnTo>
                    <a:pt x="6" y="33"/>
                  </a:lnTo>
                  <a:lnTo>
                    <a:pt x="6" y="33"/>
                  </a:lnTo>
                  <a:lnTo>
                    <a:pt x="10" y="40"/>
                  </a:lnTo>
                  <a:lnTo>
                    <a:pt x="10" y="40"/>
                  </a:lnTo>
                  <a:lnTo>
                    <a:pt x="13" y="47"/>
                  </a:lnTo>
                  <a:lnTo>
                    <a:pt x="13" y="47"/>
                  </a:lnTo>
                  <a:lnTo>
                    <a:pt x="13" y="53"/>
                  </a:lnTo>
                  <a:lnTo>
                    <a:pt x="13" y="53"/>
                  </a:lnTo>
                  <a:lnTo>
                    <a:pt x="13" y="60"/>
                  </a:lnTo>
                  <a:lnTo>
                    <a:pt x="13" y="60"/>
                  </a:lnTo>
                  <a:lnTo>
                    <a:pt x="10" y="63"/>
                  </a:lnTo>
                  <a:lnTo>
                    <a:pt x="10" y="63"/>
                  </a:lnTo>
                  <a:lnTo>
                    <a:pt x="6" y="67"/>
                  </a:lnTo>
                  <a:lnTo>
                    <a:pt x="6" y="67"/>
                  </a:lnTo>
                  <a:close/>
                </a:path>
              </a:pathLst>
            </a:custGeom>
            <a:solidFill>
              <a:srgbClr val="C0C0C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EYInterstate" pitchFamily="2" charset="0"/>
                <a:cs typeface="Arial" charset="0"/>
              </a:endParaRPr>
            </a:p>
          </p:txBody>
        </p:sp>
      </p:grpSp>
      <p:sp>
        <p:nvSpPr>
          <p:cNvPr id="61" name="Oval 107"/>
          <p:cNvSpPr>
            <a:spLocks noChangeArrowheads="1"/>
          </p:cNvSpPr>
          <p:nvPr/>
        </p:nvSpPr>
        <p:spPr bwMode="auto">
          <a:xfrm>
            <a:off x="6804248" y="1556792"/>
            <a:ext cx="1967209" cy="925191"/>
          </a:xfrm>
          <a:prstGeom prst="ellipse">
            <a:avLst/>
          </a:prstGeom>
          <a:solidFill>
            <a:srgbClr val="0077A9"/>
          </a:solidFill>
          <a:ln>
            <a:solidFill>
              <a:srgbClr val="FFFFFF"/>
            </a:solidFill>
            <a:headEnd/>
            <a:tailEnd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algn="ctr">
              <a:lnSpc>
                <a:spcPct val="90000"/>
              </a:lnSpc>
              <a:spcBef>
                <a:spcPct val="50000"/>
              </a:spcBef>
              <a:defRPr/>
            </a:pPr>
            <a:r>
              <a:rPr lang="fr-FR" sz="1200" b="1" dirty="0">
                <a:solidFill>
                  <a:srgbClr val="FFFFFF"/>
                </a:solidFill>
                <a:latin typeface="Century Gothic" pitchFamily="34" charset="0"/>
              </a:rPr>
              <a:t>Accord de Libre </a:t>
            </a:r>
            <a:r>
              <a:rPr lang="fr-FR" sz="1200" b="1" dirty="0" smtClean="0">
                <a:solidFill>
                  <a:srgbClr val="FFFFFF"/>
                </a:solidFill>
                <a:latin typeface="Century Gothic" pitchFamily="34" charset="0"/>
              </a:rPr>
              <a:t>échange </a:t>
            </a:r>
            <a:r>
              <a:rPr lang="fr-FR" sz="1200" b="1" dirty="0">
                <a:solidFill>
                  <a:srgbClr val="FFFFFF"/>
                </a:solidFill>
                <a:latin typeface="Century Gothic" pitchFamily="34" charset="0"/>
              </a:rPr>
              <a:t>avec l’UE</a:t>
            </a:r>
          </a:p>
        </p:txBody>
      </p:sp>
      <p:sp>
        <p:nvSpPr>
          <p:cNvPr id="62" name="Oval 111"/>
          <p:cNvSpPr>
            <a:spLocks noChangeArrowheads="1"/>
          </p:cNvSpPr>
          <p:nvPr/>
        </p:nvSpPr>
        <p:spPr bwMode="auto">
          <a:xfrm>
            <a:off x="7172331" y="4221088"/>
            <a:ext cx="1971669" cy="1017097"/>
          </a:xfrm>
          <a:prstGeom prst="ellipse">
            <a:avLst/>
          </a:prstGeom>
          <a:solidFill>
            <a:srgbClr val="0077A9"/>
          </a:solidFill>
          <a:ln>
            <a:solidFill>
              <a:srgbClr val="FFFFFF"/>
            </a:solidFill>
            <a:headEnd/>
            <a:tailEnd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algn="ctr">
              <a:lnSpc>
                <a:spcPct val="90000"/>
              </a:lnSpc>
              <a:spcBef>
                <a:spcPct val="50000"/>
              </a:spcBef>
              <a:defRPr/>
            </a:pPr>
            <a:r>
              <a:rPr lang="fr-FR" sz="1200" b="1" dirty="0">
                <a:solidFill>
                  <a:srgbClr val="FFFFFF"/>
                </a:solidFill>
                <a:latin typeface="Century Gothic" pitchFamily="34" charset="0"/>
              </a:rPr>
              <a:t>Accord de Libre Echange avec la Turquie</a:t>
            </a:r>
          </a:p>
        </p:txBody>
      </p:sp>
      <p:sp>
        <p:nvSpPr>
          <p:cNvPr id="3088" name="Oval 113"/>
          <p:cNvSpPr>
            <a:spLocks noChangeArrowheads="1"/>
          </p:cNvSpPr>
          <p:nvPr/>
        </p:nvSpPr>
        <p:spPr bwMode="auto">
          <a:xfrm>
            <a:off x="4172720" y="4581128"/>
            <a:ext cx="1911448" cy="864096"/>
          </a:xfrm>
          <a:prstGeom prst="ellipse">
            <a:avLst/>
          </a:prstGeom>
          <a:solidFill>
            <a:srgbClr val="0077A9"/>
          </a:solidFill>
          <a:ln w="9525" algn="ctr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>
              <a:lnSpc>
                <a:spcPct val="90000"/>
              </a:lnSpc>
            </a:pPr>
            <a:r>
              <a:rPr lang="fr-FR" sz="1200" b="1" dirty="0">
                <a:solidFill>
                  <a:schemeClr val="tx2"/>
                </a:solidFill>
                <a:latin typeface="Century Gothic" pitchFamily="34" charset="0"/>
              </a:rPr>
              <a:t>Accord Arabo-Méditerranéen AGADIR </a:t>
            </a:r>
          </a:p>
        </p:txBody>
      </p:sp>
      <p:sp>
        <p:nvSpPr>
          <p:cNvPr id="64" name="Rectangular Callout 130"/>
          <p:cNvSpPr/>
          <p:nvPr/>
        </p:nvSpPr>
        <p:spPr>
          <a:xfrm>
            <a:off x="4427984" y="1196752"/>
            <a:ext cx="2304256" cy="912937"/>
          </a:xfrm>
          <a:prstGeom prst="wedgeRectCallout">
            <a:avLst>
              <a:gd name="adj1" fmla="val 47824"/>
              <a:gd name="adj2" fmla="val 243221"/>
            </a:avLst>
          </a:prstGeom>
          <a:solidFill>
            <a:schemeClr val="bg2">
              <a:lumMod val="40000"/>
              <a:lumOff val="60000"/>
            </a:schemeClr>
          </a:solidFill>
          <a:ln w="9525" cmpd="sng"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algn="ctr">
              <a:spcBef>
                <a:spcPct val="100000"/>
              </a:spcBef>
              <a:defRPr/>
            </a:pPr>
            <a:r>
              <a:rPr lang="fr-FR" sz="1400" b="1" dirty="0">
                <a:solidFill>
                  <a:schemeClr val="tx1">
                    <a:lumMod val="50000"/>
                  </a:schemeClr>
                </a:solidFill>
                <a:latin typeface="Century Gothic" pitchFamily="34" charset="0"/>
              </a:rPr>
              <a:t>Accès à un bassin de plus de 800 millions de consommateurs</a:t>
            </a:r>
          </a:p>
        </p:txBody>
      </p:sp>
      <p:grpSp>
        <p:nvGrpSpPr>
          <p:cNvPr id="4" name="Groupe 140"/>
          <p:cNvGrpSpPr/>
          <p:nvPr/>
        </p:nvGrpSpPr>
        <p:grpSpPr>
          <a:xfrm>
            <a:off x="6084168" y="4365104"/>
            <a:ext cx="910524" cy="1574885"/>
            <a:chOff x="2921000" y="1196975"/>
            <a:chExt cx="1219200" cy="2857500"/>
          </a:xfrm>
          <a:solidFill>
            <a:srgbClr val="0089C0"/>
          </a:solidFill>
        </p:grpSpPr>
        <p:sp>
          <p:nvSpPr>
            <p:cNvPr id="142" name="Freeform 4"/>
            <p:cNvSpPr>
              <a:spLocks/>
            </p:cNvSpPr>
            <p:nvPr>
              <p:custDataLst>
                <p:tags r:id="rId1"/>
              </p:custDataLst>
            </p:nvPr>
          </p:nvSpPr>
          <p:spPr bwMode="auto">
            <a:xfrm>
              <a:off x="3376613" y="1196975"/>
              <a:ext cx="347662" cy="250825"/>
            </a:xfrm>
            <a:custGeom>
              <a:avLst/>
              <a:gdLst>
                <a:gd name="T0" fmla="*/ 2147483647 w 461"/>
                <a:gd name="T1" fmla="*/ 2147483647 h 263"/>
                <a:gd name="T2" fmla="*/ 2147483647 w 461"/>
                <a:gd name="T3" fmla="*/ 2147483647 h 263"/>
                <a:gd name="T4" fmla="*/ 2147483647 w 461"/>
                <a:gd name="T5" fmla="*/ 0 h 263"/>
                <a:gd name="T6" fmla="*/ 2147483647 w 461"/>
                <a:gd name="T7" fmla="*/ 2147483647 h 263"/>
                <a:gd name="T8" fmla="*/ 2147483647 w 461"/>
                <a:gd name="T9" fmla="*/ 2147483647 h 263"/>
                <a:gd name="T10" fmla="*/ 2147483647 w 461"/>
                <a:gd name="T11" fmla="*/ 2147483647 h 263"/>
                <a:gd name="T12" fmla="*/ 2147483647 w 461"/>
                <a:gd name="T13" fmla="*/ 2147483647 h 263"/>
                <a:gd name="T14" fmla="*/ 2147483647 w 461"/>
                <a:gd name="T15" fmla="*/ 2147483647 h 263"/>
                <a:gd name="T16" fmla="*/ 2147483647 w 461"/>
                <a:gd name="T17" fmla="*/ 2147483647 h 263"/>
                <a:gd name="T18" fmla="*/ 2147483647 w 461"/>
                <a:gd name="T19" fmla="*/ 2147483647 h 263"/>
                <a:gd name="T20" fmla="*/ 2147483647 w 461"/>
                <a:gd name="T21" fmla="*/ 2147483647 h 263"/>
                <a:gd name="T22" fmla="*/ 2147483647 w 461"/>
                <a:gd name="T23" fmla="*/ 2147483647 h 263"/>
                <a:gd name="T24" fmla="*/ 2147483647 w 461"/>
                <a:gd name="T25" fmla="*/ 2147483647 h 263"/>
                <a:gd name="T26" fmla="*/ 2147483647 w 461"/>
                <a:gd name="T27" fmla="*/ 2147483647 h 263"/>
                <a:gd name="T28" fmla="*/ 2147483647 w 461"/>
                <a:gd name="T29" fmla="*/ 2147483647 h 263"/>
                <a:gd name="T30" fmla="*/ 2147483647 w 461"/>
                <a:gd name="T31" fmla="*/ 2147483647 h 263"/>
                <a:gd name="T32" fmla="*/ 2147483647 w 461"/>
                <a:gd name="T33" fmla="*/ 2147483647 h 263"/>
                <a:gd name="T34" fmla="*/ 2147483647 w 461"/>
                <a:gd name="T35" fmla="*/ 2147483647 h 263"/>
                <a:gd name="T36" fmla="*/ 2147483647 w 461"/>
                <a:gd name="T37" fmla="*/ 2147483647 h 263"/>
                <a:gd name="T38" fmla="*/ 2147483647 w 461"/>
                <a:gd name="T39" fmla="*/ 2147483647 h 263"/>
                <a:gd name="T40" fmla="*/ 2147483647 w 461"/>
                <a:gd name="T41" fmla="*/ 2147483647 h 263"/>
                <a:gd name="T42" fmla="*/ 2147483647 w 461"/>
                <a:gd name="T43" fmla="*/ 2147483647 h 263"/>
                <a:gd name="T44" fmla="*/ 2147483647 w 461"/>
                <a:gd name="T45" fmla="*/ 2147483647 h 263"/>
                <a:gd name="T46" fmla="*/ 2147483647 w 461"/>
                <a:gd name="T47" fmla="*/ 2147483647 h 263"/>
                <a:gd name="T48" fmla="*/ 2147483647 w 461"/>
                <a:gd name="T49" fmla="*/ 2147483647 h 263"/>
                <a:gd name="T50" fmla="*/ 2147483647 w 461"/>
                <a:gd name="T51" fmla="*/ 2147483647 h 263"/>
                <a:gd name="T52" fmla="*/ 2147483647 w 461"/>
                <a:gd name="T53" fmla="*/ 2147483647 h 263"/>
                <a:gd name="T54" fmla="*/ 2147483647 w 461"/>
                <a:gd name="T55" fmla="*/ 2147483647 h 263"/>
                <a:gd name="T56" fmla="*/ 0 w 461"/>
                <a:gd name="T57" fmla="*/ 2147483647 h 263"/>
                <a:gd name="T58" fmla="*/ 2147483647 w 461"/>
                <a:gd name="T59" fmla="*/ 2147483647 h 263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461"/>
                <a:gd name="T91" fmla="*/ 0 h 263"/>
                <a:gd name="T92" fmla="*/ 461 w 461"/>
                <a:gd name="T93" fmla="*/ 263 h 263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461" h="263">
                  <a:moveTo>
                    <a:pt x="15" y="81"/>
                  </a:moveTo>
                  <a:lnTo>
                    <a:pt x="155" y="36"/>
                  </a:lnTo>
                  <a:lnTo>
                    <a:pt x="248" y="0"/>
                  </a:lnTo>
                  <a:lnTo>
                    <a:pt x="285" y="18"/>
                  </a:lnTo>
                  <a:lnTo>
                    <a:pt x="263" y="75"/>
                  </a:lnTo>
                  <a:lnTo>
                    <a:pt x="303" y="90"/>
                  </a:lnTo>
                  <a:lnTo>
                    <a:pt x="350" y="66"/>
                  </a:lnTo>
                  <a:lnTo>
                    <a:pt x="320" y="39"/>
                  </a:lnTo>
                  <a:lnTo>
                    <a:pt x="398" y="38"/>
                  </a:lnTo>
                  <a:lnTo>
                    <a:pt x="461" y="66"/>
                  </a:lnTo>
                  <a:lnTo>
                    <a:pt x="408" y="98"/>
                  </a:lnTo>
                  <a:lnTo>
                    <a:pt x="386" y="137"/>
                  </a:lnTo>
                  <a:lnTo>
                    <a:pt x="371" y="174"/>
                  </a:lnTo>
                  <a:lnTo>
                    <a:pt x="354" y="186"/>
                  </a:lnTo>
                  <a:lnTo>
                    <a:pt x="324" y="164"/>
                  </a:lnTo>
                  <a:lnTo>
                    <a:pt x="287" y="164"/>
                  </a:lnTo>
                  <a:lnTo>
                    <a:pt x="275" y="180"/>
                  </a:lnTo>
                  <a:lnTo>
                    <a:pt x="231" y="189"/>
                  </a:lnTo>
                  <a:lnTo>
                    <a:pt x="186" y="210"/>
                  </a:lnTo>
                  <a:lnTo>
                    <a:pt x="164" y="234"/>
                  </a:lnTo>
                  <a:lnTo>
                    <a:pt x="137" y="263"/>
                  </a:lnTo>
                  <a:lnTo>
                    <a:pt x="99" y="260"/>
                  </a:lnTo>
                  <a:lnTo>
                    <a:pt x="123" y="228"/>
                  </a:lnTo>
                  <a:lnTo>
                    <a:pt x="108" y="209"/>
                  </a:lnTo>
                  <a:lnTo>
                    <a:pt x="80" y="197"/>
                  </a:lnTo>
                  <a:lnTo>
                    <a:pt x="62" y="174"/>
                  </a:lnTo>
                  <a:lnTo>
                    <a:pt x="53" y="140"/>
                  </a:lnTo>
                  <a:lnTo>
                    <a:pt x="24" y="141"/>
                  </a:lnTo>
                  <a:lnTo>
                    <a:pt x="0" y="116"/>
                  </a:lnTo>
                  <a:lnTo>
                    <a:pt x="15" y="81"/>
                  </a:lnTo>
                  <a:close/>
                </a:path>
              </a:pathLst>
            </a:custGeom>
            <a:grpFill/>
            <a:ln w="9525">
              <a:solidFill>
                <a:schemeClr val="tx2">
                  <a:lumMod val="65000"/>
                </a:schemeClr>
              </a:solidFill>
              <a:round/>
              <a:headEnd/>
              <a:tailEnd/>
            </a:ln>
          </p:spPr>
          <p:txBody>
            <a:bodyPr lIns="91430" tIns="45715" rIns="91430" bIns="45715"/>
            <a:lstStyle/>
            <a:p>
              <a:endParaRPr lang="fr-FR"/>
            </a:p>
          </p:txBody>
        </p:sp>
        <p:sp>
          <p:nvSpPr>
            <p:cNvPr id="143" name="Freeform 5"/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3328988" y="1274763"/>
              <a:ext cx="276225" cy="327025"/>
            </a:xfrm>
            <a:custGeom>
              <a:avLst/>
              <a:gdLst>
                <a:gd name="T0" fmla="*/ 2147483647 w 367"/>
                <a:gd name="T1" fmla="*/ 0 h 344"/>
                <a:gd name="T2" fmla="*/ 2147483647 w 367"/>
                <a:gd name="T3" fmla="*/ 2147483647 h 344"/>
                <a:gd name="T4" fmla="*/ 0 w 367"/>
                <a:gd name="T5" fmla="*/ 2147483647 h 344"/>
                <a:gd name="T6" fmla="*/ 2147483647 w 367"/>
                <a:gd name="T7" fmla="*/ 2147483647 h 344"/>
                <a:gd name="T8" fmla="*/ 2147483647 w 367"/>
                <a:gd name="T9" fmla="*/ 2147483647 h 344"/>
                <a:gd name="T10" fmla="*/ 2147483647 w 367"/>
                <a:gd name="T11" fmla="*/ 2147483647 h 344"/>
                <a:gd name="T12" fmla="*/ 2147483647 w 367"/>
                <a:gd name="T13" fmla="*/ 2147483647 h 344"/>
                <a:gd name="T14" fmla="*/ 2147483647 w 367"/>
                <a:gd name="T15" fmla="*/ 2147483647 h 344"/>
                <a:gd name="T16" fmla="*/ 2147483647 w 367"/>
                <a:gd name="T17" fmla="*/ 2147483647 h 344"/>
                <a:gd name="T18" fmla="*/ 2147483647 w 367"/>
                <a:gd name="T19" fmla="*/ 2147483647 h 344"/>
                <a:gd name="T20" fmla="*/ 2147483647 w 367"/>
                <a:gd name="T21" fmla="*/ 2147483647 h 344"/>
                <a:gd name="T22" fmla="*/ 2147483647 w 367"/>
                <a:gd name="T23" fmla="*/ 2147483647 h 344"/>
                <a:gd name="T24" fmla="*/ 2147483647 w 367"/>
                <a:gd name="T25" fmla="*/ 2147483647 h 344"/>
                <a:gd name="T26" fmla="*/ 2147483647 w 367"/>
                <a:gd name="T27" fmla="*/ 2147483647 h 344"/>
                <a:gd name="T28" fmla="*/ 2147483647 w 367"/>
                <a:gd name="T29" fmla="*/ 2147483647 h 344"/>
                <a:gd name="T30" fmla="*/ 2147483647 w 367"/>
                <a:gd name="T31" fmla="*/ 2147483647 h 344"/>
                <a:gd name="T32" fmla="*/ 2147483647 w 367"/>
                <a:gd name="T33" fmla="*/ 2147483647 h 344"/>
                <a:gd name="T34" fmla="*/ 2147483647 w 367"/>
                <a:gd name="T35" fmla="*/ 2147483647 h 344"/>
                <a:gd name="T36" fmla="*/ 2147483647 w 367"/>
                <a:gd name="T37" fmla="*/ 2147483647 h 344"/>
                <a:gd name="T38" fmla="*/ 2147483647 w 367"/>
                <a:gd name="T39" fmla="*/ 2147483647 h 344"/>
                <a:gd name="T40" fmla="*/ 2147483647 w 367"/>
                <a:gd name="T41" fmla="*/ 2147483647 h 344"/>
                <a:gd name="T42" fmla="*/ 2147483647 w 367"/>
                <a:gd name="T43" fmla="*/ 2147483647 h 344"/>
                <a:gd name="T44" fmla="*/ 2147483647 w 367"/>
                <a:gd name="T45" fmla="*/ 2147483647 h 344"/>
                <a:gd name="T46" fmla="*/ 2147483647 w 367"/>
                <a:gd name="T47" fmla="*/ 2147483647 h 344"/>
                <a:gd name="T48" fmla="*/ 2147483647 w 367"/>
                <a:gd name="T49" fmla="*/ 2147483647 h 344"/>
                <a:gd name="T50" fmla="*/ 2147483647 w 367"/>
                <a:gd name="T51" fmla="*/ 2147483647 h 344"/>
                <a:gd name="T52" fmla="*/ 2147483647 w 367"/>
                <a:gd name="T53" fmla="*/ 2147483647 h 344"/>
                <a:gd name="T54" fmla="*/ 2147483647 w 367"/>
                <a:gd name="T55" fmla="*/ 2147483647 h 344"/>
                <a:gd name="T56" fmla="*/ 2147483647 w 367"/>
                <a:gd name="T57" fmla="*/ 2147483647 h 344"/>
                <a:gd name="T58" fmla="*/ 2147483647 w 367"/>
                <a:gd name="T59" fmla="*/ 2147483647 h 344"/>
                <a:gd name="T60" fmla="*/ 2147483647 w 367"/>
                <a:gd name="T61" fmla="*/ 2147483647 h 344"/>
                <a:gd name="T62" fmla="*/ 2147483647 w 367"/>
                <a:gd name="T63" fmla="*/ 2147483647 h 344"/>
                <a:gd name="T64" fmla="*/ 2147483647 w 367"/>
                <a:gd name="T65" fmla="*/ 2147483647 h 344"/>
                <a:gd name="T66" fmla="*/ 2147483647 w 367"/>
                <a:gd name="T67" fmla="*/ 2147483647 h 344"/>
                <a:gd name="T68" fmla="*/ 2147483647 w 367"/>
                <a:gd name="T69" fmla="*/ 2147483647 h 344"/>
                <a:gd name="T70" fmla="*/ 2147483647 w 367"/>
                <a:gd name="T71" fmla="*/ 2147483647 h 344"/>
                <a:gd name="T72" fmla="*/ 2147483647 w 367"/>
                <a:gd name="T73" fmla="*/ 2147483647 h 344"/>
                <a:gd name="T74" fmla="*/ 2147483647 w 367"/>
                <a:gd name="T75" fmla="*/ 2147483647 h 344"/>
                <a:gd name="T76" fmla="*/ 2147483647 w 367"/>
                <a:gd name="T77" fmla="*/ 2147483647 h 344"/>
                <a:gd name="T78" fmla="*/ 2147483647 w 367"/>
                <a:gd name="T79" fmla="*/ 2147483647 h 344"/>
                <a:gd name="T80" fmla="*/ 2147483647 w 367"/>
                <a:gd name="T81" fmla="*/ 2147483647 h 344"/>
                <a:gd name="T82" fmla="*/ 2147483647 w 367"/>
                <a:gd name="T83" fmla="*/ 0 h 34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367"/>
                <a:gd name="T127" fmla="*/ 0 h 344"/>
                <a:gd name="T128" fmla="*/ 367 w 367"/>
                <a:gd name="T129" fmla="*/ 344 h 34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367" h="344">
                  <a:moveTo>
                    <a:pt x="78" y="0"/>
                  </a:moveTo>
                  <a:lnTo>
                    <a:pt x="46" y="29"/>
                  </a:lnTo>
                  <a:lnTo>
                    <a:pt x="0" y="71"/>
                  </a:lnTo>
                  <a:lnTo>
                    <a:pt x="18" y="83"/>
                  </a:lnTo>
                  <a:lnTo>
                    <a:pt x="10" y="101"/>
                  </a:lnTo>
                  <a:lnTo>
                    <a:pt x="36" y="116"/>
                  </a:lnTo>
                  <a:lnTo>
                    <a:pt x="10" y="147"/>
                  </a:lnTo>
                  <a:lnTo>
                    <a:pt x="19" y="171"/>
                  </a:lnTo>
                  <a:lnTo>
                    <a:pt x="49" y="173"/>
                  </a:lnTo>
                  <a:lnTo>
                    <a:pt x="54" y="186"/>
                  </a:lnTo>
                  <a:lnTo>
                    <a:pt x="48" y="215"/>
                  </a:lnTo>
                  <a:lnTo>
                    <a:pt x="70" y="249"/>
                  </a:lnTo>
                  <a:lnTo>
                    <a:pt x="54" y="297"/>
                  </a:lnTo>
                  <a:lnTo>
                    <a:pt x="45" y="309"/>
                  </a:lnTo>
                  <a:lnTo>
                    <a:pt x="70" y="335"/>
                  </a:lnTo>
                  <a:lnTo>
                    <a:pt x="84" y="344"/>
                  </a:lnTo>
                  <a:lnTo>
                    <a:pt x="108" y="326"/>
                  </a:lnTo>
                  <a:lnTo>
                    <a:pt x="147" y="341"/>
                  </a:lnTo>
                  <a:lnTo>
                    <a:pt x="171" y="317"/>
                  </a:lnTo>
                  <a:lnTo>
                    <a:pt x="208" y="303"/>
                  </a:lnTo>
                  <a:lnTo>
                    <a:pt x="238" y="315"/>
                  </a:lnTo>
                  <a:lnTo>
                    <a:pt x="264" y="321"/>
                  </a:lnTo>
                  <a:lnTo>
                    <a:pt x="297" y="312"/>
                  </a:lnTo>
                  <a:lnTo>
                    <a:pt x="318" y="308"/>
                  </a:lnTo>
                  <a:lnTo>
                    <a:pt x="342" y="275"/>
                  </a:lnTo>
                  <a:lnTo>
                    <a:pt x="367" y="254"/>
                  </a:lnTo>
                  <a:lnTo>
                    <a:pt x="351" y="224"/>
                  </a:lnTo>
                  <a:lnTo>
                    <a:pt x="331" y="194"/>
                  </a:lnTo>
                  <a:lnTo>
                    <a:pt x="289" y="179"/>
                  </a:lnTo>
                  <a:lnTo>
                    <a:pt x="255" y="158"/>
                  </a:lnTo>
                  <a:lnTo>
                    <a:pt x="241" y="140"/>
                  </a:lnTo>
                  <a:lnTo>
                    <a:pt x="229" y="153"/>
                  </a:lnTo>
                  <a:lnTo>
                    <a:pt x="204" y="180"/>
                  </a:lnTo>
                  <a:lnTo>
                    <a:pt x="165" y="177"/>
                  </a:lnTo>
                  <a:lnTo>
                    <a:pt x="187" y="146"/>
                  </a:lnTo>
                  <a:lnTo>
                    <a:pt x="172" y="128"/>
                  </a:lnTo>
                  <a:lnTo>
                    <a:pt x="145" y="116"/>
                  </a:lnTo>
                  <a:lnTo>
                    <a:pt x="126" y="93"/>
                  </a:lnTo>
                  <a:lnTo>
                    <a:pt x="120" y="59"/>
                  </a:lnTo>
                  <a:lnTo>
                    <a:pt x="90" y="59"/>
                  </a:lnTo>
                  <a:lnTo>
                    <a:pt x="64" y="35"/>
                  </a:lnTo>
                  <a:lnTo>
                    <a:pt x="78" y="0"/>
                  </a:lnTo>
                  <a:close/>
                </a:path>
              </a:pathLst>
            </a:custGeom>
            <a:grpFill/>
            <a:ln w="9525">
              <a:solidFill>
                <a:schemeClr val="tx2">
                  <a:lumMod val="65000"/>
                </a:schemeClr>
              </a:solidFill>
              <a:round/>
              <a:headEnd/>
              <a:tailEnd/>
            </a:ln>
          </p:spPr>
          <p:txBody>
            <a:bodyPr lIns="91430" tIns="45715" rIns="91430" bIns="45715"/>
            <a:lstStyle/>
            <a:p>
              <a:endParaRPr lang="fr-FR"/>
            </a:p>
          </p:txBody>
        </p:sp>
        <p:sp>
          <p:nvSpPr>
            <p:cNvPr id="144" name="Freeform 6"/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3509963" y="1287463"/>
              <a:ext cx="274637" cy="279400"/>
            </a:xfrm>
            <a:custGeom>
              <a:avLst/>
              <a:gdLst>
                <a:gd name="T0" fmla="*/ 2147483647 w 366"/>
                <a:gd name="T1" fmla="*/ 2147483647 h 292"/>
                <a:gd name="T2" fmla="*/ 2147483647 w 366"/>
                <a:gd name="T3" fmla="*/ 2147483647 h 292"/>
                <a:gd name="T4" fmla="*/ 2147483647 w 366"/>
                <a:gd name="T5" fmla="*/ 2147483647 h 292"/>
                <a:gd name="T6" fmla="*/ 2147483647 w 366"/>
                <a:gd name="T7" fmla="*/ 2147483647 h 292"/>
                <a:gd name="T8" fmla="*/ 2147483647 w 366"/>
                <a:gd name="T9" fmla="*/ 2147483647 h 292"/>
                <a:gd name="T10" fmla="*/ 2147483647 w 366"/>
                <a:gd name="T11" fmla="*/ 2147483647 h 292"/>
                <a:gd name="T12" fmla="*/ 2147483647 w 366"/>
                <a:gd name="T13" fmla="*/ 2147483647 h 292"/>
                <a:gd name="T14" fmla="*/ 2147483647 w 366"/>
                <a:gd name="T15" fmla="*/ 2147483647 h 292"/>
                <a:gd name="T16" fmla="*/ 2147483647 w 366"/>
                <a:gd name="T17" fmla="*/ 2147483647 h 292"/>
                <a:gd name="T18" fmla="*/ 2147483647 w 366"/>
                <a:gd name="T19" fmla="*/ 2147483647 h 292"/>
                <a:gd name="T20" fmla="*/ 2147483647 w 366"/>
                <a:gd name="T21" fmla="*/ 2147483647 h 292"/>
                <a:gd name="T22" fmla="*/ 2147483647 w 366"/>
                <a:gd name="T23" fmla="*/ 2147483647 h 292"/>
                <a:gd name="T24" fmla="*/ 2147483647 w 366"/>
                <a:gd name="T25" fmla="*/ 2147483647 h 292"/>
                <a:gd name="T26" fmla="*/ 2147483647 w 366"/>
                <a:gd name="T27" fmla="*/ 2147483647 h 292"/>
                <a:gd name="T28" fmla="*/ 2147483647 w 366"/>
                <a:gd name="T29" fmla="*/ 2147483647 h 292"/>
                <a:gd name="T30" fmla="*/ 2147483647 w 366"/>
                <a:gd name="T31" fmla="*/ 2147483647 h 292"/>
                <a:gd name="T32" fmla="*/ 2147483647 w 366"/>
                <a:gd name="T33" fmla="*/ 2147483647 h 292"/>
                <a:gd name="T34" fmla="*/ 2147483647 w 366"/>
                <a:gd name="T35" fmla="*/ 2147483647 h 292"/>
                <a:gd name="T36" fmla="*/ 2147483647 w 366"/>
                <a:gd name="T37" fmla="*/ 2147483647 h 292"/>
                <a:gd name="T38" fmla="*/ 2147483647 w 366"/>
                <a:gd name="T39" fmla="*/ 2147483647 h 292"/>
                <a:gd name="T40" fmla="*/ 2147483647 w 366"/>
                <a:gd name="T41" fmla="*/ 2147483647 h 292"/>
                <a:gd name="T42" fmla="*/ 2147483647 w 366"/>
                <a:gd name="T43" fmla="*/ 2147483647 h 292"/>
                <a:gd name="T44" fmla="*/ 2147483647 w 366"/>
                <a:gd name="T45" fmla="*/ 2147483647 h 292"/>
                <a:gd name="T46" fmla="*/ 2147483647 w 366"/>
                <a:gd name="T47" fmla="*/ 2147483647 h 292"/>
                <a:gd name="T48" fmla="*/ 2147483647 w 366"/>
                <a:gd name="T49" fmla="*/ 2147483647 h 292"/>
                <a:gd name="T50" fmla="*/ 2147483647 w 366"/>
                <a:gd name="T51" fmla="*/ 2147483647 h 292"/>
                <a:gd name="T52" fmla="*/ 2147483647 w 366"/>
                <a:gd name="T53" fmla="*/ 2147483647 h 292"/>
                <a:gd name="T54" fmla="*/ 0 w 366"/>
                <a:gd name="T55" fmla="*/ 2147483647 h 292"/>
                <a:gd name="T56" fmla="*/ 2147483647 w 366"/>
                <a:gd name="T57" fmla="*/ 2147483647 h 292"/>
                <a:gd name="T58" fmla="*/ 2147483647 w 366"/>
                <a:gd name="T59" fmla="*/ 2147483647 h 292"/>
                <a:gd name="T60" fmla="*/ 2147483647 w 366"/>
                <a:gd name="T61" fmla="*/ 2147483647 h 292"/>
                <a:gd name="T62" fmla="*/ 2147483647 w 366"/>
                <a:gd name="T63" fmla="*/ 2147483647 h 292"/>
                <a:gd name="T64" fmla="*/ 2147483647 w 366"/>
                <a:gd name="T65" fmla="*/ 2147483647 h 292"/>
                <a:gd name="T66" fmla="*/ 2147483647 w 366"/>
                <a:gd name="T67" fmla="*/ 2147483647 h 292"/>
                <a:gd name="T68" fmla="*/ 2147483647 w 366"/>
                <a:gd name="T69" fmla="*/ 2147483647 h 292"/>
                <a:gd name="T70" fmla="*/ 2147483647 w 366"/>
                <a:gd name="T71" fmla="*/ 2147483647 h 292"/>
                <a:gd name="T72" fmla="*/ 2147483647 w 366"/>
                <a:gd name="T73" fmla="*/ 0 h 292"/>
                <a:gd name="T74" fmla="*/ 2147483647 w 366"/>
                <a:gd name="T75" fmla="*/ 2147483647 h 292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366"/>
                <a:gd name="T115" fmla="*/ 0 h 292"/>
                <a:gd name="T116" fmla="*/ 366 w 366"/>
                <a:gd name="T117" fmla="*/ 292 h 292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366" h="292">
                  <a:moveTo>
                    <a:pt x="240" y="10"/>
                  </a:moveTo>
                  <a:lnTo>
                    <a:pt x="256" y="67"/>
                  </a:lnTo>
                  <a:lnTo>
                    <a:pt x="295" y="88"/>
                  </a:lnTo>
                  <a:lnTo>
                    <a:pt x="282" y="102"/>
                  </a:lnTo>
                  <a:lnTo>
                    <a:pt x="261" y="111"/>
                  </a:lnTo>
                  <a:lnTo>
                    <a:pt x="232" y="103"/>
                  </a:lnTo>
                  <a:lnTo>
                    <a:pt x="193" y="120"/>
                  </a:lnTo>
                  <a:lnTo>
                    <a:pt x="190" y="150"/>
                  </a:lnTo>
                  <a:lnTo>
                    <a:pt x="214" y="177"/>
                  </a:lnTo>
                  <a:lnTo>
                    <a:pt x="262" y="154"/>
                  </a:lnTo>
                  <a:lnTo>
                    <a:pt x="291" y="156"/>
                  </a:lnTo>
                  <a:lnTo>
                    <a:pt x="366" y="166"/>
                  </a:lnTo>
                  <a:lnTo>
                    <a:pt x="333" y="201"/>
                  </a:lnTo>
                  <a:lnTo>
                    <a:pt x="337" y="234"/>
                  </a:lnTo>
                  <a:lnTo>
                    <a:pt x="321" y="280"/>
                  </a:lnTo>
                  <a:lnTo>
                    <a:pt x="291" y="292"/>
                  </a:lnTo>
                  <a:lnTo>
                    <a:pt x="292" y="261"/>
                  </a:lnTo>
                  <a:lnTo>
                    <a:pt x="268" y="246"/>
                  </a:lnTo>
                  <a:lnTo>
                    <a:pt x="235" y="258"/>
                  </a:lnTo>
                  <a:lnTo>
                    <a:pt x="201" y="243"/>
                  </a:lnTo>
                  <a:lnTo>
                    <a:pt x="208" y="193"/>
                  </a:lnTo>
                  <a:lnTo>
                    <a:pt x="177" y="189"/>
                  </a:lnTo>
                  <a:lnTo>
                    <a:pt x="148" y="237"/>
                  </a:lnTo>
                  <a:lnTo>
                    <a:pt x="126" y="238"/>
                  </a:lnTo>
                  <a:lnTo>
                    <a:pt x="91" y="178"/>
                  </a:lnTo>
                  <a:lnTo>
                    <a:pt x="49" y="163"/>
                  </a:lnTo>
                  <a:lnTo>
                    <a:pt x="16" y="148"/>
                  </a:lnTo>
                  <a:lnTo>
                    <a:pt x="0" y="129"/>
                  </a:lnTo>
                  <a:lnTo>
                    <a:pt x="12" y="114"/>
                  </a:lnTo>
                  <a:lnTo>
                    <a:pt x="57" y="94"/>
                  </a:lnTo>
                  <a:lnTo>
                    <a:pt x="102" y="84"/>
                  </a:lnTo>
                  <a:lnTo>
                    <a:pt x="109" y="67"/>
                  </a:lnTo>
                  <a:lnTo>
                    <a:pt x="151" y="70"/>
                  </a:lnTo>
                  <a:lnTo>
                    <a:pt x="180" y="91"/>
                  </a:lnTo>
                  <a:lnTo>
                    <a:pt x="196" y="79"/>
                  </a:lnTo>
                  <a:lnTo>
                    <a:pt x="211" y="37"/>
                  </a:lnTo>
                  <a:lnTo>
                    <a:pt x="234" y="0"/>
                  </a:lnTo>
                  <a:lnTo>
                    <a:pt x="240" y="10"/>
                  </a:lnTo>
                  <a:close/>
                </a:path>
              </a:pathLst>
            </a:custGeom>
            <a:grpFill/>
            <a:ln w="9525">
              <a:solidFill>
                <a:schemeClr val="tx2">
                  <a:lumMod val="65000"/>
                </a:schemeClr>
              </a:solidFill>
              <a:round/>
              <a:headEnd/>
              <a:tailEnd/>
            </a:ln>
          </p:spPr>
          <p:txBody>
            <a:bodyPr lIns="91430" tIns="45715" rIns="91430" bIns="45715"/>
            <a:lstStyle/>
            <a:p>
              <a:endParaRPr lang="fr-FR"/>
            </a:p>
          </p:txBody>
        </p:sp>
        <p:sp>
          <p:nvSpPr>
            <p:cNvPr id="145" name="Freeform 7"/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3654425" y="1371600"/>
              <a:ext cx="93663" cy="87313"/>
            </a:xfrm>
            <a:custGeom>
              <a:avLst/>
              <a:gdLst>
                <a:gd name="T0" fmla="*/ 2147483647 w 126"/>
                <a:gd name="T1" fmla="*/ 0 h 92"/>
                <a:gd name="T2" fmla="*/ 2147483647 w 126"/>
                <a:gd name="T3" fmla="*/ 2147483647 h 92"/>
                <a:gd name="T4" fmla="*/ 2147483647 w 126"/>
                <a:gd name="T5" fmla="*/ 2147483647 h 92"/>
                <a:gd name="T6" fmla="*/ 2147483647 w 126"/>
                <a:gd name="T7" fmla="*/ 2147483647 h 92"/>
                <a:gd name="T8" fmla="*/ 2147483647 w 126"/>
                <a:gd name="T9" fmla="*/ 2147483647 h 92"/>
                <a:gd name="T10" fmla="*/ 0 w 126"/>
                <a:gd name="T11" fmla="*/ 2147483647 h 92"/>
                <a:gd name="T12" fmla="*/ 0 w 126"/>
                <a:gd name="T13" fmla="*/ 2147483647 h 92"/>
                <a:gd name="T14" fmla="*/ 2147483647 w 126"/>
                <a:gd name="T15" fmla="*/ 2147483647 h 92"/>
                <a:gd name="T16" fmla="*/ 2147483647 w 126"/>
                <a:gd name="T17" fmla="*/ 2147483647 h 92"/>
                <a:gd name="T18" fmla="*/ 2147483647 w 126"/>
                <a:gd name="T19" fmla="*/ 2147483647 h 92"/>
                <a:gd name="T20" fmla="*/ 2147483647 w 126"/>
                <a:gd name="T21" fmla="*/ 0 h 9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26"/>
                <a:gd name="T34" fmla="*/ 0 h 92"/>
                <a:gd name="T35" fmla="*/ 126 w 126"/>
                <a:gd name="T36" fmla="*/ 92 h 92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26" h="92">
                  <a:moveTo>
                    <a:pt x="106" y="0"/>
                  </a:moveTo>
                  <a:lnTo>
                    <a:pt x="126" y="12"/>
                  </a:lnTo>
                  <a:lnTo>
                    <a:pt x="94" y="66"/>
                  </a:lnTo>
                  <a:lnTo>
                    <a:pt x="72" y="68"/>
                  </a:lnTo>
                  <a:lnTo>
                    <a:pt x="19" y="92"/>
                  </a:lnTo>
                  <a:lnTo>
                    <a:pt x="0" y="63"/>
                  </a:lnTo>
                  <a:lnTo>
                    <a:pt x="0" y="33"/>
                  </a:lnTo>
                  <a:lnTo>
                    <a:pt x="45" y="15"/>
                  </a:lnTo>
                  <a:lnTo>
                    <a:pt x="73" y="23"/>
                  </a:lnTo>
                  <a:lnTo>
                    <a:pt x="90" y="12"/>
                  </a:lnTo>
                  <a:lnTo>
                    <a:pt x="106" y="0"/>
                  </a:lnTo>
                  <a:close/>
                </a:path>
              </a:pathLst>
            </a:custGeom>
            <a:grpFill/>
            <a:ln w="9525">
              <a:solidFill>
                <a:schemeClr val="tx2">
                  <a:lumMod val="65000"/>
                </a:schemeClr>
              </a:solidFill>
              <a:round/>
              <a:headEnd/>
              <a:tailEnd/>
            </a:ln>
          </p:spPr>
          <p:txBody>
            <a:bodyPr lIns="91430" tIns="45715" rIns="91430" bIns="45715"/>
            <a:lstStyle/>
            <a:p>
              <a:endParaRPr lang="fr-FR"/>
            </a:p>
          </p:txBody>
        </p:sp>
        <p:sp>
          <p:nvSpPr>
            <p:cNvPr id="146" name="Freeform 8"/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3746500" y="1290638"/>
              <a:ext cx="220663" cy="311150"/>
            </a:xfrm>
            <a:custGeom>
              <a:avLst/>
              <a:gdLst>
                <a:gd name="T0" fmla="*/ 2147483647 w 293"/>
                <a:gd name="T1" fmla="*/ 2147483647 h 326"/>
                <a:gd name="T2" fmla="*/ 2147483647 w 293"/>
                <a:gd name="T3" fmla="*/ 2147483647 h 326"/>
                <a:gd name="T4" fmla="*/ 2147483647 w 293"/>
                <a:gd name="T5" fmla="*/ 2147483647 h 326"/>
                <a:gd name="T6" fmla="*/ 2147483647 w 293"/>
                <a:gd name="T7" fmla="*/ 2147483647 h 326"/>
                <a:gd name="T8" fmla="*/ 2147483647 w 293"/>
                <a:gd name="T9" fmla="*/ 0 h 326"/>
                <a:gd name="T10" fmla="*/ 2147483647 w 293"/>
                <a:gd name="T11" fmla="*/ 2147483647 h 326"/>
                <a:gd name="T12" fmla="*/ 2147483647 w 293"/>
                <a:gd name="T13" fmla="*/ 2147483647 h 326"/>
                <a:gd name="T14" fmla="*/ 2147483647 w 293"/>
                <a:gd name="T15" fmla="*/ 2147483647 h 326"/>
                <a:gd name="T16" fmla="*/ 2147483647 w 293"/>
                <a:gd name="T17" fmla="*/ 2147483647 h 326"/>
                <a:gd name="T18" fmla="*/ 2147483647 w 293"/>
                <a:gd name="T19" fmla="*/ 2147483647 h 326"/>
                <a:gd name="T20" fmla="*/ 2147483647 w 293"/>
                <a:gd name="T21" fmla="*/ 2147483647 h 326"/>
                <a:gd name="T22" fmla="*/ 2147483647 w 293"/>
                <a:gd name="T23" fmla="*/ 2147483647 h 326"/>
                <a:gd name="T24" fmla="*/ 2147483647 w 293"/>
                <a:gd name="T25" fmla="*/ 2147483647 h 326"/>
                <a:gd name="T26" fmla="*/ 0 w 293"/>
                <a:gd name="T27" fmla="*/ 2147483647 h 326"/>
                <a:gd name="T28" fmla="*/ 2147483647 w 293"/>
                <a:gd name="T29" fmla="*/ 2147483647 h 326"/>
                <a:gd name="T30" fmla="*/ 2147483647 w 293"/>
                <a:gd name="T31" fmla="*/ 2147483647 h 326"/>
                <a:gd name="T32" fmla="*/ 2147483647 w 293"/>
                <a:gd name="T33" fmla="*/ 2147483647 h 326"/>
                <a:gd name="T34" fmla="*/ 2147483647 w 293"/>
                <a:gd name="T35" fmla="*/ 2147483647 h 32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293"/>
                <a:gd name="T55" fmla="*/ 0 h 326"/>
                <a:gd name="T56" fmla="*/ 293 w 293"/>
                <a:gd name="T57" fmla="*/ 326 h 32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293" h="326">
                  <a:moveTo>
                    <a:pt x="45" y="167"/>
                  </a:moveTo>
                  <a:lnTo>
                    <a:pt x="92" y="86"/>
                  </a:lnTo>
                  <a:lnTo>
                    <a:pt x="134" y="95"/>
                  </a:lnTo>
                  <a:lnTo>
                    <a:pt x="185" y="68"/>
                  </a:lnTo>
                  <a:lnTo>
                    <a:pt x="266" y="0"/>
                  </a:lnTo>
                  <a:lnTo>
                    <a:pt x="293" y="104"/>
                  </a:lnTo>
                  <a:lnTo>
                    <a:pt x="252" y="122"/>
                  </a:lnTo>
                  <a:lnTo>
                    <a:pt x="197" y="207"/>
                  </a:lnTo>
                  <a:lnTo>
                    <a:pt x="180" y="287"/>
                  </a:lnTo>
                  <a:lnTo>
                    <a:pt x="114" y="293"/>
                  </a:lnTo>
                  <a:lnTo>
                    <a:pt x="78" y="326"/>
                  </a:lnTo>
                  <a:lnTo>
                    <a:pt x="57" y="312"/>
                  </a:lnTo>
                  <a:lnTo>
                    <a:pt x="9" y="312"/>
                  </a:lnTo>
                  <a:lnTo>
                    <a:pt x="0" y="288"/>
                  </a:lnTo>
                  <a:lnTo>
                    <a:pt x="2" y="272"/>
                  </a:lnTo>
                  <a:lnTo>
                    <a:pt x="20" y="233"/>
                  </a:lnTo>
                  <a:lnTo>
                    <a:pt x="14" y="198"/>
                  </a:lnTo>
                  <a:lnTo>
                    <a:pt x="45" y="167"/>
                  </a:lnTo>
                  <a:close/>
                </a:path>
              </a:pathLst>
            </a:custGeom>
            <a:grpFill/>
            <a:ln w="9525">
              <a:solidFill>
                <a:schemeClr val="tx2">
                  <a:lumMod val="65000"/>
                </a:schemeClr>
              </a:solidFill>
              <a:round/>
              <a:headEnd/>
              <a:tailEnd/>
            </a:ln>
          </p:spPr>
          <p:txBody>
            <a:bodyPr lIns="91430" tIns="45715" rIns="91430" bIns="45715"/>
            <a:lstStyle/>
            <a:p>
              <a:endParaRPr lang="fr-FR"/>
            </a:p>
          </p:txBody>
        </p:sp>
        <p:sp>
          <p:nvSpPr>
            <p:cNvPr id="147" name="Freeform 9"/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3692525" y="1589088"/>
              <a:ext cx="174625" cy="398462"/>
            </a:xfrm>
            <a:custGeom>
              <a:avLst/>
              <a:gdLst>
                <a:gd name="T0" fmla="*/ 2147483647 w 232"/>
                <a:gd name="T1" fmla="*/ 2147483647 h 417"/>
                <a:gd name="T2" fmla="*/ 2147483647 w 232"/>
                <a:gd name="T3" fmla="*/ 2147483647 h 417"/>
                <a:gd name="T4" fmla="*/ 2147483647 w 232"/>
                <a:gd name="T5" fmla="*/ 2147483647 h 417"/>
                <a:gd name="T6" fmla="*/ 2147483647 w 232"/>
                <a:gd name="T7" fmla="*/ 2147483647 h 417"/>
                <a:gd name="T8" fmla="*/ 2147483647 w 232"/>
                <a:gd name="T9" fmla="*/ 2147483647 h 417"/>
                <a:gd name="T10" fmla="*/ 2147483647 w 232"/>
                <a:gd name="T11" fmla="*/ 2147483647 h 417"/>
                <a:gd name="T12" fmla="*/ 2147483647 w 232"/>
                <a:gd name="T13" fmla="*/ 2147483647 h 417"/>
                <a:gd name="T14" fmla="*/ 2147483647 w 232"/>
                <a:gd name="T15" fmla="*/ 2147483647 h 417"/>
                <a:gd name="T16" fmla="*/ 2147483647 w 232"/>
                <a:gd name="T17" fmla="*/ 2147483647 h 417"/>
                <a:gd name="T18" fmla="*/ 2147483647 w 232"/>
                <a:gd name="T19" fmla="*/ 2147483647 h 417"/>
                <a:gd name="T20" fmla="*/ 2147483647 w 232"/>
                <a:gd name="T21" fmla="*/ 2147483647 h 417"/>
                <a:gd name="T22" fmla="*/ 2147483647 w 232"/>
                <a:gd name="T23" fmla="*/ 2147483647 h 417"/>
                <a:gd name="T24" fmla="*/ 2147483647 w 232"/>
                <a:gd name="T25" fmla="*/ 2147483647 h 417"/>
                <a:gd name="T26" fmla="*/ 2147483647 w 232"/>
                <a:gd name="T27" fmla="*/ 2147483647 h 417"/>
                <a:gd name="T28" fmla="*/ 2147483647 w 232"/>
                <a:gd name="T29" fmla="*/ 2147483647 h 417"/>
                <a:gd name="T30" fmla="*/ 2147483647 w 232"/>
                <a:gd name="T31" fmla="*/ 2147483647 h 417"/>
                <a:gd name="T32" fmla="*/ 2147483647 w 232"/>
                <a:gd name="T33" fmla="*/ 2147483647 h 417"/>
                <a:gd name="T34" fmla="*/ 2147483647 w 232"/>
                <a:gd name="T35" fmla="*/ 2147483647 h 417"/>
                <a:gd name="T36" fmla="*/ 2147483647 w 232"/>
                <a:gd name="T37" fmla="*/ 2147483647 h 417"/>
                <a:gd name="T38" fmla="*/ 0 w 232"/>
                <a:gd name="T39" fmla="*/ 2147483647 h 417"/>
                <a:gd name="T40" fmla="*/ 2147483647 w 232"/>
                <a:gd name="T41" fmla="*/ 2147483647 h 417"/>
                <a:gd name="T42" fmla="*/ 2147483647 w 232"/>
                <a:gd name="T43" fmla="*/ 2147483647 h 417"/>
                <a:gd name="T44" fmla="*/ 2147483647 w 232"/>
                <a:gd name="T45" fmla="*/ 2147483647 h 417"/>
                <a:gd name="T46" fmla="*/ 2147483647 w 232"/>
                <a:gd name="T47" fmla="*/ 2147483647 h 417"/>
                <a:gd name="T48" fmla="*/ 2147483647 w 232"/>
                <a:gd name="T49" fmla="*/ 2147483647 h 417"/>
                <a:gd name="T50" fmla="*/ 2147483647 w 232"/>
                <a:gd name="T51" fmla="*/ 0 h 417"/>
                <a:gd name="T52" fmla="*/ 2147483647 w 232"/>
                <a:gd name="T53" fmla="*/ 0 h 417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232"/>
                <a:gd name="T82" fmla="*/ 0 h 417"/>
                <a:gd name="T83" fmla="*/ 232 w 232"/>
                <a:gd name="T84" fmla="*/ 417 h 417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232" h="417">
                  <a:moveTo>
                    <a:pt x="154" y="14"/>
                  </a:moveTo>
                  <a:lnTo>
                    <a:pt x="123" y="56"/>
                  </a:lnTo>
                  <a:lnTo>
                    <a:pt x="108" y="111"/>
                  </a:lnTo>
                  <a:lnTo>
                    <a:pt x="133" y="167"/>
                  </a:lnTo>
                  <a:lnTo>
                    <a:pt x="187" y="213"/>
                  </a:lnTo>
                  <a:lnTo>
                    <a:pt x="232" y="252"/>
                  </a:lnTo>
                  <a:lnTo>
                    <a:pt x="201" y="276"/>
                  </a:lnTo>
                  <a:lnTo>
                    <a:pt x="184" y="303"/>
                  </a:lnTo>
                  <a:lnTo>
                    <a:pt x="192" y="318"/>
                  </a:lnTo>
                  <a:lnTo>
                    <a:pt x="159" y="329"/>
                  </a:lnTo>
                  <a:lnTo>
                    <a:pt x="138" y="351"/>
                  </a:lnTo>
                  <a:lnTo>
                    <a:pt x="153" y="380"/>
                  </a:lnTo>
                  <a:lnTo>
                    <a:pt x="177" y="378"/>
                  </a:lnTo>
                  <a:lnTo>
                    <a:pt x="174" y="399"/>
                  </a:lnTo>
                  <a:lnTo>
                    <a:pt x="147" y="417"/>
                  </a:lnTo>
                  <a:lnTo>
                    <a:pt x="94" y="380"/>
                  </a:lnTo>
                  <a:lnTo>
                    <a:pt x="64" y="380"/>
                  </a:lnTo>
                  <a:lnTo>
                    <a:pt x="45" y="368"/>
                  </a:lnTo>
                  <a:lnTo>
                    <a:pt x="51" y="317"/>
                  </a:lnTo>
                  <a:lnTo>
                    <a:pt x="0" y="245"/>
                  </a:lnTo>
                  <a:lnTo>
                    <a:pt x="39" y="155"/>
                  </a:lnTo>
                  <a:lnTo>
                    <a:pt x="7" y="140"/>
                  </a:lnTo>
                  <a:lnTo>
                    <a:pt x="13" y="108"/>
                  </a:lnTo>
                  <a:lnTo>
                    <a:pt x="54" y="50"/>
                  </a:lnTo>
                  <a:lnTo>
                    <a:pt x="54" y="27"/>
                  </a:lnTo>
                  <a:lnTo>
                    <a:pt x="88" y="0"/>
                  </a:lnTo>
                  <a:lnTo>
                    <a:pt x="135" y="0"/>
                  </a:lnTo>
                </a:path>
              </a:pathLst>
            </a:custGeom>
            <a:grpFill/>
            <a:ln w="9525">
              <a:solidFill>
                <a:schemeClr val="tx2">
                  <a:lumMod val="65000"/>
                </a:schemeClr>
              </a:solidFill>
              <a:round/>
              <a:headEnd/>
              <a:tailEnd/>
            </a:ln>
          </p:spPr>
          <p:txBody>
            <a:bodyPr lIns="91430" tIns="45715" rIns="91430" bIns="45715"/>
            <a:lstStyle/>
            <a:p>
              <a:endParaRPr lang="fr-FR"/>
            </a:p>
          </p:txBody>
        </p:sp>
        <p:sp>
          <p:nvSpPr>
            <p:cNvPr id="148" name="Freeform 10"/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3797300" y="1831975"/>
              <a:ext cx="158750" cy="125413"/>
            </a:xfrm>
            <a:custGeom>
              <a:avLst/>
              <a:gdLst>
                <a:gd name="T0" fmla="*/ 2147483647 w 212"/>
                <a:gd name="T1" fmla="*/ 0 h 132"/>
                <a:gd name="T2" fmla="*/ 2147483647 w 212"/>
                <a:gd name="T3" fmla="*/ 2147483647 h 132"/>
                <a:gd name="T4" fmla="*/ 2147483647 w 212"/>
                <a:gd name="T5" fmla="*/ 2147483647 h 132"/>
                <a:gd name="T6" fmla="*/ 2147483647 w 212"/>
                <a:gd name="T7" fmla="*/ 2147483647 h 132"/>
                <a:gd name="T8" fmla="*/ 2147483647 w 212"/>
                <a:gd name="T9" fmla="*/ 2147483647 h 132"/>
                <a:gd name="T10" fmla="*/ 2147483647 w 212"/>
                <a:gd name="T11" fmla="*/ 2147483647 h 132"/>
                <a:gd name="T12" fmla="*/ 2147483647 w 212"/>
                <a:gd name="T13" fmla="*/ 2147483647 h 132"/>
                <a:gd name="T14" fmla="*/ 2147483647 w 212"/>
                <a:gd name="T15" fmla="*/ 2147483647 h 132"/>
                <a:gd name="T16" fmla="*/ 2147483647 w 212"/>
                <a:gd name="T17" fmla="*/ 2147483647 h 132"/>
                <a:gd name="T18" fmla="*/ 2147483647 w 212"/>
                <a:gd name="T19" fmla="*/ 2147483647 h 132"/>
                <a:gd name="T20" fmla="*/ 0 w 212"/>
                <a:gd name="T21" fmla="*/ 2147483647 h 132"/>
                <a:gd name="T22" fmla="*/ 2147483647 w 212"/>
                <a:gd name="T23" fmla="*/ 2147483647 h 132"/>
                <a:gd name="T24" fmla="*/ 2147483647 w 212"/>
                <a:gd name="T25" fmla="*/ 2147483647 h 132"/>
                <a:gd name="T26" fmla="*/ 2147483647 w 212"/>
                <a:gd name="T27" fmla="*/ 2147483647 h 132"/>
                <a:gd name="T28" fmla="*/ 2147483647 w 212"/>
                <a:gd name="T29" fmla="*/ 2147483647 h 132"/>
                <a:gd name="T30" fmla="*/ 2147483647 w 212"/>
                <a:gd name="T31" fmla="*/ 0 h 13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12"/>
                <a:gd name="T49" fmla="*/ 0 h 132"/>
                <a:gd name="T50" fmla="*/ 212 w 212"/>
                <a:gd name="T51" fmla="*/ 132 h 13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12" h="132">
                  <a:moveTo>
                    <a:pt x="96" y="0"/>
                  </a:moveTo>
                  <a:lnTo>
                    <a:pt x="140" y="28"/>
                  </a:lnTo>
                  <a:lnTo>
                    <a:pt x="212" y="76"/>
                  </a:lnTo>
                  <a:lnTo>
                    <a:pt x="188" y="103"/>
                  </a:lnTo>
                  <a:lnTo>
                    <a:pt x="143" y="100"/>
                  </a:lnTo>
                  <a:lnTo>
                    <a:pt x="120" y="123"/>
                  </a:lnTo>
                  <a:lnTo>
                    <a:pt x="92" y="132"/>
                  </a:lnTo>
                  <a:lnTo>
                    <a:pt x="60" y="123"/>
                  </a:lnTo>
                  <a:lnTo>
                    <a:pt x="33" y="124"/>
                  </a:lnTo>
                  <a:lnTo>
                    <a:pt x="14" y="127"/>
                  </a:lnTo>
                  <a:lnTo>
                    <a:pt x="0" y="99"/>
                  </a:lnTo>
                  <a:lnTo>
                    <a:pt x="24" y="72"/>
                  </a:lnTo>
                  <a:lnTo>
                    <a:pt x="54" y="64"/>
                  </a:lnTo>
                  <a:lnTo>
                    <a:pt x="42" y="51"/>
                  </a:lnTo>
                  <a:lnTo>
                    <a:pt x="62" y="21"/>
                  </a:lnTo>
                  <a:lnTo>
                    <a:pt x="96" y="0"/>
                  </a:lnTo>
                  <a:close/>
                </a:path>
              </a:pathLst>
            </a:custGeom>
            <a:grpFill/>
            <a:ln w="9525">
              <a:solidFill>
                <a:schemeClr val="tx2">
                  <a:lumMod val="65000"/>
                </a:schemeClr>
              </a:solidFill>
              <a:round/>
              <a:headEnd/>
              <a:tailEnd/>
            </a:ln>
          </p:spPr>
          <p:txBody>
            <a:bodyPr lIns="91430" tIns="45715" rIns="91430" bIns="45715"/>
            <a:lstStyle/>
            <a:p>
              <a:endParaRPr lang="fr-FR"/>
            </a:p>
          </p:txBody>
        </p:sp>
        <p:sp>
          <p:nvSpPr>
            <p:cNvPr id="149" name="Freeform 11"/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3697288" y="1903413"/>
              <a:ext cx="298450" cy="214312"/>
            </a:xfrm>
            <a:custGeom>
              <a:avLst/>
              <a:gdLst>
                <a:gd name="T0" fmla="*/ 2147483647 w 397"/>
                <a:gd name="T1" fmla="*/ 0 h 225"/>
                <a:gd name="T2" fmla="*/ 2147483647 w 397"/>
                <a:gd name="T3" fmla="*/ 2147483647 h 225"/>
                <a:gd name="T4" fmla="*/ 2147483647 w 397"/>
                <a:gd name="T5" fmla="*/ 2147483647 h 225"/>
                <a:gd name="T6" fmla="*/ 2147483647 w 397"/>
                <a:gd name="T7" fmla="*/ 2147483647 h 225"/>
                <a:gd name="T8" fmla="*/ 2147483647 w 397"/>
                <a:gd name="T9" fmla="*/ 2147483647 h 225"/>
                <a:gd name="T10" fmla="*/ 2147483647 w 397"/>
                <a:gd name="T11" fmla="*/ 2147483647 h 225"/>
                <a:gd name="T12" fmla="*/ 2147483647 w 397"/>
                <a:gd name="T13" fmla="*/ 2147483647 h 225"/>
                <a:gd name="T14" fmla="*/ 2147483647 w 397"/>
                <a:gd name="T15" fmla="*/ 2147483647 h 225"/>
                <a:gd name="T16" fmla="*/ 2147483647 w 397"/>
                <a:gd name="T17" fmla="*/ 2147483647 h 225"/>
                <a:gd name="T18" fmla="*/ 2147483647 w 397"/>
                <a:gd name="T19" fmla="*/ 2147483647 h 225"/>
                <a:gd name="T20" fmla="*/ 2147483647 w 397"/>
                <a:gd name="T21" fmla="*/ 2147483647 h 225"/>
                <a:gd name="T22" fmla="*/ 2147483647 w 397"/>
                <a:gd name="T23" fmla="*/ 2147483647 h 225"/>
                <a:gd name="T24" fmla="*/ 2147483647 w 397"/>
                <a:gd name="T25" fmla="*/ 2147483647 h 225"/>
                <a:gd name="T26" fmla="*/ 2147483647 w 397"/>
                <a:gd name="T27" fmla="*/ 2147483647 h 225"/>
                <a:gd name="T28" fmla="*/ 2147483647 w 397"/>
                <a:gd name="T29" fmla="*/ 2147483647 h 225"/>
                <a:gd name="T30" fmla="*/ 2147483647 w 397"/>
                <a:gd name="T31" fmla="*/ 2147483647 h 225"/>
                <a:gd name="T32" fmla="*/ 2147483647 w 397"/>
                <a:gd name="T33" fmla="*/ 2147483647 h 225"/>
                <a:gd name="T34" fmla="*/ 2147483647 w 397"/>
                <a:gd name="T35" fmla="*/ 2147483647 h 225"/>
                <a:gd name="T36" fmla="*/ 2147483647 w 397"/>
                <a:gd name="T37" fmla="*/ 2147483647 h 225"/>
                <a:gd name="T38" fmla="*/ 2147483647 w 397"/>
                <a:gd name="T39" fmla="*/ 2147483647 h 225"/>
                <a:gd name="T40" fmla="*/ 0 w 397"/>
                <a:gd name="T41" fmla="*/ 2147483647 h 225"/>
                <a:gd name="T42" fmla="*/ 2147483647 w 397"/>
                <a:gd name="T43" fmla="*/ 2147483647 h 225"/>
                <a:gd name="T44" fmla="*/ 2147483647 w 397"/>
                <a:gd name="T45" fmla="*/ 2147483647 h 225"/>
                <a:gd name="T46" fmla="*/ 2147483647 w 397"/>
                <a:gd name="T47" fmla="*/ 2147483647 h 225"/>
                <a:gd name="T48" fmla="*/ 2147483647 w 397"/>
                <a:gd name="T49" fmla="*/ 2147483647 h 225"/>
                <a:gd name="T50" fmla="*/ 2147483647 w 397"/>
                <a:gd name="T51" fmla="*/ 2147483647 h 225"/>
                <a:gd name="T52" fmla="*/ 2147483647 w 397"/>
                <a:gd name="T53" fmla="*/ 2147483647 h 225"/>
                <a:gd name="T54" fmla="*/ 2147483647 w 397"/>
                <a:gd name="T55" fmla="*/ 2147483647 h 225"/>
                <a:gd name="T56" fmla="*/ 2147483647 w 397"/>
                <a:gd name="T57" fmla="*/ 2147483647 h 225"/>
                <a:gd name="T58" fmla="*/ 2147483647 w 397"/>
                <a:gd name="T59" fmla="*/ 2147483647 h 225"/>
                <a:gd name="T60" fmla="*/ 2147483647 w 397"/>
                <a:gd name="T61" fmla="*/ 2147483647 h 225"/>
                <a:gd name="T62" fmla="*/ 2147483647 w 397"/>
                <a:gd name="T63" fmla="*/ 2147483647 h 225"/>
                <a:gd name="T64" fmla="*/ 2147483647 w 397"/>
                <a:gd name="T65" fmla="*/ 2147483647 h 225"/>
                <a:gd name="T66" fmla="*/ 2147483647 w 397"/>
                <a:gd name="T67" fmla="*/ 2147483647 h 225"/>
                <a:gd name="T68" fmla="*/ 2147483647 w 397"/>
                <a:gd name="T69" fmla="*/ 0 h 225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97"/>
                <a:gd name="T106" fmla="*/ 0 h 225"/>
                <a:gd name="T107" fmla="*/ 397 w 397"/>
                <a:gd name="T108" fmla="*/ 225 h 225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97" h="225">
                  <a:moveTo>
                    <a:pt x="343" y="0"/>
                  </a:moveTo>
                  <a:lnTo>
                    <a:pt x="352" y="12"/>
                  </a:lnTo>
                  <a:lnTo>
                    <a:pt x="340" y="139"/>
                  </a:lnTo>
                  <a:lnTo>
                    <a:pt x="397" y="144"/>
                  </a:lnTo>
                  <a:lnTo>
                    <a:pt x="327" y="225"/>
                  </a:lnTo>
                  <a:lnTo>
                    <a:pt x="304" y="204"/>
                  </a:lnTo>
                  <a:lnTo>
                    <a:pt x="298" y="180"/>
                  </a:lnTo>
                  <a:lnTo>
                    <a:pt x="267" y="195"/>
                  </a:lnTo>
                  <a:lnTo>
                    <a:pt x="246" y="180"/>
                  </a:lnTo>
                  <a:lnTo>
                    <a:pt x="258" y="145"/>
                  </a:lnTo>
                  <a:lnTo>
                    <a:pt x="235" y="142"/>
                  </a:lnTo>
                  <a:lnTo>
                    <a:pt x="229" y="159"/>
                  </a:lnTo>
                  <a:lnTo>
                    <a:pt x="199" y="166"/>
                  </a:lnTo>
                  <a:lnTo>
                    <a:pt x="174" y="159"/>
                  </a:lnTo>
                  <a:lnTo>
                    <a:pt x="150" y="193"/>
                  </a:lnTo>
                  <a:lnTo>
                    <a:pt x="106" y="210"/>
                  </a:lnTo>
                  <a:lnTo>
                    <a:pt x="48" y="208"/>
                  </a:lnTo>
                  <a:lnTo>
                    <a:pt x="31" y="195"/>
                  </a:lnTo>
                  <a:lnTo>
                    <a:pt x="22" y="171"/>
                  </a:lnTo>
                  <a:lnTo>
                    <a:pt x="6" y="133"/>
                  </a:lnTo>
                  <a:lnTo>
                    <a:pt x="0" y="103"/>
                  </a:lnTo>
                  <a:lnTo>
                    <a:pt x="19" y="73"/>
                  </a:lnTo>
                  <a:lnTo>
                    <a:pt x="33" y="49"/>
                  </a:lnTo>
                  <a:lnTo>
                    <a:pt x="42" y="40"/>
                  </a:lnTo>
                  <a:lnTo>
                    <a:pt x="60" y="51"/>
                  </a:lnTo>
                  <a:lnTo>
                    <a:pt x="91" y="51"/>
                  </a:lnTo>
                  <a:lnTo>
                    <a:pt x="141" y="88"/>
                  </a:lnTo>
                  <a:lnTo>
                    <a:pt x="166" y="69"/>
                  </a:lnTo>
                  <a:lnTo>
                    <a:pt x="169" y="49"/>
                  </a:lnTo>
                  <a:lnTo>
                    <a:pt x="195" y="46"/>
                  </a:lnTo>
                  <a:lnTo>
                    <a:pt x="225" y="58"/>
                  </a:lnTo>
                  <a:lnTo>
                    <a:pt x="256" y="46"/>
                  </a:lnTo>
                  <a:lnTo>
                    <a:pt x="273" y="27"/>
                  </a:lnTo>
                  <a:lnTo>
                    <a:pt x="324" y="27"/>
                  </a:lnTo>
                  <a:lnTo>
                    <a:pt x="343" y="0"/>
                  </a:lnTo>
                  <a:close/>
                </a:path>
              </a:pathLst>
            </a:custGeom>
            <a:grpFill/>
            <a:ln w="9525">
              <a:solidFill>
                <a:schemeClr val="tx2">
                  <a:lumMod val="65000"/>
                </a:schemeClr>
              </a:solidFill>
              <a:round/>
              <a:headEnd/>
              <a:tailEnd/>
            </a:ln>
          </p:spPr>
          <p:txBody>
            <a:bodyPr lIns="91430" tIns="45715" rIns="91430" bIns="45715"/>
            <a:lstStyle/>
            <a:p>
              <a:endParaRPr lang="fr-FR"/>
            </a:p>
          </p:txBody>
        </p:sp>
        <p:sp>
          <p:nvSpPr>
            <p:cNvPr id="150" name="Freeform 12"/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3511550" y="2035175"/>
              <a:ext cx="431800" cy="476250"/>
            </a:xfrm>
            <a:custGeom>
              <a:avLst/>
              <a:gdLst>
                <a:gd name="T0" fmla="*/ 2147483647 w 573"/>
                <a:gd name="T1" fmla="*/ 2147483647 h 498"/>
                <a:gd name="T2" fmla="*/ 2147483647 w 573"/>
                <a:gd name="T3" fmla="*/ 2147483647 h 498"/>
                <a:gd name="T4" fmla="*/ 2147483647 w 573"/>
                <a:gd name="T5" fmla="*/ 2147483647 h 498"/>
                <a:gd name="T6" fmla="*/ 2147483647 w 573"/>
                <a:gd name="T7" fmla="*/ 2147483647 h 498"/>
                <a:gd name="T8" fmla="*/ 2147483647 w 573"/>
                <a:gd name="T9" fmla="*/ 2147483647 h 498"/>
                <a:gd name="T10" fmla="*/ 2147483647 w 573"/>
                <a:gd name="T11" fmla="*/ 2147483647 h 498"/>
                <a:gd name="T12" fmla="*/ 2147483647 w 573"/>
                <a:gd name="T13" fmla="*/ 2147483647 h 498"/>
                <a:gd name="T14" fmla="*/ 2147483647 w 573"/>
                <a:gd name="T15" fmla="*/ 2147483647 h 498"/>
                <a:gd name="T16" fmla="*/ 2147483647 w 573"/>
                <a:gd name="T17" fmla="*/ 2147483647 h 498"/>
                <a:gd name="T18" fmla="*/ 2147483647 w 573"/>
                <a:gd name="T19" fmla="*/ 2147483647 h 498"/>
                <a:gd name="T20" fmla="*/ 0 w 573"/>
                <a:gd name="T21" fmla="*/ 2147483647 h 498"/>
                <a:gd name="T22" fmla="*/ 2147483647 w 573"/>
                <a:gd name="T23" fmla="*/ 2147483647 h 498"/>
                <a:gd name="T24" fmla="*/ 2147483647 w 573"/>
                <a:gd name="T25" fmla="*/ 2147483647 h 498"/>
                <a:gd name="T26" fmla="*/ 2147483647 w 573"/>
                <a:gd name="T27" fmla="*/ 2147483647 h 498"/>
                <a:gd name="T28" fmla="*/ 2147483647 w 573"/>
                <a:gd name="T29" fmla="*/ 2147483647 h 498"/>
                <a:gd name="T30" fmla="*/ 2147483647 w 573"/>
                <a:gd name="T31" fmla="*/ 2147483647 h 498"/>
                <a:gd name="T32" fmla="*/ 2147483647 w 573"/>
                <a:gd name="T33" fmla="*/ 2147483647 h 498"/>
                <a:gd name="T34" fmla="*/ 2147483647 w 573"/>
                <a:gd name="T35" fmla="*/ 2147483647 h 498"/>
                <a:gd name="T36" fmla="*/ 2147483647 w 573"/>
                <a:gd name="T37" fmla="*/ 2147483647 h 498"/>
                <a:gd name="T38" fmla="*/ 2147483647 w 573"/>
                <a:gd name="T39" fmla="*/ 2147483647 h 498"/>
                <a:gd name="T40" fmla="*/ 2147483647 w 573"/>
                <a:gd name="T41" fmla="*/ 2147483647 h 498"/>
                <a:gd name="T42" fmla="*/ 2147483647 w 573"/>
                <a:gd name="T43" fmla="*/ 2147483647 h 498"/>
                <a:gd name="T44" fmla="*/ 2147483647 w 573"/>
                <a:gd name="T45" fmla="*/ 2147483647 h 498"/>
                <a:gd name="T46" fmla="*/ 2147483647 w 573"/>
                <a:gd name="T47" fmla="*/ 2147483647 h 498"/>
                <a:gd name="T48" fmla="*/ 2147483647 w 573"/>
                <a:gd name="T49" fmla="*/ 2147483647 h 498"/>
                <a:gd name="T50" fmla="*/ 2147483647 w 573"/>
                <a:gd name="T51" fmla="*/ 2147483647 h 498"/>
                <a:gd name="T52" fmla="*/ 2147483647 w 573"/>
                <a:gd name="T53" fmla="*/ 2147483647 h 498"/>
                <a:gd name="T54" fmla="*/ 2147483647 w 573"/>
                <a:gd name="T55" fmla="*/ 2147483647 h 498"/>
                <a:gd name="T56" fmla="*/ 2147483647 w 573"/>
                <a:gd name="T57" fmla="*/ 2147483647 h 498"/>
                <a:gd name="T58" fmla="*/ 2147483647 w 573"/>
                <a:gd name="T59" fmla="*/ 2147483647 h 498"/>
                <a:gd name="T60" fmla="*/ 2147483647 w 573"/>
                <a:gd name="T61" fmla="*/ 2147483647 h 498"/>
                <a:gd name="T62" fmla="*/ 2147483647 w 573"/>
                <a:gd name="T63" fmla="*/ 2147483647 h 498"/>
                <a:gd name="T64" fmla="*/ 2147483647 w 573"/>
                <a:gd name="T65" fmla="*/ 2147483647 h 498"/>
                <a:gd name="T66" fmla="*/ 2147483647 w 573"/>
                <a:gd name="T67" fmla="*/ 2147483647 h 498"/>
                <a:gd name="T68" fmla="*/ 2147483647 w 573"/>
                <a:gd name="T69" fmla="*/ 2147483647 h 498"/>
                <a:gd name="T70" fmla="*/ 2147483647 w 573"/>
                <a:gd name="T71" fmla="*/ 0 h 498"/>
                <a:gd name="T72" fmla="*/ 2147483647 w 573"/>
                <a:gd name="T73" fmla="*/ 2147483647 h 498"/>
                <a:gd name="T74" fmla="*/ 2147483647 w 573"/>
                <a:gd name="T75" fmla="*/ 2147483647 h 498"/>
                <a:gd name="T76" fmla="*/ 2147483647 w 573"/>
                <a:gd name="T77" fmla="*/ 2147483647 h 498"/>
                <a:gd name="T78" fmla="*/ 2147483647 w 573"/>
                <a:gd name="T79" fmla="*/ 2147483647 h 498"/>
                <a:gd name="T80" fmla="*/ 2147483647 w 573"/>
                <a:gd name="T81" fmla="*/ 2147483647 h 498"/>
                <a:gd name="T82" fmla="*/ 2147483647 w 573"/>
                <a:gd name="T83" fmla="*/ 2147483647 h 498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573"/>
                <a:gd name="T127" fmla="*/ 0 h 498"/>
                <a:gd name="T128" fmla="*/ 573 w 573"/>
                <a:gd name="T129" fmla="*/ 498 h 498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573" h="498">
                  <a:moveTo>
                    <a:pt x="573" y="86"/>
                  </a:moveTo>
                  <a:lnTo>
                    <a:pt x="546" y="156"/>
                  </a:lnTo>
                  <a:lnTo>
                    <a:pt x="430" y="279"/>
                  </a:lnTo>
                  <a:lnTo>
                    <a:pt x="432" y="291"/>
                  </a:lnTo>
                  <a:lnTo>
                    <a:pt x="295" y="365"/>
                  </a:lnTo>
                  <a:lnTo>
                    <a:pt x="240" y="401"/>
                  </a:lnTo>
                  <a:lnTo>
                    <a:pt x="235" y="432"/>
                  </a:lnTo>
                  <a:lnTo>
                    <a:pt x="183" y="483"/>
                  </a:lnTo>
                  <a:lnTo>
                    <a:pt x="160" y="498"/>
                  </a:lnTo>
                  <a:lnTo>
                    <a:pt x="70" y="479"/>
                  </a:lnTo>
                  <a:lnTo>
                    <a:pt x="0" y="452"/>
                  </a:lnTo>
                  <a:lnTo>
                    <a:pt x="39" y="437"/>
                  </a:lnTo>
                  <a:lnTo>
                    <a:pt x="54" y="438"/>
                  </a:lnTo>
                  <a:lnTo>
                    <a:pt x="87" y="450"/>
                  </a:lnTo>
                  <a:lnTo>
                    <a:pt x="91" y="437"/>
                  </a:lnTo>
                  <a:lnTo>
                    <a:pt x="46" y="402"/>
                  </a:lnTo>
                  <a:lnTo>
                    <a:pt x="58" y="395"/>
                  </a:lnTo>
                  <a:lnTo>
                    <a:pt x="97" y="401"/>
                  </a:lnTo>
                  <a:lnTo>
                    <a:pt x="168" y="356"/>
                  </a:lnTo>
                  <a:lnTo>
                    <a:pt x="204" y="336"/>
                  </a:lnTo>
                  <a:lnTo>
                    <a:pt x="199" y="318"/>
                  </a:lnTo>
                  <a:lnTo>
                    <a:pt x="109" y="287"/>
                  </a:lnTo>
                  <a:lnTo>
                    <a:pt x="135" y="240"/>
                  </a:lnTo>
                  <a:lnTo>
                    <a:pt x="153" y="200"/>
                  </a:lnTo>
                  <a:lnTo>
                    <a:pt x="187" y="186"/>
                  </a:lnTo>
                  <a:lnTo>
                    <a:pt x="195" y="134"/>
                  </a:lnTo>
                  <a:lnTo>
                    <a:pt x="216" y="78"/>
                  </a:lnTo>
                  <a:lnTo>
                    <a:pt x="255" y="63"/>
                  </a:lnTo>
                  <a:lnTo>
                    <a:pt x="277" y="57"/>
                  </a:lnTo>
                  <a:lnTo>
                    <a:pt x="297" y="69"/>
                  </a:lnTo>
                  <a:lnTo>
                    <a:pt x="351" y="71"/>
                  </a:lnTo>
                  <a:lnTo>
                    <a:pt x="396" y="53"/>
                  </a:lnTo>
                  <a:lnTo>
                    <a:pt x="421" y="17"/>
                  </a:lnTo>
                  <a:lnTo>
                    <a:pt x="445" y="24"/>
                  </a:lnTo>
                  <a:lnTo>
                    <a:pt x="475" y="20"/>
                  </a:lnTo>
                  <a:lnTo>
                    <a:pt x="481" y="0"/>
                  </a:lnTo>
                  <a:lnTo>
                    <a:pt x="504" y="3"/>
                  </a:lnTo>
                  <a:lnTo>
                    <a:pt x="493" y="44"/>
                  </a:lnTo>
                  <a:lnTo>
                    <a:pt x="511" y="54"/>
                  </a:lnTo>
                  <a:lnTo>
                    <a:pt x="547" y="39"/>
                  </a:lnTo>
                  <a:lnTo>
                    <a:pt x="549" y="63"/>
                  </a:lnTo>
                  <a:lnTo>
                    <a:pt x="573" y="86"/>
                  </a:lnTo>
                  <a:close/>
                </a:path>
              </a:pathLst>
            </a:custGeom>
            <a:grpFill/>
            <a:ln w="9525">
              <a:solidFill>
                <a:schemeClr val="tx2">
                  <a:lumMod val="65000"/>
                </a:schemeClr>
              </a:solidFill>
              <a:round/>
              <a:headEnd/>
              <a:tailEnd/>
            </a:ln>
          </p:spPr>
          <p:txBody>
            <a:bodyPr lIns="91430" tIns="45715" rIns="91430" bIns="45715"/>
            <a:lstStyle/>
            <a:p>
              <a:endParaRPr lang="fr-FR"/>
            </a:p>
          </p:txBody>
        </p:sp>
        <p:sp>
          <p:nvSpPr>
            <p:cNvPr id="151" name="Freeform 13"/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3416300" y="2462213"/>
              <a:ext cx="371475" cy="385762"/>
            </a:xfrm>
            <a:custGeom>
              <a:avLst/>
              <a:gdLst>
                <a:gd name="T0" fmla="*/ 2147483647 w 492"/>
                <a:gd name="T1" fmla="*/ 2147483647 h 404"/>
                <a:gd name="T2" fmla="*/ 2147483647 w 492"/>
                <a:gd name="T3" fmla="*/ 2147483647 h 404"/>
                <a:gd name="T4" fmla="*/ 2147483647 w 492"/>
                <a:gd name="T5" fmla="*/ 2147483647 h 404"/>
                <a:gd name="T6" fmla="*/ 2147483647 w 492"/>
                <a:gd name="T7" fmla="*/ 2147483647 h 404"/>
                <a:gd name="T8" fmla="*/ 2147483647 w 492"/>
                <a:gd name="T9" fmla="*/ 2147483647 h 404"/>
                <a:gd name="T10" fmla="*/ 2147483647 w 492"/>
                <a:gd name="T11" fmla="*/ 2147483647 h 404"/>
                <a:gd name="T12" fmla="*/ 2147483647 w 492"/>
                <a:gd name="T13" fmla="*/ 2147483647 h 404"/>
                <a:gd name="T14" fmla="*/ 2147483647 w 492"/>
                <a:gd name="T15" fmla="*/ 2147483647 h 404"/>
                <a:gd name="T16" fmla="*/ 2147483647 w 492"/>
                <a:gd name="T17" fmla="*/ 2147483647 h 404"/>
                <a:gd name="T18" fmla="*/ 2147483647 w 492"/>
                <a:gd name="T19" fmla="*/ 2147483647 h 404"/>
                <a:gd name="T20" fmla="*/ 2147483647 w 492"/>
                <a:gd name="T21" fmla="*/ 2147483647 h 404"/>
                <a:gd name="T22" fmla="*/ 2147483647 w 492"/>
                <a:gd name="T23" fmla="*/ 2147483647 h 404"/>
                <a:gd name="T24" fmla="*/ 2147483647 w 492"/>
                <a:gd name="T25" fmla="*/ 2147483647 h 404"/>
                <a:gd name="T26" fmla="*/ 2147483647 w 492"/>
                <a:gd name="T27" fmla="*/ 2147483647 h 404"/>
                <a:gd name="T28" fmla="*/ 2147483647 w 492"/>
                <a:gd name="T29" fmla="*/ 2147483647 h 404"/>
                <a:gd name="T30" fmla="*/ 2147483647 w 492"/>
                <a:gd name="T31" fmla="*/ 2147483647 h 404"/>
                <a:gd name="T32" fmla="*/ 2147483647 w 492"/>
                <a:gd name="T33" fmla="*/ 2147483647 h 404"/>
                <a:gd name="T34" fmla="*/ 2147483647 w 492"/>
                <a:gd name="T35" fmla="*/ 2147483647 h 404"/>
                <a:gd name="T36" fmla="*/ 2147483647 w 492"/>
                <a:gd name="T37" fmla="*/ 2147483647 h 404"/>
                <a:gd name="T38" fmla="*/ 2147483647 w 492"/>
                <a:gd name="T39" fmla="*/ 2147483647 h 404"/>
                <a:gd name="T40" fmla="*/ 2147483647 w 492"/>
                <a:gd name="T41" fmla="*/ 2147483647 h 404"/>
                <a:gd name="T42" fmla="*/ 2147483647 w 492"/>
                <a:gd name="T43" fmla="*/ 2147483647 h 404"/>
                <a:gd name="T44" fmla="*/ 2147483647 w 492"/>
                <a:gd name="T45" fmla="*/ 2147483647 h 404"/>
                <a:gd name="T46" fmla="*/ 2147483647 w 492"/>
                <a:gd name="T47" fmla="*/ 2147483647 h 404"/>
                <a:gd name="T48" fmla="*/ 0 w 492"/>
                <a:gd name="T49" fmla="*/ 2147483647 h 404"/>
                <a:gd name="T50" fmla="*/ 2147483647 w 492"/>
                <a:gd name="T51" fmla="*/ 0 h 404"/>
                <a:gd name="T52" fmla="*/ 2147483647 w 492"/>
                <a:gd name="T53" fmla="*/ 2147483647 h 404"/>
                <a:gd name="T54" fmla="*/ 2147483647 w 492"/>
                <a:gd name="T55" fmla="*/ 2147483647 h 404"/>
                <a:gd name="T56" fmla="*/ 2147483647 w 492"/>
                <a:gd name="T57" fmla="*/ 0 h 404"/>
                <a:gd name="T58" fmla="*/ 2147483647 w 492"/>
                <a:gd name="T59" fmla="*/ 2147483647 h 404"/>
                <a:gd name="T60" fmla="*/ 2147483647 w 492"/>
                <a:gd name="T61" fmla="*/ 2147483647 h 404"/>
                <a:gd name="T62" fmla="*/ 2147483647 w 492"/>
                <a:gd name="T63" fmla="*/ 2147483647 h 404"/>
                <a:gd name="T64" fmla="*/ 2147483647 w 492"/>
                <a:gd name="T65" fmla="*/ 2147483647 h 40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492"/>
                <a:gd name="T100" fmla="*/ 0 h 404"/>
                <a:gd name="T101" fmla="*/ 492 w 492"/>
                <a:gd name="T102" fmla="*/ 404 h 404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492" h="404">
                  <a:moveTo>
                    <a:pt x="313" y="30"/>
                  </a:moveTo>
                  <a:lnTo>
                    <a:pt x="325" y="131"/>
                  </a:lnTo>
                  <a:lnTo>
                    <a:pt x="436" y="215"/>
                  </a:lnTo>
                  <a:lnTo>
                    <a:pt x="492" y="249"/>
                  </a:lnTo>
                  <a:lnTo>
                    <a:pt x="460" y="275"/>
                  </a:lnTo>
                  <a:lnTo>
                    <a:pt x="435" y="312"/>
                  </a:lnTo>
                  <a:lnTo>
                    <a:pt x="415" y="339"/>
                  </a:lnTo>
                  <a:lnTo>
                    <a:pt x="375" y="347"/>
                  </a:lnTo>
                  <a:lnTo>
                    <a:pt x="346" y="377"/>
                  </a:lnTo>
                  <a:lnTo>
                    <a:pt x="310" y="399"/>
                  </a:lnTo>
                  <a:lnTo>
                    <a:pt x="294" y="392"/>
                  </a:lnTo>
                  <a:lnTo>
                    <a:pt x="187" y="404"/>
                  </a:lnTo>
                  <a:lnTo>
                    <a:pt x="165" y="369"/>
                  </a:lnTo>
                  <a:lnTo>
                    <a:pt x="144" y="345"/>
                  </a:lnTo>
                  <a:lnTo>
                    <a:pt x="120" y="332"/>
                  </a:lnTo>
                  <a:lnTo>
                    <a:pt x="121" y="293"/>
                  </a:lnTo>
                  <a:lnTo>
                    <a:pt x="144" y="270"/>
                  </a:lnTo>
                  <a:lnTo>
                    <a:pt x="88" y="242"/>
                  </a:lnTo>
                  <a:lnTo>
                    <a:pt x="51" y="224"/>
                  </a:lnTo>
                  <a:lnTo>
                    <a:pt x="25" y="165"/>
                  </a:lnTo>
                  <a:lnTo>
                    <a:pt x="7" y="123"/>
                  </a:lnTo>
                  <a:lnTo>
                    <a:pt x="19" y="77"/>
                  </a:lnTo>
                  <a:lnTo>
                    <a:pt x="40" y="44"/>
                  </a:lnTo>
                  <a:lnTo>
                    <a:pt x="12" y="27"/>
                  </a:lnTo>
                  <a:lnTo>
                    <a:pt x="0" y="12"/>
                  </a:lnTo>
                  <a:lnTo>
                    <a:pt x="42" y="0"/>
                  </a:lnTo>
                  <a:lnTo>
                    <a:pt x="78" y="3"/>
                  </a:lnTo>
                  <a:lnTo>
                    <a:pt x="99" y="11"/>
                  </a:lnTo>
                  <a:lnTo>
                    <a:pt x="117" y="0"/>
                  </a:lnTo>
                  <a:lnTo>
                    <a:pt x="130" y="11"/>
                  </a:lnTo>
                  <a:lnTo>
                    <a:pt x="193" y="33"/>
                  </a:lnTo>
                  <a:lnTo>
                    <a:pt x="286" y="53"/>
                  </a:lnTo>
                  <a:lnTo>
                    <a:pt x="313" y="30"/>
                  </a:lnTo>
                  <a:close/>
                </a:path>
              </a:pathLst>
            </a:custGeom>
            <a:grpFill/>
            <a:ln w="9525">
              <a:solidFill>
                <a:schemeClr val="tx2">
                  <a:lumMod val="65000"/>
                </a:schemeClr>
              </a:solidFill>
              <a:round/>
              <a:headEnd/>
              <a:tailEnd/>
            </a:ln>
          </p:spPr>
          <p:txBody>
            <a:bodyPr lIns="91430" tIns="45715" rIns="91430" bIns="45715"/>
            <a:lstStyle/>
            <a:p>
              <a:endParaRPr lang="fr-FR"/>
            </a:p>
          </p:txBody>
        </p:sp>
        <p:sp>
          <p:nvSpPr>
            <p:cNvPr id="152" name="Freeform 14"/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3560763" y="2665413"/>
              <a:ext cx="579437" cy="576262"/>
            </a:xfrm>
            <a:custGeom>
              <a:avLst/>
              <a:gdLst>
                <a:gd name="T0" fmla="*/ 2147483647 w 769"/>
                <a:gd name="T1" fmla="*/ 2147483647 h 604"/>
                <a:gd name="T2" fmla="*/ 2147483647 w 769"/>
                <a:gd name="T3" fmla="*/ 0 h 604"/>
                <a:gd name="T4" fmla="*/ 2147483647 w 769"/>
                <a:gd name="T5" fmla="*/ 2147483647 h 604"/>
                <a:gd name="T6" fmla="*/ 2147483647 w 769"/>
                <a:gd name="T7" fmla="*/ 2147483647 h 604"/>
                <a:gd name="T8" fmla="*/ 2147483647 w 769"/>
                <a:gd name="T9" fmla="*/ 2147483647 h 604"/>
                <a:gd name="T10" fmla="*/ 2147483647 w 769"/>
                <a:gd name="T11" fmla="*/ 2147483647 h 604"/>
                <a:gd name="T12" fmla="*/ 2147483647 w 769"/>
                <a:gd name="T13" fmla="*/ 2147483647 h 604"/>
                <a:gd name="T14" fmla="*/ 2147483647 w 769"/>
                <a:gd name="T15" fmla="*/ 2147483647 h 604"/>
                <a:gd name="T16" fmla="*/ 2147483647 w 769"/>
                <a:gd name="T17" fmla="*/ 2147483647 h 604"/>
                <a:gd name="T18" fmla="*/ 2147483647 w 769"/>
                <a:gd name="T19" fmla="*/ 2147483647 h 604"/>
                <a:gd name="T20" fmla="*/ 2147483647 w 769"/>
                <a:gd name="T21" fmla="*/ 2147483647 h 604"/>
                <a:gd name="T22" fmla="*/ 2147483647 w 769"/>
                <a:gd name="T23" fmla="*/ 2147483647 h 604"/>
                <a:gd name="T24" fmla="*/ 2147483647 w 769"/>
                <a:gd name="T25" fmla="*/ 2147483647 h 604"/>
                <a:gd name="T26" fmla="*/ 2147483647 w 769"/>
                <a:gd name="T27" fmla="*/ 2147483647 h 604"/>
                <a:gd name="T28" fmla="*/ 2147483647 w 769"/>
                <a:gd name="T29" fmla="*/ 2147483647 h 604"/>
                <a:gd name="T30" fmla="*/ 2147483647 w 769"/>
                <a:gd name="T31" fmla="*/ 2147483647 h 604"/>
                <a:gd name="T32" fmla="*/ 2147483647 w 769"/>
                <a:gd name="T33" fmla="*/ 2147483647 h 604"/>
                <a:gd name="T34" fmla="*/ 2147483647 w 769"/>
                <a:gd name="T35" fmla="*/ 2147483647 h 604"/>
                <a:gd name="T36" fmla="*/ 2147483647 w 769"/>
                <a:gd name="T37" fmla="*/ 2147483647 h 604"/>
                <a:gd name="T38" fmla="*/ 2147483647 w 769"/>
                <a:gd name="T39" fmla="*/ 2147483647 h 604"/>
                <a:gd name="T40" fmla="*/ 2147483647 w 769"/>
                <a:gd name="T41" fmla="*/ 2147483647 h 604"/>
                <a:gd name="T42" fmla="*/ 2147483647 w 769"/>
                <a:gd name="T43" fmla="*/ 2147483647 h 604"/>
                <a:gd name="T44" fmla="*/ 2147483647 w 769"/>
                <a:gd name="T45" fmla="*/ 2147483647 h 604"/>
                <a:gd name="T46" fmla="*/ 2147483647 w 769"/>
                <a:gd name="T47" fmla="*/ 2147483647 h 604"/>
                <a:gd name="T48" fmla="*/ 2147483647 w 769"/>
                <a:gd name="T49" fmla="*/ 2147483647 h 604"/>
                <a:gd name="T50" fmla="*/ 2147483647 w 769"/>
                <a:gd name="T51" fmla="*/ 2147483647 h 604"/>
                <a:gd name="T52" fmla="*/ 2147483647 w 769"/>
                <a:gd name="T53" fmla="*/ 2147483647 h 604"/>
                <a:gd name="T54" fmla="*/ 2147483647 w 769"/>
                <a:gd name="T55" fmla="*/ 2147483647 h 604"/>
                <a:gd name="T56" fmla="*/ 2147483647 w 769"/>
                <a:gd name="T57" fmla="*/ 2147483647 h 604"/>
                <a:gd name="T58" fmla="*/ 2147483647 w 769"/>
                <a:gd name="T59" fmla="*/ 2147483647 h 604"/>
                <a:gd name="T60" fmla="*/ 2147483647 w 769"/>
                <a:gd name="T61" fmla="*/ 2147483647 h 604"/>
                <a:gd name="T62" fmla="*/ 2147483647 w 769"/>
                <a:gd name="T63" fmla="*/ 2147483647 h 604"/>
                <a:gd name="T64" fmla="*/ 2147483647 w 769"/>
                <a:gd name="T65" fmla="*/ 2147483647 h 604"/>
                <a:gd name="T66" fmla="*/ 2147483647 w 769"/>
                <a:gd name="T67" fmla="*/ 2147483647 h 604"/>
                <a:gd name="T68" fmla="*/ 2147483647 w 769"/>
                <a:gd name="T69" fmla="*/ 2147483647 h 604"/>
                <a:gd name="T70" fmla="*/ 2147483647 w 769"/>
                <a:gd name="T71" fmla="*/ 2147483647 h 604"/>
                <a:gd name="T72" fmla="*/ 2147483647 w 769"/>
                <a:gd name="T73" fmla="*/ 2147483647 h 604"/>
                <a:gd name="T74" fmla="*/ 2147483647 w 769"/>
                <a:gd name="T75" fmla="*/ 2147483647 h 604"/>
                <a:gd name="T76" fmla="*/ 2147483647 w 769"/>
                <a:gd name="T77" fmla="*/ 2147483647 h 604"/>
                <a:gd name="T78" fmla="*/ 2147483647 w 769"/>
                <a:gd name="T79" fmla="*/ 2147483647 h 604"/>
                <a:gd name="T80" fmla="*/ 2147483647 w 769"/>
                <a:gd name="T81" fmla="*/ 2147483647 h 604"/>
                <a:gd name="T82" fmla="*/ 2147483647 w 769"/>
                <a:gd name="T83" fmla="*/ 2147483647 h 604"/>
                <a:gd name="T84" fmla="*/ 2147483647 w 769"/>
                <a:gd name="T85" fmla="*/ 2147483647 h 604"/>
                <a:gd name="T86" fmla="*/ 0 w 769"/>
                <a:gd name="T87" fmla="*/ 2147483647 h 604"/>
                <a:gd name="T88" fmla="*/ 2147483647 w 769"/>
                <a:gd name="T89" fmla="*/ 2147483647 h 604"/>
                <a:gd name="T90" fmla="*/ 2147483647 w 769"/>
                <a:gd name="T91" fmla="*/ 2147483647 h 604"/>
                <a:gd name="T92" fmla="*/ 2147483647 w 769"/>
                <a:gd name="T93" fmla="*/ 2147483647 h 604"/>
                <a:gd name="T94" fmla="*/ 2147483647 w 769"/>
                <a:gd name="T95" fmla="*/ 2147483647 h 604"/>
                <a:gd name="T96" fmla="*/ 2147483647 w 769"/>
                <a:gd name="T97" fmla="*/ 2147483647 h 604"/>
                <a:gd name="T98" fmla="*/ 2147483647 w 769"/>
                <a:gd name="T99" fmla="*/ 2147483647 h 604"/>
                <a:gd name="T100" fmla="*/ 2147483647 w 769"/>
                <a:gd name="T101" fmla="*/ 2147483647 h 604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769"/>
                <a:gd name="T154" fmla="*/ 0 h 604"/>
                <a:gd name="T155" fmla="*/ 769 w 769"/>
                <a:gd name="T156" fmla="*/ 604 h 604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769" h="604">
                  <a:moveTo>
                    <a:pt x="298" y="37"/>
                  </a:moveTo>
                  <a:lnTo>
                    <a:pt x="405" y="0"/>
                  </a:lnTo>
                  <a:lnTo>
                    <a:pt x="417" y="37"/>
                  </a:lnTo>
                  <a:lnTo>
                    <a:pt x="379" y="93"/>
                  </a:lnTo>
                  <a:lnTo>
                    <a:pt x="408" y="111"/>
                  </a:lnTo>
                  <a:lnTo>
                    <a:pt x="493" y="78"/>
                  </a:lnTo>
                  <a:lnTo>
                    <a:pt x="510" y="25"/>
                  </a:lnTo>
                  <a:lnTo>
                    <a:pt x="555" y="60"/>
                  </a:lnTo>
                  <a:lnTo>
                    <a:pt x="573" y="211"/>
                  </a:lnTo>
                  <a:lnTo>
                    <a:pt x="612" y="220"/>
                  </a:lnTo>
                  <a:lnTo>
                    <a:pt x="732" y="238"/>
                  </a:lnTo>
                  <a:lnTo>
                    <a:pt x="715" y="346"/>
                  </a:lnTo>
                  <a:lnTo>
                    <a:pt x="721" y="451"/>
                  </a:lnTo>
                  <a:lnTo>
                    <a:pt x="721" y="468"/>
                  </a:lnTo>
                  <a:lnTo>
                    <a:pt x="769" y="531"/>
                  </a:lnTo>
                  <a:lnTo>
                    <a:pt x="700" y="562"/>
                  </a:lnTo>
                  <a:lnTo>
                    <a:pt x="582" y="604"/>
                  </a:lnTo>
                  <a:lnTo>
                    <a:pt x="594" y="580"/>
                  </a:lnTo>
                  <a:lnTo>
                    <a:pt x="655" y="558"/>
                  </a:lnTo>
                  <a:lnTo>
                    <a:pt x="678" y="535"/>
                  </a:lnTo>
                  <a:lnTo>
                    <a:pt x="676" y="513"/>
                  </a:lnTo>
                  <a:lnTo>
                    <a:pt x="649" y="516"/>
                  </a:lnTo>
                  <a:lnTo>
                    <a:pt x="598" y="481"/>
                  </a:lnTo>
                  <a:lnTo>
                    <a:pt x="535" y="442"/>
                  </a:lnTo>
                  <a:lnTo>
                    <a:pt x="552" y="382"/>
                  </a:lnTo>
                  <a:lnTo>
                    <a:pt x="570" y="352"/>
                  </a:lnTo>
                  <a:lnTo>
                    <a:pt x="538" y="313"/>
                  </a:lnTo>
                  <a:lnTo>
                    <a:pt x="514" y="300"/>
                  </a:lnTo>
                  <a:lnTo>
                    <a:pt x="511" y="286"/>
                  </a:lnTo>
                  <a:lnTo>
                    <a:pt x="453" y="267"/>
                  </a:lnTo>
                  <a:lnTo>
                    <a:pt x="396" y="246"/>
                  </a:lnTo>
                  <a:lnTo>
                    <a:pt x="358" y="226"/>
                  </a:lnTo>
                  <a:lnTo>
                    <a:pt x="334" y="207"/>
                  </a:lnTo>
                  <a:lnTo>
                    <a:pt x="286" y="225"/>
                  </a:lnTo>
                  <a:lnTo>
                    <a:pt x="250" y="228"/>
                  </a:lnTo>
                  <a:lnTo>
                    <a:pt x="231" y="241"/>
                  </a:lnTo>
                  <a:lnTo>
                    <a:pt x="204" y="262"/>
                  </a:lnTo>
                  <a:lnTo>
                    <a:pt x="193" y="252"/>
                  </a:lnTo>
                  <a:lnTo>
                    <a:pt x="163" y="268"/>
                  </a:lnTo>
                  <a:lnTo>
                    <a:pt x="151" y="280"/>
                  </a:lnTo>
                  <a:lnTo>
                    <a:pt x="82" y="289"/>
                  </a:lnTo>
                  <a:lnTo>
                    <a:pt x="73" y="261"/>
                  </a:lnTo>
                  <a:lnTo>
                    <a:pt x="76" y="229"/>
                  </a:lnTo>
                  <a:lnTo>
                    <a:pt x="0" y="190"/>
                  </a:lnTo>
                  <a:lnTo>
                    <a:pt x="102" y="175"/>
                  </a:lnTo>
                  <a:lnTo>
                    <a:pt x="121" y="184"/>
                  </a:lnTo>
                  <a:lnTo>
                    <a:pt x="157" y="160"/>
                  </a:lnTo>
                  <a:lnTo>
                    <a:pt x="180" y="135"/>
                  </a:lnTo>
                  <a:lnTo>
                    <a:pt x="226" y="126"/>
                  </a:lnTo>
                  <a:lnTo>
                    <a:pt x="265" y="61"/>
                  </a:lnTo>
                  <a:lnTo>
                    <a:pt x="298" y="37"/>
                  </a:lnTo>
                  <a:close/>
                </a:path>
              </a:pathLst>
            </a:custGeom>
            <a:grpFill/>
            <a:ln w="9525">
              <a:solidFill>
                <a:schemeClr val="tx2">
                  <a:lumMod val="65000"/>
                </a:schemeClr>
              </a:solidFill>
              <a:round/>
              <a:headEnd/>
              <a:tailEnd/>
            </a:ln>
          </p:spPr>
          <p:txBody>
            <a:bodyPr lIns="91430" tIns="45715" rIns="91430" bIns="45715"/>
            <a:lstStyle/>
            <a:p>
              <a:endParaRPr lang="fr-FR"/>
            </a:p>
          </p:txBody>
        </p:sp>
        <p:sp>
          <p:nvSpPr>
            <p:cNvPr id="153" name="Freeform 15"/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3146425" y="2860675"/>
              <a:ext cx="925513" cy="1193800"/>
            </a:xfrm>
            <a:custGeom>
              <a:avLst/>
              <a:gdLst>
                <a:gd name="T0" fmla="*/ 2147483647 w 1230"/>
                <a:gd name="T1" fmla="*/ 2147483647 h 1251"/>
                <a:gd name="T2" fmla="*/ 2147483647 w 1230"/>
                <a:gd name="T3" fmla="*/ 2147483647 h 1251"/>
                <a:gd name="T4" fmla="*/ 2147483647 w 1230"/>
                <a:gd name="T5" fmla="*/ 2147483647 h 1251"/>
                <a:gd name="T6" fmla="*/ 2147483647 w 1230"/>
                <a:gd name="T7" fmla="*/ 2147483647 h 1251"/>
                <a:gd name="T8" fmla="*/ 2147483647 w 1230"/>
                <a:gd name="T9" fmla="*/ 2147483647 h 1251"/>
                <a:gd name="T10" fmla="*/ 2147483647 w 1230"/>
                <a:gd name="T11" fmla="*/ 2147483647 h 1251"/>
                <a:gd name="T12" fmla="*/ 2147483647 w 1230"/>
                <a:gd name="T13" fmla="*/ 2147483647 h 1251"/>
                <a:gd name="T14" fmla="*/ 2147483647 w 1230"/>
                <a:gd name="T15" fmla="*/ 2147483647 h 1251"/>
                <a:gd name="T16" fmla="*/ 2147483647 w 1230"/>
                <a:gd name="T17" fmla="*/ 2147483647 h 1251"/>
                <a:gd name="T18" fmla="*/ 2147483647 w 1230"/>
                <a:gd name="T19" fmla="*/ 2147483647 h 1251"/>
                <a:gd name="T20" fmla="*/ 2147483647 w 1230"/>
                <a:gd name="T21" fmla="*/ 2147483647 h 1251"/>
                <a:gd name="T22" fmla="*/ 2147483647 w 1230"/>
                <a:gd name="T23" fmla="*/ 2147483647 h 1251"/>
                <a:gd name="T24" fmla="*/ 2147483647 w 1230"/>
                <a:gd name="T25" fmla="*/ 2147483647 h 1251"/>
                <a:gd name="T26" fmla="*/ 2147483647 w 1230"/>
                <a:gd name="T27" fmla="*/ 2147483647 h 1251"/>
                <a:gd name="T28" fmla="*/ 2147483647 w 1230"/>
                <a:gd name="T29" fmla="*/ 2147483647 h 1251"/>
                <a:gd name="T30" fmla="*/ 2147483647 w 1230"/>
                <a:gd name="T31" fmla="*/ 2147483647 h 1251"/>
                <a:gd name="T32" fmla="*/ 0 w 1230"/>
                <a:gd name="T33" fmla="*/ 2147483647 h 1251"/>
                <a:gd name="T34" fmla="*/ 2147483647 w 1230"/>
                <a:gd name="T35" fmla="*/ 2147483647 h 1251"/>
                <a:gd name="T36" fmla="*/ 2147483647 w 1230"/>
                <a:gd name="T37" fmla="*/ 2147483647 h 1251"/>
                <a:gd name="T38" fmla="*/ 2147483647 w 1230"/>
                <a:gd name="T39" fmla="*/ 2147483647 h 1251"/>
                <a:gd name="T40" fmla="*/ 2147483647 w 1230"/>
                <a:gd name="T41" fmla="*/ 2147483647 h 1251"/>
                <a:gd name="T42" fmla="*/ 2147483647 w 1230"/>
                <a:gd name="T43" fmla="*/ 2147483647 h 1251"/>
                <a:gd name="T44" fmla="*/ 2147483647 w 1230"/>
                <a:gd name="T45" fmla="*/ 2147483647 h 1251"/>
                <a:gd name="T46" fmla="*/ 2147483647 w 1230"/>
                <a:gd name="T47" fmla="*/ 2147483647 h 1251"/>
                <a:gd name="T48" fmla="*/ 2147483647 w 1230"/>
                <a:gd name="T49" fmla="*/ 2147483647 h 1251"/>
                <a:gd name="T50" fmla="*/ 2147483647 w 1230"/>
                <a:gd name="T51" fmla="*/ 2147483647 h 1251"/>
                <a:gd name="T52" fmla="*/ 2147483647 w 1230"/>
                <a:gd name="T53" fmla="*/ 2147483647 h 1251"/>
                <a:gd name="T54" fmla="*/ 2147483647 w 1230"/>
                <a:gd name="T55" fmla="*/ 2147483647 h 1251"/>
                <a:gd name="T56" fmla="*/ 2147483647 w 1230"/>
                <a:gd name="T57" fmla="*/ 2147483647 h 1251"/>
                <a:gd name="T58" fmla="*/ 2147483647 w 1230"/>
                <a:gd name="T59" fmla="*/ 2147483647 h 1251"/>
                <a:gd name="T60" fmla="*/ 2147483647 w 1230"/>
                <a:gd name="T61" fmla="*/ 2147483647 h 1251"/>
                <a:gd name="T62" fmla="*/ 2147483647 w 1230"/>
                <a:gd name="T63" fmla="*/ 2147483647 h 1251"/>
                <a:gd name="T64" fmla="*/ 2147483647 w 1230"/>
                <a:gd name="T65" fmla="*/ 2147483647 h 1251"/>
                <a:gd name="T66" fmla="*/ 2147483647 w 1230"/>
                <a:gd name="T67" fmla="*/ 2147483647 h 1251"/>
                <a:gd name="T68" fmla="*/ 2147483647 w 1230"/>
                <a:gd name="T69" fmla="*/ 2147483647 h 1251"/>
                <a:gd name="T70" fmla="*/ 2147483647 w 1230"/>
                <a:gd name="T71" fmla="*/ 2147483647 h 1251"/>
                <a:gd name="T72" fmla="*/ 2147483647 w 1230"/>
                <a:gd name="T73" fmla="*/ 2147483647 h 1251"/>
                <a:gd name="T74" fmla="*/ 2147483647 w 1230"/>
                <a:gd name="T75" fmla="*/ 2147483647 h 1251"/>
                <a:gd name="T76" fmla="*/ 2147483647 w 1230"/>
                <a:gd name="T77" fmla="*/ 2147483647 h 1251"/>
                <a:gd name="T78" fmla="*/ 2147483647 w 1230"/>
                <a:gd name="T79" fmla="*/ 0 h 1251"/>
                <a:gd name="T80" fmla="*/ 2147483647 w 1230"/>
                <a:gd name="T81" fmla="*/ 2147483647 h 1251"/>
                <a:gd name="T82" fmla="*/ 2147483647 w 1230"/>
                <a:gd name="T83" fmla="*/ 2147483647 h 1251"/>
                <a:gd name="T84" fmla="*/ 2147483647 w 1230"/>
                <a:gd name="T85" fmla="*/ 2147483647 h 1251"/>
                <a:gd name="T86" fmla="*/ 2147483647 w 1230"/>
                <a:gd name="T87" fmla="*/ 2147483647 h 1251"/>
                <a:gd name="T88" fmla="*/ 2147483647 w 1230"/>
                <a:gd name="T89" fmla="*/ 2147483647 h 1251"/>
                <a:gd name="T90" fmla="*/ 2147483647 w 1230"/>
                <a:gd name="T91" fmla="*/ 2147483647 h 1251"/>
                <a:gd name="T92" fmla="*/ 2147483647 w 1230"/>
                <a:gd name="T93" fmla="*/ 2147483647 h 1251"/>
                <a:gd name="T94" fmla="*/ 2147483647 w 1230"/>
                <a:gd name="T95" fmla="*/ 2147483647 h 1251"/>
                <a:gd name="T96" fmla="*/ 2147483647 w 1230"/>
                <a:gd name="T97" fmla="*/ 2147483647 h 1251"/>
                <a:gd name="T98" fmla="*/ 2147483647 w 1230"/>
                <a:gd name="T99" fmla="*/ 2147483647 h 1251"/>
                <a:gd name="T100" fmla="*/ 2147483647 w 1230"/>
                <a:gd name="T101" fmla="*/ 2147483647 h 1251"/>
                <a:gd name="T102" fmla="*/ 2147483647 w 1230"/>
                <a:gd name="T103" fmla="*/ 2147483647 h 1251"/>
                <a:gd name="T104" fmla="*/ 2147483647 w 1230"/>
                <a:gd name="T105" fmla="*/ 2147483647 h 1251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230"/>
                <a:gd name="T160" fmla="*/ 0 h 1251"/>
                <a:gd name="T161" fmla="*/ 1230 w 1230"/>
                <a:gd name="T162" fmla="*/ 1251 h 1251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230" h="1251">
                  <a:moveTo>
                    <a:pt x="1140" y="390"/>
                  </a:moveTo>
                  <a:lnTo>
                    <a:pt x="1023" y="462"/>
                  </a:lnTo>
                  <a:lnTo>
                    <a:pt x="963" y="534"/>
                  </a:lnTo>
                  <a:lnTo>
                    <a:pt x="894" y="630"/>
                  </a:lnTo>
                  <a:lnTo>
                    <a:pt x="825" y="633"/>
                  </a:lnTo>
                  <a:lnTo>
                    <a:pt x="720" y="717"/>
                  </a:lnTo>
                  <a:lnTo>
                    <a:pt x="726" y="789"/>
                  </a:lnTo>
                  <a:lnTo>
                    <a:pt x="753" y="840"/>
                  </a:lnTo>
                  <a:lnTo>
                    <a:pt x="774" y="900"/>
                  </a:lnTo>
                  <a:lnTo>
                    <a:pt x="768" y="957"/>
                  </a:lnTo>
                  <a:lnTo>
                    <a:pt x="792" y="996"/>
                  </a:lnTo>
                  <a:lnTo>
                    <a:pt x="621" y="1215"/>
                  </a:lnTo>
                  <a:lnTo>
                    <a:pt x="543" y="1233"/>
                  </a:lnTo>
                  <a:lnTo>
                    <a:pt x="459" y="1251"/>
                  </a:lnTo>
                  <a:lnTo>
                    <a:pt x="279" y="501"/>
                  </a:lnTo>
                  <a:lnTo>
                    <a:pt x="255" y="459"/>
                  </a:lnTo>
                  <a:lnTo>
                    <a:pt x="0" y="303"/>
                  </a:lnTo>
                  <a:lnTo>
                    <a:pt x="120" y="276"/>
                  </a:lnTo>
                  <a:lnTo>
                    <a:pt x="234" y="267"/>
                  </a:lnTo>
                  <a:lnTo>
                    <a:pt x="252" y="246"/>
                  </a:lnTo>
                  <a:lnTo>
                    <a:pt x="345" y="255"/>
                  </a:lnTo>
                  <a:lnTo>
                    <a:pt x="462" y="237"/>
                  </a:lnTo>
                  <a:lnTo>
                    <a:pt x="501" y="210"/>
                  </a:lnTo>
                  <a:lnTo>
                    <a:pt x="522" y="183"/>
                  </a:lnTo>
                  <a:lnTo>
                    <a:pt x="561" y="195"/>
                  </a:lnTo>
                  <a:lnTo>
                    <a:pt x="591" y="240"/>
                  </a:lnTo>
                  <a:lnTo>
                    <a:pt x="639" y="255"/>
                  </a:lnTo>
                  <a:lnTo>
                    <a:pt x="621" y="216"/>
                  </a:lnTo>
                  <a:lnTo>
                    <a:pt x="618" y="189"/>
                  </a:lnTo>
                  <a:lnTo>
                    <a:pt x="645" y="171"/>
                  </a:lnTo>
                  <a:lnTo>
                    <a:pt x="639" y="144"/>
                  </a:lnTo>
                  <a:lnTo>
                    <a:pt x="648" y="114"/>
                  </a:lnTo>
                  <a:lnTo>
                    <a:pt x="633" y="75"/>
                  </a:lnTo>
                  <a:lnTo>
                    <a:pt x="663" y="78"/>
                  </a:lnTo>
                  <a:lnTo>
                    <a:pt x="702" y="69"/>
                  </a:lnTo>
                  <a:lnTo>
                    <a:pt x="735" y="42"/>
                  </a:lnTo>
                  <a:lnTo>
                    <a:pt x="759" y="54"/>
                  </a:lnTo>
                  <a:lnTo>
                    <a:pt x="795" y="24"/>
                  </a:lnTo>
                  <a:lnTo>
                    <a:pt x="849" y="15"/>
                  </a:lnTo>
                  <a:lnTo>
                    <a:pt x="888" y="0"/>
                  </a:lnTo>
                  <a:lnTo>
                    <a:pt x="933" y="39"/>
                  </a:lnTo>
                  <a:lnTo>
                    <a:pt x="1029" y="69"/>
                  </a:lnTo>
                  <a:lnTo>
                    <a:pt x="1065" y="81"/>
                  </a:lnTo>
                  <a:lnTo>
                    <a:pt x="1071" y="99"/>
                  </a:lnTo>
                  <a:lnTo>
                    <a:pt x="1095" y="114"/>
                  </a:lnTo>
                  <a:lnTo>
                    <a:pt x="1119" y="147"/>
                  </a:lnTo>
                  <a:lnTo>
                    <a:pt x="1095" y="183"/>
                  </a:lnTo>
                  <a:lnTo>
                    <a:pt x="1083" y="237"/>
                  </a:lnTo>
                  <a:lnTo>
                    <a:pt x="1185" y="303"/>
                  </a:lnTo>
                  <a:lnTo>
                    <a:pt x="1227" y="309"/>
                  </a:lnTo>
                  <a:lnTo>
                    <a:pt x="1230" y="327"/>
                  </a:lnTo>
                  <a:lnTo>
                    <a:pt x="1209" y="354"/>
                  </a:lnTo>
                  <a:lnTo>
                    <a:pt x="1140" y="390"/>
                  </a:lnTo>
                  <a:close/>
                </a:path>
              </a:pathLst>
            </a:custGeom>
            <a:grpFill/>
            <a:ln w="9525">
              <a:solidFill>
                <a:schemeClr val="tx2">
                  <a:lumMod val="65000"/>
                </a:schemeClr>
              </a:solidFill>
              <a:round/>
              <a:headEnd/>
              <a:tailEnd/>
            </a:ln>
          </p:spPr>
          <p:txBody>
            <a:bodyPr lIns="91430" tIns="45715" rIns="91430" bIns="45715"/>
            <a:lstStyle/>
            <a:p>
              <a:endParaRPr lang="fr-FR"/>
            </a:p>
          </p:txBody>
        </p:sp>
        <p:sp>
          <p:nvSpPr>
            <p:cNvPr id="154" name="Freeform 16"/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2987675" y="2473325"/>
              <a:ext cx="646113" cy="676275"/>
            </a:xfrm>
            <a:custGeom>
              <a:avLst/>
              <a:gdLst>
                <a:gd name="T0" fmla="*/ 2147483647 w 858"/>
                <a:gd name="T1" fmla="*/ 0 h 708"/>
                <a:gd name="T2" fmla="*/ 2147483647 w 858"/>
                <a:gd name="T3" fmla="*/ 2147483647 h 708"/>
                <a:gd name="T4" fmla="*/ 2147483647 w 858"/>
                <a:gd name="T5" fmla="*/ 2147483647 h 708"/>
                <a:gd name="T6" fmla="*/ 2147483647 w 858"/>
                <a:gd name="T7" fmla="*/ 2147483647 h 708"/>
                <a:gd name="T8" fmla="*/ 2147483647 w 858"/>
                <a:gd name="T9" fmla="*/ 2147483647 h 708"/>
                <a:gd name="T10" fmla="*/ 2147483647 w 858"/>
                <a:gd name="T11" fmla="*/ 2147483647 h 708"/>
                <a:gd name="T12" fmla="*/ 2147483647 w 858"/>
                <a:gd name="T13" fmla="*/ 2147483647 h 708"/>
                <a:gd name="T14" fmla="*/ 2147483647 w 858"/>
                <a:gd name="T15" fmla="*/ 2147483647 h 708"/>
                <a:gd name="T16" fmla="*/ 2147483647 w 858"/>
                <a:gd name="T17" fmla="*/ 2147483647 h 708"/>
                <a:gd name="T18" fmla="*/ 2147483647 w 858"/>
                <a:gd name="T19" fmla="*/ 2147483647 h 708"/>
                <a:gd name="T20" fmla="*/ 2147483647 w 858"/>
                <a:gd name="T21" fmla="*/ 2147483647 h 708"/>
                <a:gd name="T22" fmla="*/ 2147483647 w 858"/>
                <a:gd name="T23" fmla="*/ 2147483647 h 708"/>
                <a:gd name="T24" fmla="*/ 2147483647 w 858"/>
                <a:gd name="T25" fmla="*/ 2147483647 h 708"/>
                <a:gd name="T26" fmla="*/ 2147483647 w 858"/>
                <a:gd name="T27" fmla="*/ 2147483647 h 708"/>
                <a:gd name="T28" fmla="*/ 2147483647 w 858"/>
                <a:gd name="T29" fmla="*/ 2147483647 h 708"/>
                <a:gd name="T30" fmla="*/ 2147483647 w 858"/>
                <a:gd name="T31" fmla="*/ 2147483647 h 708"/>
                <a:gd name="T32" fmla="*/ 2147483647 w 858"/>
                <a:gd name="T33" fmla="*/ 2147483647 h 708"/>
                <a:gd name="T34" fmla="*/ 2147483647 w 858"/>
                <a:gd name="T35" fmla="*/ 2147483647 h 708"/>
                <a:gd name="T36" fmla="*/ 2147483647 w 858"/>
                <a:gd name="T37" fmla="*/ 2147483647 h 708"/>
                <a:gd name="T38" fmla="*/ 2147483647 w 858"/>
                <a:gd name="T39" fmla="*/ 2147483647 h 708"/>
                <a:gd name="T40" fmla="*/ 2147483647 w 858"/>
                <a:gd name="T41" fmla="*/ 2147483647 h 708"/>
                <a:gd name="T42" fmla="*/ 2147483647 w 858"/>
                <a:gd name="T43" fmla="*/ 2147483647 h 708"/>
                <a:gd name="T44" fmla="*/ 2147483647 w 858"/>
                <a:gd name="T45" fmla="*/ 2147483647 h 708"/>
                <a:gd name="T46" fmla="*/ 2147483647 w 858"/>
                <a:gd name="T47" fmla="*/ 2147483647 h 708"/>
                <a:gd name="T48" fmla="*/ 2147483647 w 858"/>
                <a:gd name="T49" fmla="*/ 2147483647 h 708"/>
                <a:gd name="T50" fmla="*/ 2147483647 w 858"/>
                <a:gd name="T51" fmla="*/ 2147483647 h 708"/>
                <a:gd name="T52" fmla="*/ 2147483647 w 858"/>
                <a:gd name="T53" fmla="*/ 2147483647 h 708"/>
                <a:gd name="T54" fmla="*/ 2147483647 w 858"/>
                <a:gd name="T55" fmla="*/ 2147483647 h 708"/>
                <a:gd name="T56" fmla="*/ 2147483647 w 858"/>
                <a:gd name="T57" fmla="*/ 2147483647 h 708"/>
                <a:gd name="T58" fmla="*/ 2147483647 w 858"/>
                <a:gd name="T59" fmla="*/ 2147483647 h 708"/>
                <a:gd name="T60" fmla="*/ 2147483647 w 858"/>
                <a:gd name="T61" fmla="*/ 2147483647 h 708"/>
                <a:gd name="T62" fmla="*/ 2147483647 w 858"/>
                <a:gd name="T63" fmla="*/ 2147483647 h 708"/>
                <a:gd name="T64" fmla="*/ 2147483647 w 858"/>
                <a:gd name="T65" fmla="*/ 2147483647 h 708"/>
                <a:gd name="T66" fmla="*/ 2147483647 w 858"/>
                <a:gd name="T67" fmla="*/ 2147483647 h 708"/>
                <a:gd name="T68" fmla="*/ 2147483647 w 858"/>
                <a:gd name="T69" fmla="*/ 2147483647 h 708"/>
                <a:gd name="T70" fmla="*/ 2147483647 w 858"/>
                <a:gd name="T71" fmla="*/ 2147483647 h 708"/>
                <a:gd name="T72" fmla="*/ 2147483647 w 858"/>
                <a:gd name="T73" fmla="*/ 2147483647 h 708"/>
                <a:gd name="T74" fmla="*/ 2147483647 w 858"/>
                <a:gd name="T75" fmla="*/ 2147483647 h 708"/>
                <a:gd name="T76" fmla="*/ 2147483647 w 858"/>
                <a:gd name="T77" fmla="*/ 2147483647 h 708"/>
                <a:gd name="T78" fmla="*/ 2147483647 w 858"/>
                <a:gd name="T79" fmla="*/ 2147483647 h 708"/>
                <a:gd name="T80" fmla="*/ 0 w 858"/>
                <a:gd name="T81" fmla="*/ 2147483647 h 708"/>
                <a:gd name="T82" fmla="*/ 2147483647 w 858"/>
                <a:gd name="T83" fmla="*/ 2147483647 h 708"/>
                <a:gd name="T84" fmla="*/ 2147483647 w 858"/>
                <a:gd name="T85" fmla="*/ 2147483647 h 708"/>
                <a:gd name="T86" fmla="*/ 2147483647 w 858"/>
                <a:gd name="T87" fmla="*/ 2147483647 h 708"/>
                <a:gd name="T88" fmla="*/ 2147483647 w 858"/>
                <a:gd name="T89" fmla="*/ 2147483647 h 708"/>
                <a:gd name="T90" fmla="*/ 2147483647 w 858"/>
                <a:gd name="T91" fmla="*/ 2147483647 h 708"/>
                <a:gd name="T92" fmla="*/ 2147483647 w 858"/>
                <a:gd name="T93" fmla="*/ 2147483647 h 708"/>
                <a:gd name="T94" fmla="*/ 2147483647 w 858"/>
                <a:gd name="T95" fmla="*/ 2147483647 h 708"/>
                <a:gd name="T96" fmla="*/ 2147483647 w 858"/>
                <a:gd name="T97" fmla="*/ 2147483647 h 708"/>
                <a:gd name="T98" fmla="*/ 2147483647 w 858"/>
                <a:gd name="T99" fmla="*/ 2147483647 h 708"/>
                <a:gd name="T100" fmla="*/ 2147483647 w 858"/>
                <a:gd name="T101" fmla="*/ 2147483647 h 708"/>
                <a:gd name="T102" fmla="*/ 2147483647 w 858"/>
                <a:gd name="T103" fmla="*/ 2147483647 h 708"/>
                <a:gd name="T104" fmla="*/ 2147483647 w 858"/>
                <a:gd name="T105" fmla="*/ 2147483647 h 708"/>
                <a:gd name="T106" fmla="*/ 2147483647 w 858"/>
                <a:gd name="T107" fmla="*/ 2147483647 h 708"/>
                <a:gd name="T108" fmla="*/ 2147483647 w 858"/>
                <a:gd name="T109" fmla="*/ 2147483647 h 708"/>
                <a:gd name="T110" fmla="*/ 2147483647 w 858"/>
                <a:gd name="T111" fmla="*/ 2147483647 h 708"/>
                <a:gd name="T112" fmla="*/ 2147483647 w 858"/>
                <a:gd name="T113" fmla="*/ 2147483647 h 708"/>
                <a:gd name="T114" fmla="*/ 2147483647 w 858"/>
                <a:gd name="T115" fmla="*/ 2147483647 h 708"/>
                <a:gd name="T116" fmla="*/ 2147483647 w 858"/>
                <a:gd name="T117" fmla="*/ 0 h 70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858"/>
                <a:gd name="T178" fmla="*/ 0 h 708"/>
                <a:gd name="T179" fmla="*/ 858 w 858"/>
                <a:gd name="T180" fmla="*/ 708 h 70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858" h="708">
                  <a:moveTo>
                    <a:pt x="568" y="0"/>
                  </a:moveTo>
                  <a:lnTo>
                    <a:pt x="583" y="15"/>
                  </a:lnTo>
                  <a:lnTo>
                    <a:pt x="610" y="30"/>
                  </a:lnTo>
                  <a:lnTo>
                    <a:pt x="588" y="66"/>
                  </a:lnTo>
                  <a:lnTo>
                    <a:pt x="577" y="111"/>
                  </a:lnTo>
                  <a:lnTo>
                    <a:pt x="598" y="155"/>
                  </a:lnTo>
                  <a:lnTo>
                    <a:pt x="619" y="213"/>
                  </a:lnTo>
                  <a:lnTo>
                    <a:pt x="655" y="231"/>
                  </a:lnTo>
                  <a:lnTo>
                    <a:pt x="715" y="258"/>
                  </a:lnTo>
                  <a:lnTo>
                    <a:pt x="693" y="282"/>
                  </a:lnTo>
                  <a:lnTo>
                    <a:pt x="690" y="323"/>
                  </a:lnTo>
                  <a:lnTo>
                    <a:pt x="712" y="332"/>
                  </a:lnTo>
                  <a:lnTo>
                    <a:pt x="738" y="359"/>
                  </a:lnTo>
                  <a:lnTo>
                    <a:pt x="756" y="396"/>
                  </a:lnTo>
                  <a:lnTo>
                    <a:pt x="768" y="390"/>
                  </a:lnTo>
                  <a:lnTo>
                    <a:pt x="838" y="428"/>
                  </a:lnTo>
                  <a:lnTo>
                    <a:pt x="834" y="458"/>
                  </a:lnTo>
                  <a:lnTo>
                    <a:pt x="847" y="489"/>
                  </a:lnTo>
                  <a:lnTo>
                    <a:pt x="858" y="518"/>
                  </a:lnTo>
                  <a:lnTo>
                    <a:pt x="852" y="549"/>
                  </a:lnTo>
                  <a:lnTo>
                    <a:pt x="858" y="576"/>
                  </a:lnTo>
                  <a:lnTo>
                    <a:pt x="829" y="594"/>
                  </a:lnTo>
                  <a:lnTo>
                    <a:pt x="832" y="620"/>
                  </a:lnTo>
                  <a:lnTo>
                    <a:pt x="852" y="660"/>
                  </a:lnTo>
                  <a:lnTo>
                    <a:pt x="801" y="645"/>
                  </a:lnTo>
                  <a:lnTo>
                    <a:pt x="774" y="599"/>
                  </a:lnTo>
                  <a:lnTo>
                    <a:pt x="738" y="590"/>
                  </a:lnTo>
                  <a:lnTo>
                    <a:pt x="715" y="609"/>
                  </a:lnTo>
                  <a:lnTo>
                    <a:pt x="676" y="642"/>
                  </a:lnTo>
                  <a:lnTo>
                    <a:pt x="640" y="644"/>
                  </a:lnTo>
                  <a:lnTo>
                    <a:pt x="553" y="662"/>
                  </a:lnTo>
                  <a:lnTo>
                    <a:pt x="463" y="644"/>
                  </a:lnTo>
                  <a:lnTo>
                    <a:pt x="442" y="675"/>
                  </a:lnTo>
                  <a:lnTo>
                    <a:pt x="334" y="678"/>
                  </a:lnTo>
                  <a:lnTo>
                    <a:pt x="210" y="708"/>
                  </a:lnTo>
                  <a:lnTo>
                    <a:pt x="210" y="669"/>
                  </a:lnTo>
                  <a:lnTo>
                    <a:pt x="199" y="555"/>
                  </a:lnTo>
                  <a:lnTo>
                    <a:pt x="114" y="488"/>
                  </a:lnTo>
                  <a:lnTo>
                    <a:pt x="118" y="464"/>
                  </a:lnTo>
                  <a:lnTo>
                    <a:pt x="9" y="423"/>
                  </a:lnTo>
                  <a:lnTo>
                    <a:pt x="0" y="330"/>
                  </a:lnTo>
                  <a:lnTo>
                    <a:pt x="36" y="314"/>
                  </a:lnTo>
                  <a:lnTo>
                    <a:pt x="82" y="293"/>
                  </a:lnTo>
                  <a:lnTo>
                    <a:pt x="120" y="246"/>
                  </a:lnTo>
                  <a:lnTo>
                    <a:pt x="187" y="207"/>
                  </a:lnTo>
                  <a:lnTo>
                    <a:pt x="237" y="167"/>
                  </a:lnTo>
                  <a:lnTo>
                    <a:pt x="297" y="128"/>
                  </a:lnTo>
                  <a:lnTo>
                    <a:pt x="333" y="95"/>
                  </a:lnTo>
                  <a:lnTo>
                    <a:pt x="334" y="48"/>
                  </a:lnTo>
                  <a:lnTo>
                    <a:pt x="367" y="45"/>
                  </a:lnTo>
                  <a:lnTo>
                    <a:pt x="391" y="54"/>
                  </a:lnTo>
                  <a:lnTo>
                    <a:pt x="411" y="53"/>
                  </a:lnTo>
                  <a:lnTo>
                    <a:pt x="427" y="29"/>
                  </a:lnTo>
                  <a:lnTo>
                    <a:pt x="457" y="44"/>
                  </a:lnTo>
                  <a:lnTo>
                    <a:pt x="474" y="50"/>
                  </a:lnTo>
                  <a:lnTo>
                    <a:pt x="486" y="23"/>
                  </a:lnTo>
                  <a:lnTo>
                    <a:pt x="501" y="9"/>
                  </a:lnTo>
                  <a:lnTo>
                    <a:pt x="535" y="5"/>
                  </a:lnTo>
                  <a:lnTo>
                    <a:pt x="568" y="0"/>
                  </a:lnTo>
                  <a:close/>
                </a:path>
              </a:pathLst>
            </a:custGeom>
            <a:grpFill/>
            <a:ln w="9525">
              <a:solidFill>
                <a:schemeClr val="tx2">
                  <a:lumMod val="65000"/>
                </a:schemeClr>
              </a:solidFill>
              <a:round/>
              <a:headEnd/>
              <a:tailEnd/>
            </a:ln>
          </p:spPr>
          <p:txBody>
            <a:bodyPr lIns="91430" tIns="45715" rIns="91430" bIns="45715"/>
            <a:lstStyle/>
            <a:p>
              <a:endParaRPr lang="fr-FR"/>
            </a:p>
          </p:txBody>
        </p:sp>
        <p:sp>
          <p:nvSpPr>
            <p:cNvPr id="155" name="Freeform 17"/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2921000" y="2359025"/>
              <a:ext cx="317500" cy="430213"/>
            </a:xfrm>
            <a:custGeom>
              <a:avLst/>
              <a:gdLst>
                <a:gd name="T0" fmla="*/ 2147483647 w 423"/>
                <a:gd name="T1" fmla="*/ 2147483647 h 450"/>
                <a:gd name="T2" fmla="*/ 2147483647 w 423"/>
                <a:gd name="T3" fmla="*/ 2147483647 h 450"/>
                <a:gd name="T4" fmla="*/ 2147483647 w 423"/>
                <a:gd name="T5" fmla="*/ 2147483647 h 450"/>
                <a:gd name="T6" fmla="*/ 0 w 423"/>
                <a:gd name="T7" fmla="*/ 2147483647 h 450"/>
                <a:gd name="T8" fmla="*/ 2147483647 w 423"/>
                <a:gd name="T9" fmla="*/ 2147483647 h 450"/>
                <a:gd name="T10" fmla="*/ 2147483647 w 423"/>
                <a:gd name="T11" fmla="*/ 2147483647 h 450"/>
                <a:gd name="T12" fmla="*/ 2147483647 w 423"/>
                <a:gd name="T13" fmla="*/ 2147483647 h 450"/>
                <a:gd name="T14" fmla="*/ 2147483647 w 423"/>
                <a:gd name="T15" fmla="*/ 2147483647 h 450"/>
                <a:gd name="T16" fmla="*/ 2147483647 w 423"/>
                <a:gd name="T17" fmla="*/ 2147483647 h 450"/>
                <a:gd name="T18" fmla="*/ 2147483647 w 423"/>
                <a:gd name="T19" fmla="*/ 0 h 450"/>
                <a:gd name="T20" fmla="*/ 2147483647 w 423"/>
                <a:gd name="T21" fmla="*/ 2147483647 h 450"/>
                <a:gd name="T22" fmla="*/ 2147483647 w 423"/>
                <a:gd name="T23" fmla="*/ 2147483647 h 450"/>
                <a:gd name="T24" fmla="*/ 2147483647 w 423"/>
                <a:gd name="T25" fmla="*/ 2147483647 h 450"/>
                <a:gd name="T26" fmla="*/ 2147483647 w 423"/>
                <a:gd name="T27" fmla="*/ 2147483647 h 450"/>
                <a:gd name="T28" fmla="*/ 2147483647 w 423"/>
                <a:gd name="T29" fmla="*/ 2147483647 h 450"/>
                <a:gd name="T30" fmla="*/ 2147483647 w 423"/>
                <a:gd name="T31" fmla="*/ 2147483647 h 450"/>
                <a:gd name="T32" fmla="*/ 2147483647 w 423"/>
                <a:gd name="T33" fmla="*/ 2147483647 h 450"/>
                <a:gd name="T34" fmla="*/ 2147483647 w 423"/>
                <a:gd name="T35" fmla="*/ 2147483647 h 450"/>
                <a:gd name="T36" fmla="*/ 2147483647 w 423"/>
                <a:gd name="T37" fmla="*/ 2147483647 h 450"/>
                <a:gd name="T38" fmla="*/ 2147483647 w 423"/>
                <a:gd name="T39" fmla="*/ 2147483647 h 450"/>
                <a:gd name="T40" fmla="*/ 2147483647 w 423"/>
                <a:gd name="T41" fmla="*/ 2147483647 h 450"/>
                <a:gd name="T42" fmla="*/ 2147483647 w 423"/>
                <a:gd name="T43" fmla="*/ 2147483647 h 450"/>
                <a:gd name="T44" fmla="*/ 2147483647 w 423"/>
                <a:gd name="T45" fmla="*/ 2147483647 h 450"/>
                <a:gd name="T46" fmla="*/ 2147483647 w 423"/>
                <a:gd name="T47" fmla="*/ 2147483647 h 450"/>
                <a:gd name="T48" fmla="*/ 2147483647 w 423"/>
                <a:gd name="T49" fmla="*/ 2147483647 h 450"/>
                <a:gd name="T50" fmla="*/ 2147483647 w 423"/>
                <a:gd name="T51" fmla="*/ 2147483647 h 450"/>
                <a:gd name="T52" fmla="*/ 2147483647 w 423"/>
                <a:gd name="T53" fmla="*/ 2147483647 h 450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423"/>
                <a:gd name="T82" fmla="*/ 0 h 450"/>
                <a:gd name="T83" fmla="*/ 423 w 423"/>
                <a:gd name="T84" fmla="*/ 450 h 450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423" h="450">
                  <a:moveTo>
                    <a:pt x="90" y="450"/>
                  </a:moveTo>
                  <a:lnTo>
                    <a:pt x="60" y="425"/>
                  </a:lnTo>
                  <a:lnTo>
                    <a:pt x="12" y="321"/>
                  </a:lnTo>
                  <a:lnTo>
                    <a:pt x="0" y="182"/>
                  </a:lnTo>
                  <a:lnTo>
                    <a:pt x="47" y="114"/>
                  </a:lnTo>
                  <a:lnTo>
                    <a:pt x="90" y="120"/>
                  </a:lnTo>
                  <a:lnTo>
                    <a:pt x="129" y="78"/>
                  </a:lnTo>
                  <a:lnTo>
                    <a:pt x="132" y="8"/>
                  </a:lnTo>
                  <a:lnTo>
                    <a:pt x="164" y="14"/>
                  </a:lnTo>
                  <a:lnTo>
                    <a:pt x="204" y="0"/>
                  </a:lnTo>
                  <a:lnTo>
                    <a:pt x="198" y="15"/>
                  </a:lnTo>
                  <a:lnTo>
                    <a:pt x="185" y="24"/>
                  </a:lnTo>
                  <a:lnTo>
                    <a:pt x="218" y="54"/>
                  </a:lnTo>
                  <a:lnTo>
                    <a:pt x="198" y="80"/>
                  </a:lnTo>
                  <a:lnTo>
                    <a:pt x="221" y="87"/>
                  </a:lnTo>
                  <a:lnTo>
                    <a:pt x="243" y="102"/>
                  </a:lnTo>
                  <a:lnTo>
                    <a:pt x="272" y="135"/>
                  </a:lnTo>
                  <a:lnTo>
                    <a:pt x="315" y="137"/>
                  </a:lnTo>
                  <a:lnTo>
                    <a:pt x="320" y="165"/>
                  </a:lnTo>
                  <a:lnTo>
                    <a:pt x="423" y="171"/>
                  </a:lnTo>
                  <a:lnTo>
                    <a:pt x="423" y="215"/>
                  </a:lnTo>
                  <a:lnTo>
                    <a:pt x="389" y="248"/>
                  </a:lnTo>
                  <a:lnTo>
                    <a:pt x="330" y="285"/>
                  </a:lnTo>
                  <a:lnTo>
                    <a:pt x="275" y="330"/>
                  </a:lnTo>
                  <a:lnTo>
                    <a:pt x="209" y="366"/>
                  </a:lnTo>
                  <a:lnTo>
                    <a:pt x="168" y="416"/>
                  </a:lnTo>
                  <a:lnTo>
                    <a:pt x="90" y="450"/>
                  </a:lnTo>
                  <a:close/>
                </a:path>
              </a:pathLst>
            </a:custGeom>
            <a:grpFill/>
            <a:ln w="9525">
              <a:solidFill>
                <a:schemeClr val="tx2">
                  <a:lumMod val="65000"/>
                </a:schemeClr>
              </a:solidFill>
              <a:round/>
              <a:headEnd/>
              <a:tailEnd/>
            </a:ln>
          </p:spPr>
          <p:txBody>
            <a:bodyPr lIns="91430" tIns="45715" rIns="91430" bIns="45715"/>
            <a:lstStyle/>
            <a:p>
              <a:endParaRPr lang="fr-FR"/>
            </a:p>
          </p:txBody>
        </p:sp>
        <p:sp>
          <p:nvSpPr>
            <p:cNvPr id="156" name="Freeform 18"/>
            <p:cNvSpPr>
              <a:spLocks/>
            </p:cNvSpPr>
            <p:nvPr>
              <p:custDataLst>
                <p:tags r:id="rId15"/>
              </p:custDataLst>
            </p:nvPr>
          </p:nvSpPr>
          <p:spPr bwMode="auto">
            <a:xfrm>
              <a:off x="3106738" y="1831975"/>
              <a:ext cx="350837" cy="461963"/>
            </a:xfrm>
            <a:custGeom>
              <a:avLst/>
              <a:gdLst>
                <a:gd name="T0" fmla="*/ 2147483647 w 467"/>
                <a:gd name="T1" fmla="*/ 2147483647 h 484"/>
                <a:gd name="T2" fmla="*/ 2147483647 w 467"/>
                <a:gd name="T3" fmla="*/ 2147483647 h 484"/>
                <a:gd name="T4" fmla="*/ 2147483647 w 467"/>
                <a:gd name="T5" fmla="*/ 2147483647 h 484"/>
                <a:gd name="T6" fmla="*/ 2147483647 w 467"/>
                <a:gd name="T7" fmla="*/ 2147483647 h 484"/>
                <a:gd name="T8" fmla="*/ 2147483647 w 467"/>
                <a:gd name="T9" fmla="*/ 2147483647 h 484"/>
                <a:gd name="T10" fmla="*/ 2147483647 w 467"/>
                <a:gd name="T11" fmla="*/ 2147483647 h 484"/>
                <a:gd name="T12" fmla="*/ 2147483647 w 467"/>
                <a:gd name="T13" fmla="*/ 2147483647 h 484"/>
                <a:gd name="T14" fmla="*/ 2147483647 w 467"/>
                <a:gd name="T15" fmla="*/ 2147483647 h 484"/>
                <a:gd name="T16" fmla="*/ 2147483647 w 467"/>
                <a:gd name="T17" fmla="*/ 2147483647 h 484"/>
                <a:gd name="T18" fmla="*/ 2147483647 w 467"/>
                <a:gd name="T19" fmla="*/ 2147483647 h 484"/>
                <a:gd name="T20" fmla="*/ 2147483647 w 467"/>
                <a:gd name="T21" fmla="*/ 2147483647 h 484"/>
                <a:gd name="T22" fmla="*/ 2147483647 w 467"/>
                <a:gd name="T23" fmla="*/ 2147483647 h 484"/>
                <a:gd name="T24" fmla="*/ 2147483647 w 467"/>
                <a:gd name="T25" fmla="*/ 2147483647 h 484"/>
                <a:gd name="T26" fmla="*/ 2147483647 w 467"/>
                <a:gd name="T27" fmla="*/ 2147483647 h 484"/>
                <a:gd name="T28" fmla="*/ 2147483647 w 467"/>
                <a:gd name="T29" fmla="*/ 2147483647 h 484"/>
                <a:gd name="T30" fmla="*/ 2147483647 w 467"/>
                <a:gd name="T31" fmla="*/ 2147483647 h 484"/>
                <a:gd name="T32" fmla="*/ 2147483647 w 467"/>
                <a:gd name="T33" fmla="*/ 2147483647 h 484"/>
                <a:gd name="T34" fmla="*/ 2147483647 w 467"/>
                <a:gd name="T35" fmla="*/ 2147483647 h 484"/>
                <a:gd name="T36" fmla="*/ 2147483647 w 467"/>
                <a:gd name="T37" fmla="*/ 2147483647 h 484"/>
                <a:gd name="T38" fmla="*/ 2147483647 w 467"/>
                <a:gd name="T39" fmla="*/ 2147483647 h 484"/>
                <a:gd name="T40" fmla="*/ 2147483647 w 467"/>
                <a:gd name="T41" fmla="*/ 2147483647 h 484"/>
                <a:gd name="T42" fmla="*/ 2147483647 w 467"/>
                <a:gd name="T43" fmla="*/ 2147483647 h 484"/>
                <a:gd name="T44" fmla="*/ 2147483647 w 467"/>
                <a:gd name="T45" fmla="*/ 2147483647 h 484"/>
                <a:gd name="T46" fmla="*/ 2147483647 w 467"/>
                <a:gd name="T47" fmla="*/ 2147483647 h 484"/>
                <a:gd name="T48" fmla="*/ 2147483647 w 467"/>
                <a:gd name="T49" fmla="*/ 2147483647 h 484"/>
                <a:gd name="T50" fmla="*/ 2147483647 w 467"/>
                <a:gd name="T51" fmla="*/ 2147483647 h 484"/>
                <a:gd name="T52" fmla="*/ 2147483647 w 467"/>
                <a:gd name="T53" fmla="*/ 2147483647 h 484"/>
                <a:gd name="T54" fmla="*/ 2147483647 w 467"/>
                <a:gd name="T55" fmla="*/ 0 h 484"/>
                <a:gd name="T56" fmla="*/ 2147483647 w 467"/>
                <a:gd name="T57" fmla="*/ 2147483647 h 484"/>
                <a:gd name="T58" fmla="*/ 2147483647 w 467"/>
                <a:gd name="T59" fmla="*/ 2147483647 h 484"/>
                <a:gd name="T60" fmla="*/ 2147483647 w 467"/>
                <a:gd name="T61" fmla="*/ 2147483647 h 484"/>
                <a:gd name="T62" fmla="*/ 2147483647 w 467"/>
                <a:gd name="T63" fmla="*/ 2147483647 h 484"/>
                <a:gd name="T64" fmla="*/ 2147483647 w 467"/>
                <a:gd name="T65" fmla="*/ 2147483647 h 484"/>
                <a:gd name="T66" fmla="*/ 2147483647 w 467"/>
                <a:gd name="T67" fmla="*/ 2147483647 h 484"/>
                <a:gd name="T68" fmla="*/ 2147483647 w 467"/>
                <a:gd name="T69" fmla="*/ 2147483647 h 484"/>
                <a:gd name="T70" fmla="*/ 2147483647 w 467"/>
                <a:gd name="T71" fmla="*/ 2147483647 h 484"/>
                <a:gd name="T72" fmla="*/ 2147483647 w 467"/>
                <a:gd name="T73" fmla="*/ 2147483647 h 484"/>
                <a:gd name="T74" fmla="*/ 2147483647 w 467"/>
                <a:gd name="T75" fmla="*/ 2147483647 h 484"/>
                <a:gd name="T76" fmla="*/ 2147483647 w 467"/>
                <a:gd name="T77" fmla="*/ 2147483647 h 484"/>
                <a:gd name="T78" fmla="*/ 2147483647 w 467"/>
                <a:gd name="T79" fmla="*/ 2147483647 h 484"/>
                <a:gd name="T80" fmla="*/ 2147483647 w 467"/>
                <a:gd name="T81" fmla="*/ 2147483647 h 484"/>
                <a:gd name="T82" fmla="*/ 0 w 467"/>
                <a:gd name="T83" fmla="*/ 2147483647 h 484"/>
                <a:gd name="T84" fmla="*/ 2147483647 w 467"/>
                <a:gd name="T85" fmla="*/ 2147483647 h 484"/>
                <a:gd name="T86" fmla="*/ 2147483647 w 467"/>
                <a:gd name="T87" fmla="*/ 2147483647 h 48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67"/>
                <a:gd name="T133" fmla="*/ 0 h 484"/>
                <a:gd name="T134" fmla="*/ 467 w 467"/>
                <a:gd name="T135" fmla="*/ 484 h 484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67" h="484">
                  <a:moveTo>
                    <a:pt x="50" y="439"/>
                  </a:moveTo>
                  <a:lnTo>
                    <a:pt x="140" y="484"/>
                  </a:lnTo>
                  <a:lnTo>
                    <a:pt x="198" y="447"/>
                  </a:lnTo>
                  <a:lnTo>
                    <a:pt x="236" y="448"/>
                  </a:lnTo>
                  <a:lnTo>
                    <a:pt x="297" y="411"/>
                  </a:lnTo>
                  <a:lnTo>
                    <a:pt x="335" y="391"/>
                  </a:lnTo>
                  <a:lnTo>
                    <a:pt x="347" y="382"/>
                  </a:lnTo>
                  <a:lnTo>
                    <a:pt x="350" y="369"/>
                  </a:lnTo>
                  <a:lnTo>
                    <a:pt x="368" y="346"/>
                  </a:lnTo>
                  <a:lnTo>
                    <a:pt x="372" y="330"/>
                  </a:lnTo>
                  <a:lnTo>
                    <a:pt x="417" y="313"/>
                  </a:lnTo>
                  <a:lnTo>
                    <a:pt x="438" y="300"/>
                  </a:lnTo>
                  <a:lnTo>
                    <a:pt x="441" y="268"/>
                  </a:lnTo>
                  <a:lnTo>
                    <a:pt x="440" y="253"/>
                  </a:lnTo>
                  <a:lnTo>
                    <a:pt x="392" y="232"/>
                  </a:lnTo>
                  <a:lnTo>
                    <a:pt x="392" y="213"/>
                  </a:lnTo>
                  <a:lnTo>
                    <a:pt x="408" y="193"/>
                  </a:lnTo>
                  <a:lnTo>
                    <a:pt x="437" y="163"/>
                  </a:lnTo>
                  <a:lnTo>
                    <a:pt x="467" y="138"/>
                  </a:lnTo>
                  <a:lnTo>
                    <a:pt x="458" y="105"/>
                  </a:lnTo>
                  <a:lnTo>
                    <a:pt x="423" y="97"/>
                  </a:lnTo>
                  <a:lnTo>
                    <a:pt x="410" y="90"/>
                  </a:lnTo>
                  <a:lnTo>
                    <a:pt x="402" y="66"/>
                  </a:lnTo>
                  <a:lnTo>
                    <a:pt x="362" y="64"/>
                  </a:lnTo>
                  <a:lnTo>
                    <a:pt x="351" y="45"/>
                  </a:lnTo>
                  <a:lnTo>
                    <a:pt x="308" y="34"/>
                  </a:lnTo>
                  <a:lnTo>
                    <a:pt x="245" y="3"/>
                  </a:lnTo>
                  <a:lnTo>
                    <a:pt x="209" y="0"/>
                  </a:lnTo>
                  <a:lnTo>
                    <a:pt x="198" y="9"/>
                  </a:lnTo>
                  <a:lnTo>
                    <a:pt x="176" y="57"/>
                  </a:lnTo>
                  <a:lnTo>
                    <a:pt x="161" y="61"/>
                  </a:lnTo>
                  <a:lnTo>
                    <a:pt x="137" y="43"/>
                  </a:lnTo>
                  <a:lnTo>
                    <a:pt x="102" y="52"/>
                  </a:lnTo>
                  <a:lnTo>
                    <a:pt x="75" y="66"/>
                  </a:lnTo>
                  <a:lnTo>
                    <a:pt x="90" y="138"/>
                  </a:lnTo>
                  <a:lnTo>
                    <a:pt x="56" y="178"/>
                  </a:lnTo>
                  <a:lnTo>
                    <a:pt x="72" y="219"/>
                  </a:lnTo>
                  <a:lnTo>
                    <a:pt x="117" y="228"/>
                  </a:lnTo>
                  <a:lnTo>
                    <a:pt x="105" y="259"/>
                  </a:lnTo>
                  <a:lnTo>
                    <a:pt x="86" y="327"/>
                  </a:lnTo>
                  <a:lnTo>
                    <a:pt x="62" y="352"/>
                  </a:lnTo>
                  <a:lnTo>
                    <a:pt x="0" y="372"/>
                  </a:lnTo>
                  <a:lnTo>
                    <a:pt x="68" y="420"/>
                  </a:lnTo>
                  <a:lnTo>
                    <a:pt x="50" y="439"/>
                  </a:lnTo>
                  <a:close/>
                </a:path>
              </a:pathLst>
            </a:custGeom>
            <a:grpFill/>
            <a:ln w="9525">
              <a:solidFill>
                <a:schemeClr val="tx2">
                  <a:lumMod val="65000"/>
                </a:schemeClr>
              </a:solidFill>
              <a:round/>
              <a:headEnd/>
              <a:tailEnd/>
            </a:ln>
          </p:spPr>
          <p:txBody>
            <a:bodyPr lIns="91430" tIns="45715" rIns="91430" bIns="45715"/>
            <a:lstStyle/>
            <a:p>
              <a:endParaRPr lang="fr-FR"/>
            </a:p>
          </p:txBody>
        </p:sp>
        <p:sp>
          <p:nvSpPr>
            <p:cNvPr id="157" name="Freeform 19"/>
            <p:cNvSpPr>
              <a:spLocks/>
            </p:cNvSpPr>
            <p:nvPr>
              <p:custDataLst>
                <p:tags r:id="rId16"/>
              </p:custDataLst>
            </p:nvPr>
          </p:nvSpPr>
          <p:spPr bwMode="auto">
            <a:xfrm>
              <a:off x="3352800" y="1952625"/>
              <a:ext cx="312738" cy="519113"/>
            </a:xfrm>
            <a:custGeom>
              <a:avLst/>
              <a:gdLst>
                <a:gd name="T0" fmla="*/ 2147483647 w 416"/>
                <a:gd name="T1" fmla="*/ 2147483647 h 543"/>
                <a:gd name="T2" fmla="*/ 2147483647 w 416"/>
                <a:gd name="T3" fmla="*/ 2147483647 h 543"/>
                <a:gd name="T4" fmla="*/ 2147483647 w 416"/>
                <a:gd name="T5" fmla="*/ 2147483647 h 543"/>
                <a:gd name="T6" fmla="*/ 2147483647 w 416"/>
                <a:gd name="T7" fmla="*/ 2147483647 h 543"/>
                <a:gd name="T8" fmla="*/ 2147483647 w 416"/>
                <a:gd name="T9" fmla="*/ 2147483647 h 543"/>
                <a:gd name="T10" fmla="*/ 2147483647 w 416"/>
                <a:gd name="T11" fmla="*/ 2147483647 h 543"/>
                <a:gd name="T12" fmla="*/ 2147483647 w 416"/>
                <a:gd name="T13" fmla="*/ 2147483647 h 543"/>
                <a:gd name="T14" fmla="*/ 2147483647 w 416"/>
                <a:gd name="T15" fmla="*/ 2147483647 h 543"/>
                <a:gd name="T16" fmla="*/ 2147483647 w 416"/>
                <a:gd name="T17" fmla="*/ 2147483647 h 543"/>
                <a:gd name="T18" fmla="*/ 2147483647 w 416"/>
                <a:gd name="T19" fmla="*/ 2147483647 h 543"/>
                <a:gd name="T20" fmla="*/ 2147483647 w 416"/>
                <a:gd name="T21" fmla="*/ 2147483647 h 543"/>
                <a:gd name="T22" fmla="*/ 2147483647 w 416"/>
                <a:gd name="T23" fmla="*/ 2147483647 h 543"/>
                <a:gd name="T24" fmla="*/ 2147483647 w 416"/>
                <a:gd name="T25" fmla="*/ 2147483647 h 543"/>
                <a:gd name="T26" fmla="*/ 2147483647 w 416"/>
                <a:gd name="T27" fmla="*/ 2147483647 h 543"/>
                <a:gd name="T28" fmla="*/ 2147483647 w 416"/>
                <a:gd name="T29" fmla="*/ 0 h 543"/>
                <a:gd name="T30" fmla="*/ 2147483647 w 416"/>
                <a:gd name="T31" fmla="*/ 2147483647 h 543"/>
                <a:gd name="T32" fmla="*/ 2147483647 w 416"/>
                <a:gd name="T33" fmla="*/ 2147483647 h 543"/>
                <a:gd name="T34" fmla="*/ 2147483647 w 416"/>
                <a:gd name="T35" fmla="*/ 2147483647 h 543"/>
                <a:gd name="T36" fmla="*/ 2147483647 w 416"/>
                <a:gd name="T37" fmla="*/ 2147483647 h 543"/>
                <a:gd name="T38" fmla="*/ 2147483647 w 416"/>
                <a:gd name="T39" fmla="*/ 2147483647 h 543"/>
                <a:gd name="T40" fmla="*/ 2147483647 w 416"/>
                <a:gd name="T41" fmla="*/ 2147483647 h 543"/>
                <a:gd name="T42" fmla="*/ 2147483647 w 416"/>
                <a:gd name="T43" fmla="*/ 2147483647 h 543"/>
                <a:gd name="T44" fmla="*/ 2147483647 w 416"/>
                <a:gd name="T45" fmla="*/ 2147483647 h 543"/>
                <a:gd name="T46" fmla="*/ 2147483647 w 416"/>
                <a:gd name="T47" fmla="*/ 2147483647 h 543"/>
                <a:gd name="T48" fmla="*/ 2147483647 w 416"/>
                <a:gd name="T49" fmla="*/ 2147483647 h 543"/>
                <a:gd name="T50" fmla="*/ 2147483647 w 416"/>
                <a:gd name="T51" fmla="*/ 2147483647 h 543"/>
                <a:gd name="T52" fmla="*/ 2147483647 w 416"/>
                <a:gd name="T53" fmla="*/ 2147483647 h 543"/>
                <a:gd name="T54" fmla="*/ 2147483647 w 416"/>
                <a:gd name="T55" fmla="*/ 2147483647 h 543"/>
                <a:gd name="T56" fmla="*/ 2147483647 w 416"/>
                <a:gd name="T57" fmla="*/ 2147483647 h 543"/>
                <a:gd name="T58" fmla="*/ 2147483647 w 416"/>
                <a:gd name="T59" fmla="*/ 2147483647 h 543"/>
                <a:gd name="T60" fmla="*/ 2147483647 w 416"/>
                <a:gd name="T61" fmla="*/ 2147483647 h 543"/>
                <a:gd name="T62" fmla="*/ 2147483647 w 416"/>
                <a:gd name="T63" fmla="*/ 2147483647 h 543"/>
                <a:gd name="T64" fmla="*/ 2147483647 w 416"/>
                <a:gd name="T65" fmla="*/ 2147483647 h 543"/>
                <a:gd name="T66" fmla="*/ 2147483647 w 416"/>
                <a:gd name="T67" fmla="*/ 2147483647 h 543"/>
                <a:gd name="T68" fmla="*/ 2147483647 w 416"/>
                <a:gd name="T69" fmla="*/ 2147483647 h 543"/>
                <a:gd name="T70" fmla="*/ 2147483647 w 416"/>
                <a:gd name="T71" fmla="*/ 2147483647 h 543"/>
                <a:gd name="T72" fmla="*/ 2147483647 w 416"/>
                <a:gd name="T73" fmla="*/ 2147483647 h 543"/>
                <a:gd name="T74" fmla="*/ 2147483647 w 416"/>
                <a:gd name="T75" fmla="*/ 2147483647 h 543"/>
                <a:gd name="T76" fmla="*/ 2147483647 w 416"/>
                <a:gd name="T77" fmla="*/ 2147483647 h 543"/>
                <a:gd name="T78" fmla="*/ 2147483647 w 416"/>
                <a:gd name="T79" fmla="*/ 2147483647 h 543"/>
                <a:gd name="T80" fmla="*/ 2147483647 w 416"/>
                <a:gd name="T81" fmla="*/ 2147483647 h 543"/>
                <a:gd name="T82" fmla="*/ 2147483647 w 416"/>
                <a:gd name="T83" fmla="*/ 2147483647 h 543"/>
                <a:gd name="T84" fmla="*/ 2147483647 w 416"/>
                <a:gd name="T85" fmla="*/ 2147483647 h 543"/>
                <a:gd name="T86" fmla="*/ 2147483647 w 416"/>
                <a:gd name="T87" fmla="*/ 2147483647 h 543"/>
                <a:gd name="T88" fmla="*/ 2147483647 w 416"/>
                <a:gd name="T89" fmla="*/ 2147483647 h 543"/>
                <a:gd name="T90" fmla="*/ 2147483647 w 416"/>
                <a:gd name="T91" fmla="*/ 2147483647 h 543"/>
                <a:gd name="T92" fmla="*/ 2147483647 w 416"/>
                <a:gd name="T93" fmla="*/ 2147483647 h 543"/>
                <a:gd name="T94" fmla="*/ 2147483647 w 416"/>
                <a:gd name="T95" fmla="*/ 2147483647 h 543"/>
                <a:gd name="T96" fmla="*/ 2147483647 w 416"/>
                <a:gd name="T97" fmla="*/ 2147483647 h 543"/>
                <a:gd name="T98" fmla="*/ 2147483647 w 416"/>
                <a:gd name="T99" fmla="*/ 2147483647 h 543"/>
                <a:gd name="T100" fmla="*/ 2147483647 w 416"/>
                <a:gd name="T101" fmla="*/ 2147483647 h 543"/>
                <a:gd name="T102" fmla="*/ 2147483647 w 416"/>
                <a:gd name="T103" fmla="*/ 2147483647 h 543"/>
                <a:gd name="T104" fmla="*/ 0 w 416"/>
                <a:gd name="T105" fmla="*/ 2147483647 h 543"/>
                <a:gd name="T106" fmla="*/ 2147483647 w 416"/>
                <a:gd name="T107" fmla="*/ 2147483647 h 543"/>
                <a:gd name="T108" fmla="*/ 2147483647 w 416"/>
                <a:gd name="T109" fmla="*/ 2147483647 h 543"/>
                <a:gd name="T110" fmla="*/ 2147483647 w 416"/>
                <a:gd name="T111" fmla="*/ 2147483647 h 543"/>
                <a:gd name="T112" fmla="*/ 2147483647 w 416"/>
                <a:gd name="T113" fmla="*/ 2147483647 h 543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416"/>
                <a:gd name="T172" fmla="*/ 0 h 543"/>
                <a:gd name="T173" fmla="*/ 416 w 416"/>
                <a:gd name="T174" fmla="*/ 543 h 543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416" h="543">
                  <a:moveTo>
                    <a:pt x="8" y="266"/>
                  </a:moveTo>
                  <a:lnTo>
                    <a:pt x="20" y="254"/>
                  </a:lnTo>
                  <a:lnTo>
                    <a:pt x="24" y="240"/>
                  </a:lnTo>
                  <a:lnTo>
                    <a:pt x="42" y="218"/>
                  </a:lnTo>
                  <a:lnTo>
                    <a:pt x="45" y="200"/>
                  </a:lnTo>
                  <a:lnTo>
                    <a:pt x="95" y="185"/>
                  </a:lnTo>
                  <a:lnTo>
                    <a:pt x="113" y="170"/>
                  </a:lnTo>
                  <a:lnTo>
                    <a:pt x="114" y="140"/>
                  </a:lnTo>
                  <a:lnTo>
                    <a:pt x="116" y="125"/>
                  </a:lnTo>
                  <a:lnTo>
                    <a:pt x="62" y="105"/>
                  </a:lnTo>
                  <a:lnTo>
                    <a:pt x="65" y="84"/>
                  </a:lnTo>
                  <a:lnTo>
                    <a:pt x="80" y="62"/>
                  </a:lnTo>
                  <a:lnTo>
                    <a:pt x="108" y="35"/>
                  </a:lnTo>
                  <a:lnTo>
                    <a:pt x="141" y="8"/>
                  </a:lnTo>
                  <a:lnTo>
                    <a:pt x="176" y="0"/>
                  </a:lnTo>
                  <a:lnTo>
                    <a:pt x="198" y="2"/>
                  </a:lnTo>
                  <a:lnTo>
                    <a:pt x="195" y="42"/>
                  </a:lnTo>
                  <a:lnTo>
                    <a:pt x="194" y="59"/>
                  </a:lnTo>
                  <a:lnTo>
                    <a:pt x="236" y="89"/>
                  </a:lnTo>
                  <a:lnTo>
                    <a:pt x="255" y="95"/>
                  </a:lnTo>
                  <a:lnTo>
                    <a:pt x="249" y="116"/>
                  </a:lnTo>
                  <a:lnTo>
                    <a:pt x="288" y="146"/>
                  </a:lnTo>
                  <a:lnTo>
                    <a:pt x="345" y="171"/>
                  </a:lnTo>
                  <a:lnTo>
                    <a:pt x="387" y="200"/>
                  </a:lnTo>
                  <a:lnTo>
                    <a:pt x="408" y="210"/>
                  </a:lnTo>
                  <a:lnTo>
                    <a:pt x="401" y="233"/>
                  </a:lnTo>
                  <a:lnTo>
                    <a:pt x="398" y="275"/>
                  </a:lnTo>
                  <a:lnTo>
                    <a:pt x="366" y="285"/>
                  </a:lnTo>
                  <a:lnTo>
                    <a:pt x="354" y="308"/>
                  </a:lnTo>
                  <a:lnTo>
                    <a:pt x="324" y="375"/>
                  </a:lnTo>
                  <a:lnTo>
                    <a:pt x="414" y="405"/>
                  </a:lnTo>
                  <a:lnTo>
                    <a:pt x="416" y="423"/>
                  </a:lnTo>
                  <a:lnTo>
                    <a:pt x="356" y="456"/>
                  </a:lnTo>
                  <a:lnTo>
                    <a:pt x="314" y="485"/>
                  </a:lnTo>
                  <a:lnTo>
                    <a:pt x="267" y="482"/>
                  </a:lnTo>
                  <a:lnTo>
                    <a:pt x="255" y="491"/>
                  </a:lnTo>
                  <a:lnTo>
                    <a:pt x="303" y="522"/>
                  </a:lnTo>
                  <a:lnTo>
                    <a:pt x="299" y="539"/>
                  </a:lnTo>
                  <a:lnTo>
                    <a:pt x="267" y="525"/>
                  </a:lnTo>
                  <a:lnTo>
                    <a:pt x="251" y="522"/>
                  </a:lnTo>
                  <a:lnTo>
                    <a:pt x="212" y="543"/>
                  </a:lnTo>
                  <a:lnTo>
                    <a:pt x="201" y="537"/>
                  </a:lnTo>
                  <a:lnTo>
                    <a:pt x="213" y="513"/>
                  </a:lnTo>
                  <a:lnTo>
                    <a:pt x="219" y="471"/>
                  </a:lnTo>
                  <a:lnTo>
                    <a:pt x="194" y="455"/>
                  </a:lnTo>
                  <a:lnTo>
                    <a:pt x="137" y="416"/>
                  </a:lnTo>
                  <a:lnTo>
                    <a:pt x="108" y="396"/>
                  </a:lnTo>
                  <a:lnTo>
                    <a:pt x="95" y="368"/>
                  </a:lnTo>
                  <a:lnTo>
                    <a:pt x="123" y="353"/>
                  </a:lnTo>
                  <a:lnTo>
                    <a:pt x="107" y="339"/>
                  </a:lnTo>
                  <a:lnTo>
                    <a:pt x="95" y="350"/>
                  </a:lnTo>
                  <a:lnTo>
                    <a:pt x="29" y="344"/>
                  </a:lnTo>
                  <a:lnTo>
                    <a:pt x="0" y="326"/>
                  </a:lnTo>
                  <a:lnTo>
                    <a:pt x="21" y="305"/>
                  </a:lnTo>
                  <a:lnTo>
                    <a:pt x="21" y="294"/>
                  </a:lnTo>
                  <a:lnTo>
                    <a:pt x="14" y="279"/>
                  </a:lnTo>
                  <a:lnTo>
                    <a:pt x="8" y="266"/>
                  </a:lnTo>
                  <a:close/>
                </a:path>
              </a:pathLst>
            </a:custGeom>
            <a:grpFill/>
            <a:ln w="9525">
              <a:solidFill>
                <a:schemeClr val="tx2">
                  <a:lumMod val="65000"/>
                </a:schemeClr>
              </a:solidFill>
              <a:round/>
              <a:headEnd/>
              <a:tailEnd/>
            </a:ln>
          </p:spPr>
          <p:txBody>
            <a:bodyPr lIns="91430" tIns="45715" rIns="91430" bIns="45715"/>
            <a:lstStyle/>
            <a:p>
              <a:endParaRPr lang="fr-FR"/>
            </a:p>
          </p:txBody>
        </p:sp>
        <p:sp>
          <p:nvSpPr>
            <p:cNvPr id="158" name="Freeform 20"/>
            <p:cNvSpPr>
              <a:spLocks/>
            </p:cNvSpPr>
            <p:nvPr>
              <p:custDataLst>
                <p:tags r:id="rId17"/>
              </p:custDataLst>
            </p:nvPr>
          </p:nvSpPr>
          <p:spPr bwMode="auto">
            <a:xfrm>
              <a:off x="3524250" y="1465263"/>
              <a:ext cx="231775" cy="263525"/>
            </a:xfrm>
            <a:custGeom>
              <a:avLst/>
              <a:gdLst>
                <a:gd name="T0" fmla="*/ 2147483647 w 309"/>
                <a:gd name="T1" fmla="*/ 2147483647 h 276"/>
                <a:gd name="T2" fmla="*/ 2147483647 w 309"/>
                <a:gd name="T3" fmla="*/ 2147483647 h 276"/>
                <a:gd name="T4" fmla="*/ 2147483647 w 309"/>
                <a:gd name="T5" fmla="*/ 2147483647 h 276"/>
                <a:gd name="T6" fmla="*/ 2147483647 w 309"/>
                <a:gd name="T7" fmla="*/ 2147483647 h 276"/>
                <a:gd name="T8" fmla="*/ 0 w 309"/>
                <a:gd name="T9" fmla="*/ 2147483647 h 276"/>
                <a:gd name="T10" fmla="*/ 2147483647 w 309"/>
                <a:gd name="T11" fmla="*/ 2147483647 h 276"/>
                <a:gd name="T12" fmla="*/ 2147483647 w 309"/>
                <a:gd name="T13" fmla="*/ 2147483647 h 276"/>
                <a:gd name="T14" fmla="*/ 2147483647 w 309"/>
                <a:gd name="T15" fmla="*/ 2147483647 h 276"/>
                <a:gd name="T16" fmla="*/ 2147483647 w 309"/>
                <a:gd name="T17" fmla="*/ 2147483647 h 276"/>
                <a:gd name="T18" fmla="*/ 2147483647 w 309"/>
                <a:gd name="T19" fmla="*/ 2147483647 h 276"/>
                <a:gd name="T20" fmla="*/ 2147483647 w 309"/>
                <a:gd name="T21" fmla="*/ 2147483647 h 276"/>
                <a:gd name="T22" fmla="*/ 2147483647 w 309"/>
                <a:gd name="T23" fmla="*/ 2147483647 h 276"/>
                <a:gd name="T24" fmla="*/ 2147483647 w 309"/>
                <a:gd name="T25" fmla="*/ 2147483647 h 276"/>
                <a:gd name="T26" fmla="*/ 2147483647 w 309"/>
                <a:gd name="T27" fmla="*/ 2147483647 h 276"/>
                <a:gd name="T28" fmla="*/ 2147483647 w 309"/>
                <a:gd name="T29" fmla="*/ 2147483647 h 276"/>
                <a:gd name="T30" fmla="*/ 2147483647 w 309"/>
                <a:gd name="T31" fmla="*/ 2147483647 h 276"/>
                <a:gd name="T32" fmla="*/ 2147483647 w 309"/>
                <a:gd name="T33" fmla="*/ 2147483647 h 276"/>
                <a:gd name="T34" fmla="*/ 2147483647 w 309"/>
                <a:gd name="T35" fmla="*/ 2147483647 h 276"/>
                <a:gd name="T36" fmla="*/ 2147483647 w 309"/>
                <a:gd name="T37" fmla="*/ 2147483647 h 276"/>
                <a:gd name="T38" fmla="*/ 2147483647 w 309"/>
                <a:gd name="T39" fmla="*/ 2147483647 h 276"/>
                <a:gd name="T40" fmla="*/ 2147483647 w 309"/>
                <a:gd name="T41" fmla="*/ 2147483647 h 276"/>
                <a:gd name="T42" fmla="*/ 2147483647 w 309"/>
                <a:gd name="T43" fmla="*/ 2147483647 h 276"/>
                <a:gd name="T44" fmla="*/ 2147483647 w 309"/>
                <a:gd name="T45" fmla="*/ 2147483647 h 276"/>
                <a:gd name="T46" fmla="*/ 2147483647 w 309"/>
                <a:gd name="T47" fmla="*/ 2147483647 h 276"/>
                <a:gd name="T48" fmla="*/ 2147483647 w 309"/>
                <a:gd name="T49" fmla="*/ 2147483647 h 276"/>
                <a:gd name="T50" fmla="*/ 2147483647 w 309"/>
                <a:gd name="T51" fmla="*/ 2147483647 h 276"/>
                <a:gd name="T52" fmla="*/ 2147483647 w 309"/>
                <a:gd name="T53" fmla="*/ 0 h 276"/>
                <a:gd name="T54" fmla="*/ 2147483647 w 309"/>
                <a:gd name="T55" fmla="*/ 2147483647 h 276"/>
                <a:gd name="T56" fmla="*/ 2147483647 w 309"/>
                <a:gd name="T57" fmla="*/ 2147483647 h 276"/>
                <a:gd name="T58" fmla="*/ 2147483647 w 309"/>
                <a:gd name="T59" fmla="*/ 2147483647 h 276"/>
                <a:gd name="T60" fmla="*/ 2147483647 w 309"/>
                <a:gd name="T61" fmla="*/ 2147483647 h 27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309"/>
                <a:gd name="T94" fmla="*/ 0 h 276"/>
                <a:gd name="T95" fmla="*/ 309 w 309"/>
                <a:gd name="T96" fmla="*/ 276 h 27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309" h="276">
                  <a:moveTo>
                    <a:pt x="57" y="108"/>
                  </a:moveTo>
                  <a:lnTo>
                    <a:pt x="62" y="141"/>
                  </a:lnTo>
                  <a:lnTo>
                    <a:pt x="59" y="156"/>
                  </a:lnTo>
                  <a:lnTo>
                    <a:pt x="20" y="178"/>
                  </a:lnTo>
                  <a:lnTo>
                    <a:pt x="0" y="189"/>
                  </a:lnTo>
                  <a:lnTo>
                    <a:pt x="15" y="205"/>
                  </a:lnTo>
                  <a:lnTo>
                    <a:pt x="38" y="219"/>
                  </a:lnTo>
                  <a:lnTo>
                    <a:pt x="66" y="228"/>
                  </a:lnTo>
                  <a:lnTo>
                    <a:pt x="66" y="255"/>
                  </a:lnTo>
                  <a:lnTo>
                    <a:pt x="60" y="271"/>
                  </a:lnTo>
                  <a:lnTo>
                    <a:pt x="98" y="265"/>
                  </a:lnTo>
                  <a:lnTo>
                    <a:pt x="156" y="268"/>
                  </a:lnTo>
                  <a:lnTo>
                    <a:pt x="185" y="276"/>
                  </a:lnTo>
                  <a:lnTo>
                    <a:pt x="203" y="256"/>
                  </a:lnTo>
                  <a:lnTo>
                    <a:pt x="245" y="237"/>
                  </a:lnTo>
                  <a:lnTo>
                    <a:pt x="276" y="177"/>
                  </a:lnTo>
                  <a:lnTo>
                    <a:pt x="278" y="159"/>
                  </a:lnTo>
                  <a:lnTo>
                    <a:pt x="309" y="132"/>
                  </a:lnTo>
                  <a:lnTo>
                    <a:pt x="300" y="115"/>
                  </a:lnTo>
                  <a:lnTo>
                    <a:pt x="297" y="94"/>
                  </a:lnTo>
                  <a:lnTo>
                    <a:pt x="273" y="106"/>
                  </a:lnTo>
                  <a:lnTo>
                    <a:pt x="273" y="75"/>
                  </a:lnTo>
                  <a:lnTo>
                    <a:pt x="252" y="58"/>
                  </a:lnTo>
                  <a:lnTo>
                    <a:pt x="213" y="70"/>
                  </a:lnTo>
                  <a:lnTo>
                    <a:pt x="185" y="60"/>
                  </a:lnTo>
                  <a:lnTo>
                    <a:pt x="191" y="6"/>
                  </a:lnTo>
                  <a:lnTo>
                    <a:pt x="158" y="0"/>
                  </a:lnTo>
                  <a:lnTo>
                    <a:pt x="131" y="51"/>
                  </a:lnTo>
                  <a:lnTo>
                    <a:pt x="104" y="48"/>
                  </a:lnTo>
                  <a:lnTo>
                    <a:pt x="93" y="64"/>
                  </a:lnTo>
                  <a:lnTo>
                    <a:pt x="57" y="108"/>
                  </a:lnTo>
                  <a:close/>
                </a:path>
              </a:pathLst>
            </a:custGeom>
            <a:grpFill/>
            <a:ln w="9525">
              <a:solidFill>
                <a:schemeClr val="tx2">
                  <a:lumMod val="65000"/>
                </a:schemeClr>
              </a:solidFill>
              <a:round/>
              <a:headEnd/>
              <a:tailEnd/>
            </a:ln>
          </p:spPr>
          <p:txBody>
            <a:bodyPr lIns="91430" tIns="45715" rIns="91430" bIns="45715"/>
            <a:lstStyle/>
            <a:p>
              <a:endParaRPr lang="fr-FR"/>
            </a:p>
          </p:txBody>
        </p:sp>
        <p:sp>
          <p:nvSpPr>
            <p:cNvPr id="159" name="Freeform 21"/>
            <p:cNvSpPr>
              <a:spLocks/>
            </p:cNvSpPr>
            <p:nvPr>
              <p:custDataLst>
                <p:tags r:id="rId18"/>
              </p:custDataLst>
            </p:nvPr>
          </p:nvSpPr>
          <p:spPr bwMode="auto">
            <a:xfrm>
              <a:off x="3436938" y="1695450"/>
              <a:ext cx="293687" cy="460375"/>
            </a:xfrm>
            <a:custGeom>
              <a:avLst/>
              <a:gdLst>
                <a:gd name="T0" fmla="*/ 2147483647 w 390"/>
                <a:gd name="T1" fmla="*/ 2147483647 h 483"/>
                <a:gd name="T2" fmla="*/ 2147483647 w 390"/>
                <a:gd name="T3" fmla="*/ 2147483647 h 483"/>
                <a:gd name="T4" fmla="*/ 2147483647 w 390"/>
                <a:gd name="T5" fmla="*/ 2147483647 h 483"/>
                <a:gd name="T6" fmla="*/ 0 w 390"/>
                <a:gd name="T7" fmla="*/ 2147483647 h 483"/>
                <a:gd name="T8" fmla="*/ 2147483647 w 390"/>
                <a:gd name="T9" fmla="*/ 2147483647 h 483"/>
                <a:gd name="T10" fmla="*/ 2147483647 w 390"/>
                <a:gd name="T11" fmla="*/ 2147483647 h 483"/>
                <a:gd name="T12" fmla="*/ 2147483647 w 390"/>
                <a:gd name="T13" fmla="*/ 2147483647 h 483"/>
                <a:gd name="T14" fmla="*/ 2147483647 w 390"/>
                <a:gd name="T15" fmla="*/ 2147483647 h 483"/>
                <a:gd name="T16" fmla="*/ 2147483647 w 390"/>
                <a:gd name="T17" fmla="*/ 2147483647 h 483"/>
                <a:gd name="T18" fmla="*/ 2147483647 w 390"/>
                <a:gd name="T19" fmla="*/ 2147483647 h 483"/>
                <a:gd name="T20" fmla="*/ 2147483647 w 390"/>
                <a:gd name="T21" fmla="*/ 2147483647 h 483"/>
                <a:gd name="T22" fmla="*/ 2147483647 w 390"/>
                <a:gd name="T23" fmla="*/ 2147483647 h 483"/>
                <a:gd name="T24" fmla="*/ 2147483647 w 390"/>
                <a:gd name="T25" fmla="*/ 2147483647 h 483"/>
                <a:gd name="T26" fmla="*/ 2147483647 w 390"/>
                <a:gd name="T27" fmla="*/ 2147483647 h 483"/>
                <a:gd name="T28" fmla="*/ 2147483647 w 390"/>
                <a:gd name="T29" fmla="*/ 2147483647 h 483"/>
                <a:gd name="T30" fmla="*/ 2147483647 w 390"/>
                <a:gd name="T31" fmla="*/ 2147483647 h 483"/>
                <a:gd name="T32" fmla="*/ 2147483647 w 390"/>
                <a:gd name="T33" fmla="*/ 2147483647 h 483"/>
                <a:gd name="T34" fmla="*/ 2147483647 w 390"/>
                <a:gd name="T35" fmla="*/ 0 h 483"/>
                <a:gd name="T36" fmla="*/ 2147483647 w 390"/>
                <a:gd name="T37" fmla="*/ 2147483647 h 483"/>
                <a:gd name="T38" fmla="*/ 2147483647 w 390"/>
                <a:gd name="T39" fmla="*/ 2147483647 h 483"/>
                <a:gd name="T40" fmla="*/ 2147483647 w 390"/>
                <a:gd name="T41" fmla="*/ 2147483647 h 483"/>
                <a:gd name="T42" fmla="*/ 2147483647 w 390"/>
                <a:gd name="T43" fmla="*/ 2147483647 h 483"/>
                <a:gd name="T44" fmla="*/ 2147483647 w 390"/>
                <a:gd name="T45" fmla="*/ 2147483647 h 483"/>
                <a:gd name="T46" fmla="*/ 2147483647 w 390"/>
                <a:gd name="T47" fmla="*/ 2147483647 h 483"/>
                <a:gd name="T48" fmla="*/ 2147483647 w 390"/>
                <a:gd name="T49" fmla="*/ 2147483647 h 483"/>
                <a:gd name="T50" fmla="*/ 2147483647 w 390"/>
                <a:gd name="T51" fmla="*/ 2147483647 h 483"/>
                <a:gd name="T52" fmla="*/ 2147483647 w 390"/>
                <a:gd name="T53" fmla="*/ 2147483647 h 483"/>
                <a:gd name="T54" fmla="*/ 2147483647 w 390"/>
                <a:gd name="T55" fmla="*/ 2147483647 h 483"/>
                <a:gd name="T56" fmla="*/ 2147483647 w 390"/>
                <a:gd name="T57" fmla="*/ 2147483647 h 483"/>
                <a:gd name="T58" fmla="*/ 2147483647 w 390"/>
                <a:gd name="T59" fmla="*/ 2147483647 h 483"/>
                <a:gd name="T60" fmla="*/ 2147483647 w 390"/>
                <a:gd name="T61" fmla="*/ 2147483647 h 483"/>
                <a:gd name="T62" fmla="*/ 2147483647 w 390"/>
                <a:gd name="T63" fmla="*/ 2147483647 h 483"/>
                <a:gd name="T64" fmla="*/ 2147483647 w 390"/>
                <a:gd name="T65" fmla="*/ 2147483647 h 483"/>
                <a:gd name="T66" fmla="*/ 2147483647 w 390"/>
                <a:gd name="T67" fmla="*/ 2147483647 h 483"/>
                <a:gd name="T68" fmla="*/ 2147483647 w 390"/>
                <a:gd name="T69" fmla="*/ 2147483647 h 483"/>
                <a:gd name="T70" fmla="*/ 2147483647 w 390"/>
                <a:gd name="T71" fmla="*/ 2147483647 h 483"/>
                <a:gd name="T72" fmla="*/ 2147483647 w 390"/>
                <a:gd name="T73" fmla="*/ 2147483647 h 483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390"/>
                <a:gd name="T112" fmla="*/ 0 h 483"/>
                <a:gd name="T113" fmla="*/ 390 w 390"/>
                <a:gd name="T114" fmla="*/ 483 h 483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390" h="483">
                  <a:moveTo>
                    <a:pt x="67" y="267"/>
                  </a:moveTo>
                  <a:lnTo>
                    <a:pt x="57" y="245"/>
                  </a:lnTo>
                  <a:lnTo>
                    <a:pt x="9" y="204"/>
                  </a:lnTo>
                  <a:lnTo>
                    <a:pt x="0" y="186"/>
                  </a:lnTo>
                  <a:lnTo>
                    <a:pt x="3" y="164"/>
                  </a:lnTo>
                  <a:lnTo>
                    <a:pt x="27" y="179"/>
                  </a:lnTo>
                  <a:lnTo>
                    <a:pt x="42" y="185"/>
                  </a:lnTo>
                  <a:lnTo>
                    <a:pt x="94" y="162"/>
                  </a:lnTo>
                  <a:lnTo>
                    <a:pt x="76" y="135"/>
                  </a:lnTo>
                  <a:lnTo>
                    <a:pt x="84" y="98"/>
                  </a:lnTo>
                  <a:lnTo>
                    <a:pt x="99" y="75"/>
                  </a:lnTo>
                  <a:lnTo>
                    <a:pt x="138" y="53"/>
                  </a:lnTo>
                  <a:lnTo>
                    <a:pt x="183" y="27"/>
                  </a:lnTo>
                  <a:lnTo>
                    <a:pt x="222" y="26"/>
                  </a:lnTo>
                  <a:lnTo>
                    <a:pt x="271" y="24"/>
                  </a:lnTo>
                  <a:lnTo>
                    <a:pt x="300" y="36"/>
                  </a:lnTo>
                  <a:lnTo>
                    <a:pt x="310" y="15"/>
                  </a:lnTo>
                  <a:lnTo>
                    <a:pt x="352" y="0"/>
                  </a:lnTo>
                  <a:lnTo>
                    <a:pt x="345" y="29"/>
                  </a:lnTo>
                  <a:lnTo>
                    <a:pt x="375" y="48"/>
                  </a:lnTo>
                  <a:lnTo>
                    <a:pt x="340" y="131"/>
                  </a:lnTo>
                  <a:lnTo>
                    <a:pt x="390" y="207"/>
                  </a:lnTo>
                  <a:lnTo>
                    <a:pt x="384" y="261"/>
                  </a:lnTo>
                  <a:lnTo>
                    <a:pt x="346" y="321"/>
                  </a:lnTo>
                  <a:lnTo>
                    <a:pt x="349" y="350"/>
                  </a:lnTo>
                  <a:lnTo>
                    <a:pt x="376" y="413"/>
                  </a:lnTo>
                  <a:lnTo>
                    <a:pt x="315" y="434"/>
                  </a:lnTo>
                  <a:lnTo>
                    <a:pt x="298" y="483"/>
                  </a:lnTo>
                  <a:lnTo>
                    <a:pt x="262" y="468"/>
                  </a:lnTo>
                  <a:lnTo>
                    <a:pt x="232" y="440"/>
                  </a:lnTo>
                  <a:lnTo>
                    <a:pt x="178" y="420"/>
                  </a:lnTo>
                  <a:lnTo>
                    <a:pt x="135" y="387"/>
                  </a:lnTo>
                  <a:lnTo>
                    <a:pt x="142" y="365"/>
                  </a:lnTo>
                  <a:lnTo>
                    <a:pt x="120" y="357"/>
                  </a:lnTo>
                  <a:lnTo>
                    <a:pt x="78" y="333"/>
                  </a:lnTo>
                  <a:lnTo>
                    <a:pt x="87" y="270"/>
                  </a:lnTo>
                  <a:lnTo>
                    <a:pt x="67" y="267"/>
                  </a:lnTo>
                  <a:close/>
                </a:path>
              </a:pathLst>
            </a:custGeom>
            <a:grpFill/>
            <a:ln w="9525">
              <a:solidFill>
                <a:schemeClr val="tx2">
                  <a:lumMod val="65000"/>
                </a:schemeClr>
              </a:solidFill>
              <a:round/>
              <a:headEnd/>
              <a:tailEnd/>
            </a:ln>
          </p:spPr>
          <p:txBody>
            <a:bodyPr lIns="91430" tIns="45715" rIns="91430" bIns="45715"/>
            <a:lstStyle/>
            <a:p>
              <a:endParaRPr lang="fr-FR"/>
            </a:p>
          </p:txBody>
        </p:sp>
        <p:sp>
          <p:nvSpPr>
            <p:cNvPr id="160" name="Freeform 22"/>
            <p:cNvSpPr>
              <a:spLocks/>
            </p:cNvSpPr>
            <p:nvPr>
              <p:custDataLst>
                <p:tags r:id="rId19"/>
              </p:custDataLst>
            </p:nvPr>
          </p:nvSpPr>
          <p:spPr bwMode="auto">
            <a:xfrm>
              <a:off x="3330575" y="1562100"/>
              <a:ext cx="244475" cy="396875"/>
            </a:xfrm>
            <a:custGeom>
              <a:avLst/>
              <a:gdLst>
                <a:gd name="T0" fmla="*/ 2147483647 w 324"/>
                <a:gd name="T1" fmla="*/ 2147483647 h 415"/>
                <a:gd name="T2" fmla="*/ 2147483647 w 324"/>
                <a:gd name="T3" fmla="*/ 2147483647 h 415"/>
                <a:gd name="T4" fmla="*/ 2147483647 w 324"/>
                <a:gd name="T5" fmla="*/ 2147483647 h 415"/>
                <a:gd name="T6" fmla="*/ 2147483647 w 324"/>
                <a:gd name="T7" fmla="*/ 2147483647 h 415"/>
                <a:gd name="T8" fmla="*/ 2147483647 w 324"/>
                <a:gd name="T9" fmla="*/ 2147483647 h 415"/>
                <a:gd name="T10" fmla="*/ 2147483647 w 324"/>
                <a:gd name="T11" fmla="*/ 2147483647 h 415"/>
                <a:gd name="T12" fmla="*/ 2147483647 w 324"/>
                <a:gd name="T13" fmla="*/ 2147483647 h 415"/>
                <a:gd name="T14" fmla="*/ 2147483647 w 324"/>
                <a:gd name="T15" fmla="*/ 2147483647 h 415"/>
                <a:gd name="T16" fmla="*/ 2147483647 w 324"/>
                <a:gd name="T17" fmla="*/ 2147483647 h 415"/>
                <a:gd name="T18" fmla="*/ 2147483647 w 324"/>
                <a:gd name="T19" fmla="*/ 2147483647 h 415"/>
                <a:gd name="T20" fmla="*/ 2147483647 w 324"/>
                <a:gd name="T21" fmla="*/ 2147483647 h 415"/>
                <a:gd name="T22" fmla="*/ 2147483647 w 324"/>
                <a:gd name="T23" fmla="*/ 2147483647 h 415"/>
                <a:gd name="T24" fmla="*/ 0 w 324"/>
                <a:gd name="T25" fmla="*/ 2147483647 h 415"/>
                <a:gd name="T26" fmla="*/ 2147483647 w 324"/>
                <a:gd name="T27" fmla="*/ 2147483647 h 415"/>
                <a:gd name="T28" fmla="*/ 2147483647 w 324"/>
                <a:gd name="T29" fmla="*/ 2147483647 h 415"/>
                <a:gd name="T30" fmla="*/ 2147483647 w 324"/>
                <a:gd name="T31" fmla="*/ 2147483647 h 415"/>
                <a:gd name="T32" fmla="*/ 2147483647 w 324"/>
                <a:gd name="T33" fmla="*/ 2147483647 h 415"/>
                <a:gd name="T34" fmla="*/ 2147483647 w 324"/>
                <a:gd name="T35" fmla="*/ 2147483647 h 415"/>
                <a:gd name="T36" fmla="*/ 2147483647 w 324"/>
                <a:gd name="T37" fmla="*/ 0 h 415"/>
                <a:gd name="T38" fmla="*/ 2147483647 w 324"/>
                <a:gd name="T39" fmla="*/ 2147483647 h 415"/>
                <a:gd name="T40" fmla="*/ 2147483647 w 324"/>
                <a:gd name="T41" fmla="*/ 2147483647 h 415"/>
                <a:gd name="T42" fmla="*/ 2147483647 w 324"/>
                <a:gd name="T43" fmla="*/ 2147483647 h 415"/>
                <a:gd name="T44" fmla="*/ 2147483647 w 324"/>
                <a:gd name="T45" fmla="*/ 2147483647 h 415"/>
                <a:gd name="T46" fmla="*/ 2147483647 w 324"/>
                <a:gd name="T47" fmla="*/ 2147483647 h 415"/>
                <a:gd name="T48" fmla="*/ 2147483647 w 324"/>
                <a:gd name="T49" fmla="*/ 2147483647 h 415"/>
                <a:gd name="T50" fmla="*/ 2147483647 w 324"/>
                <a:gd name="T51" fmla="*/ 2147483647 h 415"/>
                <a:gd name="T52" fmla="*/ 2147483647 w 324"/>
                <a:gd name="T53" fmla="*/ 2147483647 h 415"/>
                <a:gd name="T54" fmla="*/ 2147483647 w 324"/>
                <a:gd name="T55" fmla="*/ 2147483647 h 415"/>
                <a:gd name="T56" fmla="*/ 2147483647 w 324"/>
                <a:gd name="T57" fmla="*/ 2147483647 h 415"/>
                <a:gd name="T58" fmla="*/ 2147483647 w 324"/>
                <a:gd name="T59" fmla="*/ 2147483647 h 415"/>
                <a:gd name="T60" fmla="*/ 2147483647 w 324"/>
                <a:gd name="T61" fmla="*/ 2147483647 h 415"/>
                <a:gd name="T62" fmla="*/ 2147483647 w 324"/>
                <a:gd name="T63" fmla="*/ 2147483647 h 415"/>
                <a:gd name="T64" fmla="*/ 2147483647 w 324"/>
                <a:gd name="T65" fmla="*/ 2147483647 h 415"/>
                <a:gd name="T66" fmla="*/ 2147483647 w 324"/>
                <a:gd name="T67" fmla="*/ 2147483647 h 415"/>
                <a:gd name="T68" fmla="*/ 2147483647 w 324"/>
                <a:gd name="T69" fmla="*/ 2147483647 h 415"/>
                <a:gd name="T70" fmla="*/ 2147483647 w 324"/>
                <a:gd name="T71" fmla="*/ 2147483647 h 415"/>
                <a:gd name="T72" fmla="*/ 2147483647 w 324"/>
                <a:gd name="T73" fmla="*/ 2147483647 h 415"/>
                <a:gd name="T74" fmla="*/ 2147483647 w 324"/>
                <a:gd name="T75" fmla="*/ 2147483647 h 415"/>
                <a:gd name="T76" fmla="*/ 2147483647 w 324"/>
                <a:gd name="T77" fmla="*/ 2147483647 h 415"/>
                <a:gd name="T78" fmla="*/ 2147483647 w 324"/>
                <a:gd name="T79" fmla="*/ 2147483647 h 415"/>
                <a:gd name="T80" fmla="*/ 2147483647 w 324"/>
                <a:gd name="T81" fmla="*/ 2147483647 h 415"/>
                <a:gd name="T82" fmla="*/ 2147483647 w 324"/>
                <a:gd name="T83" fmla="*/ 2147483647 h 415"/>
                <a:gd name="T84" fmla="*/ 2147483647 w 324"/>
                <a:gd name="T85" fmla="*/ 2147483647 h 415"/>
                <a:gd name="T86" fmla="*/ 2147483647 w 324"/>
                <a:gd name="T87" fmla="*/ 2147483647 h 415"/>
                <a:gd name="T88" fmla="*/ 2147483647 w 324"/>
                <a:gd name="T89" fmla="*/ 2147483647 h 415"/>
                <a:gd name="T90" fmla="*/ 2147483647 w 324"/>
                <a:gd name="T91" fmla="*/ 2147483647 h 415"/>
                <a:gd name="T92" fmla="*/ 2147483647 w 324"/>
                <a:gd name="T93" fmla="*/ 2147483647 h 415"/>
                <a:gd name="T94" fmla="*/ 2147483647 w 324"/>
                <a:gd name="T95" fmla="*/ 2147483647 h 415"/>
                <a:gd name="T96" fmla="*/ 2147483647 w 324"/>
                <a:gd name="T97" fmla="*/ 2147483647 h 415"/>
                <a:gd name="T98" fmla="*/ 2147483647 w 324"/>
                <a:gd name="T99" fmla="*/ 2147483647 h 415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324"/>
                <a:gd name="T151" fmla="*/ 0 h 415"/>
                <a:gd name="T152" fmla="*/ 324 w 324"/>
                <a:gd name="T153" fmla="*/ 415 h 415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324" h="415">
                  <a:moveTo>
                    <a:pt x="36" y="318"/>
                  </a:moveTo>
                  <a:lnTo>
                    <a:pt x="27" y="291"/>
                  </a:lnTo>
                  <a:lnTo>
                    <a:pt x="42" y="264"/>
                  </a:lnTo>
                  <a:lnTo>
                    <a:pt x="54" y="235"/>
                  </a:lnTo>
                  <a:lnTo>
                    <a:pt x="81" y="219"/>
                  </a:lnTo>
                  <a:lnTo>
                    <a:pt x="91" y="172"/>
                  </a:lnTo>
                  <a:lnTo>
                    <a:pt x="85" y="156"/>
                  </a:lnTo>
                  <a:lnTo>
                    <a:pt x="39" y="132"/>
                  </a:lnTo>
                  <a:lnTo>
                    <a:pt x="42" y="105"/>
                  </a:lnTo>
                  <a:lnTo>
                    <a:pt x="37" y="76"/>
                  </a:lnTo>
                  <a:lnTo>
                    <a:pt x="15" y="66"/>
                  </a:lnTo>
                  <a:lnTo>
                    <a:pt x="31" y="42"/>
                  </a:lnTo>
                  <a:lnTo>
                    <a:pt x="0" y="12"/>
                  </a:lnTo>
                  <a:lnTo>
                    <a:pt x="40" y="4"/>
                  </a:lnTo>
                  <a:lnTo>
                    <a:pt x="79" y="39"/>
                  </a:lnTo>
                  <a:lnTo>
                    <a:pt x="108" y="27"/>
                  </a:lnTo>
                  <a:lnTo>
                    <a:pt x="145" y="37"/>
                  </a:lnTo>
                  <a:lnTo>
                    <a:pt x="163" y="18"/>
                  </a:lnTo>
                  <a:lnTo>
                    <a:pt x="202" y="0"/>
                  </a:lnTo>
                  <a:lnTo>
                    <a:pt x="261" y="18"/>
                  </a:lnTo>
                  <a:lnTo>
                    <a:pt x="312" y="6"/>
                  </a:lnTo>
                  <a:lnTo>
                    <a:pt x="318" y="28"/>
                  </a:lnTo>
                  <a:lnTo>
                    <a:pt x="316" y="52"/>
                  </a:lnTo>
                  <a:lnTo>
                    <a:pt x="304" y="61"/>
                  </a:lnTo>
                  <a:lnTo>
                    <a:pt x="256" y="90"/>
                  </a:lnTo>
                  <a:lnTo>
                    <a:pt x="280" y="111"/>
                  </a:lnTo>
                  <a:lnTo>
                    <a:pt x="324" y="127"/>
                  </a:lnTo>
                  <a:lnTo>
                    <a:pt x="321" y="153"/>
                  </a:lnTo>
                  <a:lnTo>
                    <a:pt x="315" y="174"/>
                  </a:lnTo>
                  <a:lnTo>
                    <a:pt x="273" y="199"/>
                  </a:lnTo>
                  <a:lnTo>
                    <a:pt x="241" y="210"/>
                  </a:lnTo>
                  <a:lnTo>
                    <a:pt x="228" y="235"/>
                  </a:lnTo>
                  <a:lnTo>
                    <a:pt x="219" y="274"/>
                  </a:lnTo>
                  <a:lnTo>
                    <a:pt x="235" y="297"/>
                  </a:lnTo>
                  <a:lnTo>
                    <a:pt x="186" y="322"/>
                  </a:lnTo>
                  <a:lnTo>
                    <a:pt x="165" y="316"/>
                  </a:lnTo>
                  <a:lnTo>
                    <a:pt x="142" y="304"/>
                  </a:lnTo>
                  <a:lnTo>
                    <a:pt x="139" y="318"/>
                  </a:lnTo>
                  <a:lnTo>
                    <a:pt x="151" y="343"/>
                  </a:lnTo>
                  <a:lnTo>
                    <a:pt x="195" y="382"/>
                  </a:lnTo>
                  <a:lnTo>
                    <a:pt x="208" y="405"/>
                  </a:lnTo>
                  <a:lnTo>
                    <a:pt x="187" y="415"/>
                  </a:lnTo>
                  <a:lnTo>
                    <a:pt x="165" y="414"/>
                  </a:lnTo>
                  <a:lnTo>
                    <a:pt x="162" y="387"/>
                  </a:lnTo>
                  <a:lnTo>
                    <a:pt x="139" y="382"/>
                  </a:lnTo>
                  <a:lnTo>
                    <a:pt x="115" y="373"/>
                  </a:lnTo>
                  <a:lnTo>
                    <a:pt x="102" y="346"/>
                  </a:lnTo>
                  <a:lnTo>
                    <a:pt x="63" y="343"/>
                  </a:lnTo>
                  <a:lnTo>
                    <a:pt x="54" y="324"/>
                  </a:lnTo>
                  <a:lnTo>
                    <a:pt x="36" y="318"/>
                  </a:lnTo>
                  <a:close/>
                </a:path>
              </a:pathLst>
            </a:custGeom>
            <a:grpFill/>
            <a:ln w="9525">
              <a:solidFill>
                <a:schemeClr val="tx2">
                  <a:lumMod val="65000"/>
                </a:schemeClr>
              </a:solidFill>
              <a:round/>
              <a:headEnd/>
              <a:tailEnd/>
            </a:ln>
          </p:spPr>
          <p:txBody>
            <a:bodyPr lIns="91430" tIns="45715" rIns="91430" bIns="45715"/>
            <a:lstStyle/>
            <a:p>
              <a:endParaRPr lang="fr-FR"/>
            </a:p>
          </p:txBody>
        </p:sp>
        <p:sp>
          <p:nvSpPr>
            <p:cNvPr id="161" name="Freeform 23"/>
            <p:cNvSpPr>
              <a:spLocks/>
            </p:cNvSpPr>
            <p:nvPr>
              <p:custDataLst>
                <p:tags r:id="rId20"/>
              </p:custDataLst>
            </p:nvPr>
          </p:nvSpPr>
          <p:spPr bwMode="auto">
            <a:xfrm>
              <a:off x="3132138" y="1574800"/>
              <a:ext cx="266700" cy="317500"/>
            </a:xfrm>
            <a:custGeom>
              <a:avLst/>
              <a:gdLst>
                <a:gd name="T0" fmla="*/ 2147483647 w 354"/>
                <a:gd name="T1" fmla="*/ 2147483647 h 332"/>
                <a:gd name="T2" fmla="*/ 0 w 354"/>
                <a:gd name="T3" fmla="*/ 2147483647 h 332"/>
                <a:gd name="T4" fmla="*/ 2147483647 w 354"/>
                <a:gd name="T5" fmla="*/ 2147483647 h 332"/>
                <a:gd name="T6" fmla="*/ 2147483647 w 354"/>
                <a:gd name="T7" fmla="*/ 2147483647 h 332"/>
                <a:gd name="T8" fmla="*/ 2147483647 w 354"/>
                <a:gd name="T9" fmla="*/ 2147483647 h 332"/>
                <a:gd name="T10" fmla="*/ 2147483647 w 354"/>
                <a:gd name="T11" fmla="*/ 2147483647 h 332"/>
                <a:gd name="T12" fmla="*/ 2147483647 w 354"/>
                <a:gd name="T13" fmla="*/ 2147483647 h 332"/>
                <a:gd name="T14" fmla="*/ 2147483647 w 354"/>
                <a:gd name="T15" fmla="*/ 2147483647 h 332"/>
                <a:gd name="T16" fmla="*/ 2147483647 w 354"/>
                <a:gd name="T17" fmla="*/ 2147483647 h 332"/>
                <a:gd name="T18" fmla="*/ 2147483647 w 354"/>
                <a:gd name="T19" fmla="*/ 2147483647 h 332"/>
                <a:gd name="T20" fmla="*/ 2147483647 w 354"/>
                <a:gd name="T21" fmla="*/ 0 h 332"/>
                <a:gd name="T22" fmla="*/ 2147483647 w 354"/>
                <a:gd name="T23" fmla="*/ 2147483647 h 332"/>
                <a:gd name="T24" fmla="*/ 2147483647 w 354"/>
                <a:gd name="T25" fmla="*/ 2147483647 h 332"/>
                <a:gd name="T26" fmla="*/ 2147483647 w 354"/>
                <a:gd name="T27" fmla="*/ 2147483647 h 332"/>
                <a:gd name="T28" fmla="*/ 2147483647 w 354"/>
                <a:gd name="T29" fmla="*/ 2147483647 h 332"/>
                <a:gd name="T30" fmla="*/ 2147483647 w 354"/>
                <a:gd name="T31" fmla="*/ 2147483647 h 332"/>
                <a:gd name="T32" fmla="*/ 2147483647 w 354"/>
                <a:gd name="T33" fmla="*/ 2147483647 h 332"/>
                <a:gd name="T34" fmla="*/ 2147483647 w 354"/>
                <a:gd name="T35" fmla="*/ 2147483647 h 332"/>
                <a:gd name="T36" fmla="*/ 2147483647 w 354"/>
                <a:gd name="T37" fmla="*/ 2147483647 h 332"/>
                <a:gd name="T38" fmla="*/ 2147483647 w 354"/>
                <a:gd name="T39" fmla="*/ 2147483647 h 332"/>
                <a:gd name="T40" fmla="*/ 2147483647 w 354"/>
                <a:gd name="T41" fmla="*/ 2147483647 h 332"/>
                <a:gd name="T42" fmla="*/ 2147483647 w 354"/>
                <a:gd name="T43" fmla="*/ 2147483647 h 332"/>
                <a:gd name="T44" fmla="*/ 2147483647 w 354"/>
                <a:gd name="T45" fmla="*/ 2147483647 h 332"/>
                <a:gd name="T46" fmla="*/ 2147483647 w 354"/>
                <a:gd name="T47" fmla="*/ 2147483647 h 332"/>
                <a:gd name="T48" fmla="*/ 2147483647 w 354"/>
                <a:gd name="T49" fmla="*/ 2147483647 h 332"/>
                <a:gd name="T50" fmla="*/ 2147483647 w 354"/>
                <a:gd name="T51" fmla="*/ 2147483647 h 332"/>
                <a:gd name="T52" fmla="*/ 2147483647 w 354"/>
                <a:gd name="T53" fmla="*/ 2147483647 h 332"/>
                <a:gd name="T54" fmla="*/ 2147483647 w 354"/>
                <a:gd name="T55" fmla="*/ 2147483647 h 332"/>
                <a:gd name="T56" fmla="*/ 2147483647 w 354"/>
                <a:gd name="T57" fmla="*/ 2147483647 h 332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354"/>
                <a:gd name="T88" fmla="*/ 0 h 332"/>
                <a:gd name="T89" fmla="*/ 354 w 354"/>
                <a:gd name="T90" fmla="*/ 332 h 332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354" h="332">
                  <a:moveTo>
                    <a:pt x="42" y="332"/>
                  </a:moveTo>
                  <a:lnTo>
                    <a:pt x="0" y="297"/>
                  </a:lnTo>
                  <a:lnTo>
                    <a:pt x="4" y="209"/>
                  </a:lnTo>
                  <a:lnTo>
                    <a:pt x="52" y="129"/>
                  </a:lnTo>
                  <a:lnTo>
                    <a:pt x="15" y="90"/>
                  </a:lnTo>
                  <a:lnTo>
                    <a:pt x="51" y="71"/>
                  </a:lnTo>
                  <a:lnTo>
                    <a:pt x="69" y="29"/>
                  </a:lnTo>
                  <a:lnTo>
                    <a:pt x="115" y="9"/>
                  </a:lnTo>
                  <a:lnTo>
                    <a:pt x="175" y="6"/>
                  </a:lnTo>
                  <a:lnTo>
                    <a:pt x="238" y="3"/>
                  </a:lnTo>
                  <a:lnTo>
                    <a:pt x="265" y="0"/>
                  </a:lnTo>
                  <a:lnTo>
                    <a:pt x="294" y="26"/>
                  </a:lnTo>
                  <a:lnTo>
                    <a:pt x="280" y="53"/>
                  </a:lnTo>
                  <a:lnTo>
                    <a:pt x="304" y="65"/>
                  </a:lnTo>
                  <a:lnTo>
                    <a:pt x="306" y="86"/>
                  </a:lnTo>
                  <a:lnTo>
                    <a:pt x="298" y="120"/>
                  </a:lnTo>
                  <a:lnTo>
                    <a:pt x="351" y="141"/>
                  </a:lnTo>
                  <a:lnTo>
                    <a:pt x="354" y="158"/>
                  </a:lnTo>
                  <a:lnTo>
                    <a:pt x="346" y="207"/>
                  </a:lnTo>
                  <a:lnTo>
                    <a:pt x="315" y="221"/>
                  </a:lnTo>
                  <a:lnTo>
                    <a:pt x="291" y="275"/>
                  </a:lnTo>
                  <a:lnTo>
                    <a:pt x="303" y="314"/>
                  </a:lnTo>
                  <a:lnTo>
                    <a:pt x="270" y="302"/>
                  </a:lnTo>
                  <a:lnTo>
                    <a:pt x="213" y="275"/>
                  </a:lnTo>
                  <a:lnTo>
                    <a:pt x="174" y="267"/>
                  </a:lnTo>
                  <a:lnTo>
                    <a:pt x="163" y="276"/>
                  </a:lnTo>
                  <a:lnTo>
                    <a:pt x="142" y="327"/>
                  </a:lnTo>
                  <a:lnTo>
                    <a:pt x="126" y="330"/>
                  </a:lnTo>
                  <a:lnTo>
                    <a:pt x="99" y="309"/>
                  </a:lnTo>
                </a:path>
              </a:pathLst>
            </a:custGeom>
            <a:grpFill/>
            <a:ln w="9525">
              <a:solidFill>
                <a:schemeClr val="tx2">
                  <a:lumMod val="65000"/>
                </a:schemeClr>
              </a:solidFill>
              <a:round/>
              <a:headEnd/>
              <a:tailEnd/>
            </a:ln>
          </p:spPr>
          <p:txBody>
            <a:bodyPr lIns="91430" tIns="45715" rIns="91430" bIns="45715"/>
            <a:lstStyle/>
            <a:p>
              <a:endParaRPr lang="fr-FR"/>
            </a:p>
          </p:txBody>
        </p:sp>
        <p:sp>
          <p:nvSpPr>
            <p:cNvPr id="162" name="Freeform 24"/>
            <p:cNvSpPr>
              <a:spLocks/>
            </p:cNvSpPr>
            <p:nvPr>
              <p:custDataLst>
                <p:tags r:id="rId21"/>
              </p:custDataLst>
            </p:nvPr>
          </p:nvSpPr>
          <p:spPr bwMode="auto">
            <a:xfrm>
              <a:off x="3113088" y="1341438"/>
              <a:ext cx="268287" cy="258762"/>
            </a:xfrm>
            <a:custGeom>
              <a:avLst/>
              <a:gdLst>
                <a:gd name="T0" fmla="*/ 2147483647 w 356"/>
                <a:gd name="T1" fmla="*/ 2147483647 h 270"/>
                <a:gd name="T2" fmla="*/ 2147483647 w 356"/>
                <a:gd name="T3" fmla="*/ 2147483647 h 270"/>
                <a:gd name="T4" fmla="*/ 0 w 356"/>
                <a:gd name="T5" fmla="*/ 2147483647 h 270"/>
                <a:gd name="T6" fmla="*/ 2147483647 w 356"/>
                <a:gd name="T7" fmla="*/ 2147483647 h 270"/>
                <a:gd name="T8" fmla="*/ 2147483647 w 356"/>
                <a:gd name="T9" fmla="*/ 2147483647 h 270"/>
                <a:gd name="T10" fmla="*/ 2147483647 w 356"/>
                <a:gd name="T11" fmla="*/ 2147483647 h 270"/>
                <a:gd name="T12" fmla="*/ 2147483647 w 356"/>
                <a:gd name="T13" fmla="*/ 2147483647 h 270"/>
                <a:gd name="T14" fmla="*/ 2147483647 w 356"/>
                <a:gd name="T15" fmla="*/ 2147483647 h 270"/>
                <a:gd name="T16" fmla="*/ 2147483647 w 356"/>
                <a:gd name="T17" fmla="*/ 2147483647 h 270"/>
                <a:gd name="T18" fmla="*/ 2147483647 w 356"/>
                <a:gd name="T19" fmla="*/ 2147483647 h 270"/>
                <a:gd name="T20" fmla="*/ 2147483647 w 356"/>
                <a:gd name="T21" fmla="*/ 2147483647 h 270"/>
                <a:gd name="T22" fmla="*/ 2147483647 w 356"/>
                <a:gd name="T23" fmla="*/ 2147483647 h 270"/>
                <a:gd name="T24" fmla="*/ 2147483647 w 356"/>
                <a:gd name="T25" fmla="*/ 0 h 270"/>
                <a:gd name="T26" fmla="*/ 2147483647 w 356"/>
                <a:gd name="T27" fmla="*/ 2147483647 h 270"/>
                <a:gd name="T28" fmla="*/ 2147483647 w 356"/>
                <a:gd name="T29" fmla="*/ 2147483647 h 270"/>
                <a:gd name="T30" fmla="*/ 2147483647 w 356"/>
                <a:gd name="T31" fmla="*/ 2147483647 h 270"/>
                <a:gd name="T32" fmla="*/ 2147483647 w 356"/>
                <a:gd name="T33" fmla="*/ 2147483647 h 270"/>
                <a:gd name="T34" fmla="*/ 2147483647 w 356"/>
                <a:gd name="T35" fmla="*/ 2147483647 h 270"/>
                <a:gd name="T36" fmla="*/ 2147483647 w 356"/>
                <a:gd name="T37" fmla="*/ 2147483647 h 270"/>
                <a:gd name="T38" fmla="*/ 2147483647 w 356"/>
                <a:gd name="T39" fmla="*/ 2147483647 h 270"/>
                <a:gd name="T40" fmla="*/ 2147483647 w 356"/>
                <a:gd name="T41" fmla="*/ 2147483647 h 270"/>
                <a:gd name="T42" fmla="*/ 2147483647 w 356"/>
                <a:gd name="T43" fmla="*/ 2147483647 h 270"/>
                <a:gd name="T44" fmla="*/ 2147483647 w 356"/>
                <a:gd name="T45" fmla="*/ 2147483647 h 270"/>
                <a:gd name="T46" fmla="*/ 2147483647 w 356"/>
                <a:gd name="T47" fmla="*/ 2147483647 h 270"/>
                <a:gd name="T48" fmla="*/ 2147483647 w 356"/>
                <a:gd name="T49" fmla="*/ 2147483647 h 270"/>
                <a:gd name="T50" fmla="*/ 2147483647 w 356"/>
                <a:gd name="T51" fmla="*/ 2147483647 h 270"/>
                <a:gd name="T52" fmla="*/ 2147483647 w 356"/>
                <a:gd name="T53" fmla="*/ 2147483647 h 270"/>
                <a:gd name="T54" fmla="*/ 2147483647 w 356"/>
                <a:gd name="T55" fmla="*/ 2147483647 h 270"/>
                <a:gd name="T56" fmla="*/ 2147483647 w 356"/>
                <a:gd name="T57" fmla="*/ 2147483647 h 270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356"/>
                <a:gd name="T88" fmla="*/ 0 h 270"/>
                <a:gd name="T89" fmla="*/ 356 w 356"/>
                <a:gd name="T90" fmla="*/ 270 h 270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356" h="270">
                  <a:moveTo>
                    <a:pt x="92" y="268"/>
                  </a:moveTo>
                  <a:lnTo>
                    <a:pt x="101" y="238"/>
                  </a:lnTo>
                  <a:lnTo>
                    <a:pt x="0" y="220"/>
                  </a:lnTo>
                  <a:lnTo>
                    <a:pt x="65" y="171"/>
                  </a:lnTo>
                  <a:lnTo>
                    <a:pt x="120" y="165"/>
                  </a:lnTo>
                  <a:lnTo>
                    <a:pt x="116" y="126"/>
                  </a:lnTo>
                  <a:lnTo>
                    <a:pt x="98" y="81"/>
                  </a:lnTo>
                  <a:lnTo>
                    <a:pt x="140" y="108"/>
                  </a:lnTo>
                  <a:lnTo>
                    <a:pt x="198" y="81"/>
                  </a:lnTo>
                  <a:lnTo>
                    <a:pt x="188" y="57"/>
                  </a:lnTo>
                  <a:lnTo>
                    <a:pt x="192" y="15"/>
                  </a:lnTo>
                  <a:lnTo>
                    <a:pt x="266" y="15"/>
                  </a:lnTo>
                  <a:lnTo>
                    <a:pt x="284" y="0"/>
                  </a:lnTo>
                  <a:lnTo>
                    <a:pt x="303" y="9"/>
                  </a:lnTo>
                  <a:lnTo>
                    <a:pt x="299" y="30"/>
                  </a:lnTo>
                  <a:lnTo>
                    <a:pt x="324" y="43"/>
                  </a:lnTo>
                  <a:lnTo>
                    <a:pt x="297" y="76"/>
                  </a:lnTo>
                  <a:lnTo>
                    <a:pt x="306" y="97"/>
                  </a:lnTo>
                  <a:lnTo>
                    <a:pt x="335" y="99"/>
                  </a:lnTo>
                  <a:lnTo>
                    <a:pt x="341" y="112"/>
                  </a:lnTo>
                  <a:lnTo>
                    <a:pt x="336" y="144"/>
                  </a:lnTo>
                  <a:lnTo>
                    <a:pt x="356" y="175"/>
                  </a:lnTo>
                  <a:lnTo>
                    <a:pt x="347" y="211"/>
                  </a:lnTo>
                  <a:lnTo>
                    <a:pt x="333" y="234"/>
                  </a:lnTo>
                  <a:lnTo>
                    <a:pt x="296" y="243"/>
                  </a:lnTo>
                  <a:lnTo>
                    <a:pt x="227" y="250"/>
                  </a:lnTo>
                  <a:lnTo>
                    <a:pt x="152" y="253"/>
                  </a:lnTo>
                  <a:lnTo>
                    <a:pt x="102" y="270"/>
                  </a:lnTo>
                  <a:lnTo>
                    <a:pt x="92" y="268"/>
                  </a:lnTo>
                  <a:close/>
                </a:path>
              </a:pathLst>
            </a:custGeom>
            <a:grpFill/>
            <a:ln w="9525">
              <a:solidFill>
                <a:schemeClr val="tx2">
                  <a:lumMod val="65000"/>
                </a:schemeClr>
              </a:solidFill>
              <a:round/>
              <a:headEnd/>
              <a:tailEnd/>
            </a:ln>
          </p:spPr>
          <p:txBody>
            <a:bodyPr lIns="91430" tIns="45715" rIns="91430" bIns="45715"/>
            <a:lstStyle/>
            <a:p>
              <a:endParaRPr lang="fr-FR"/>
            </a:p>
          </p:txBody>
        </p:sp>
        <p:sp>
          <p:nvSpPr>
            <p:cNvPr id="163" name="Freeform 25"/>
            <p:cNvSpPr>
              <a:spLocks/>
            </p:cNvSpPr>
            <p:nvPr>
              <p:custDataLst>
                <p:tags r:id="rId22"/>
              </p:custDataLst>
            </p:nvPr>
          </p:nvSpPr>
          <p:spPr bwMode="auto">
            <a:xfrm>
              <a:off x="3038475" y="2205038"/>
              <a:ext cx="474663" cy="320675"/>
            </a:xfrm>
            <a:custGeom>
              <a:avLst/>
              <a:gdLst>
                <a:gd name="T0" fmla="*/ 0 w 631"/>
                <a:gd name="T1" fmla="*/ 2147483647 h 336"/>
                <a:gd name="T2" fmla="*/ 2147483647 w 631"/>
                <a:gd name="T3" fmla="*/ 2147483647 h 336"/>
                <a:gd name="T4" fmla="*/ 2147483647 w 631"/>
                <a:gd name="T5" fmla="*/ 2147483647 h 336"/>
                <a:gd name="T6" fmla="*/ 2147483647 w 631"/>
                <a:gd name="T7" fmla="*/ 2147483647 h 336"/>
                <a:gd name="T8" fmla="*/ 2147483647 w 631"/>
                <a:gd name="T9" fmla="*/ 2147483647 h 336"/>
                <a:gd name="T10" fmla="*/ 2147483647 w 631"/>
                <a:gd name="T11" fmla="*/ 2147483647 h 336"/>
                <a:gd name="T12" fmla="*/ 2147483647 w 631"/>
                <a:gd name="T13" fmla="*/ 2147483647 h 336"/>
                <a:gd name="T14" fmla="*/ 2147483647 w 631"/>
                <a:gd name="T15" fmla="*/ 2147483647 h 336"/>
                <a:gd name="T16" fmla="*/ 2147483647 w 631"/>
                <a:gd name="T17" fmla="*/ 2147483647 h 336"/>
                <a:gd name="T18" fmla="*/ 2147483647 w 631"/>
                <a:gd name="T19" fmla="*/ 2147483647 h 336"/>
                <a:gd name="T20" fmla="*/ 2147483647 w 631"/>
                <a:gd name="T21" fmla="*/ 2147483647 h 336"/>
                <a:gd name="T22" fmla="*/ 2147483647 w 631"/>
                <a:gd name="T23" fmla="*/ 2147483647 h 336"/>
                <a:gd name="T24" fmla="*/ 2147483647 w 631"/>
                <a:gd name="T25" fmla="*/ 2147483647 h 336"/>
                <a:gd name="T26" fmla="*/ 2147483647 w 631"/>
                <a:gd name="T27" fmla="*/ 2147483647 h 336"/>
                <a:gd name="T28" fmla="*/ 2147483647 w 631"/>
                <a:gd name="T29" fmla="*/ 2147483647 h 336"/>
                <a:gd name="T30" fmla="*/ 2147483647 w 631"/>
                <a:gd name="T31" fmla="*/ 2147483647 h 336"/>
                <a:gd name="T32" fmla="*/ 2147483647 w 631"/>
                <a:gd name="T33" fmla="*/ 2147483647 h 336"/>
                <a:gd name="T34" fmla="*/ 2147483647 w 631"/>
                <a:gd name="T35" fmla="*/ 2147483647 h 336"/>
                <a:gd name="T36" fmla="*/ 2147483647 w 631"/>
                <a:gd name="T37" fmla="*/ 2147483647 h 336"/>
                <a:gd name="T38" fmla="*/ 2147483647 w 631"/>
                <a:gd name="T39" fmla="*/ 2147483647 h 336"/>
                <a:gd name="T40" fmla="*/ 2147483647 w 631"/>
                <a:gd name="T41" fmla="*/ 2147483647 h 336"/>
                <a:gd name="T42" fmla="*/ 2147483647 w 631"/>
                <a:gd name="T43" fmla="*/ 2147483647 h 336"/>
                <a:gd name="T44" fmla="*/ 2147483647 w 631"/>
                <a:gd name="T45" fmla="*/ 2147483647 h 336"/>
                <a:gd name="T46" fmla="*/ 2147483647 w 631"/>
                <a:gd name="T47" fmla="*/ 2147483647 h 336"/>
                <a:gd name="T48" fmla="*/ 2147483647 w 631"/>
                <a:gd name="T49" fmla="*/ 2147483647 h 336"/>
                <a:gd name="T50" fmla="*/ 2147483647 w 631"/>
                <a:gd name="T51" fmla="*/ 2147483647 h 336"/>
                <a:gd name="T52" fmla="*/ 2147483647 w 631"/>
                <a:gd name="T53" fmla="*/ 2147483647 h 336"/>
                <a:gd name="T54" fmla="*/ 2147483647 w 631"/>
                <a:gd name="T55" fmla="*/ 2147483647 h 336"/>
                <a:gd name="T56" fmla="*/ 2147483647 w 631"/>
                <a:gd name="T57" fmla="*/ 2147483647 h 336"/>
                <a:gd name="T58" fmla="*/ 2147483647 w 631"/>
                <a:gd name="T59" fmla="*/ 2147483647 h 336"/>
                <a:gd name="T60" fmla="*/ 2147483647 w 631"/>
                <a:gd name="T61" fmla="*/ 2147483647 h 336"/>
                <a:gd name="T62" fmla="*/ 2147483647 w 631"/>
                <a:gd name="T63" fmla="*/ 2147483647 h 336"/>
                <a:gd name="T64" fmla="*/ 2147483647 w 631"/>
                <a:gd name="T65" fmla="*/ 2147483647 h 336"/>
                <a:gd name="T66" fmla="*/ 2147483647 w 631"/>
                <a:gd name="T67" fmla="*/ 2147483647 h 336"/>
                <a:gd name="T68" fmla="*/ 2147483647 w 631"/>
                <a:gd name="T69" fmla="*/ 2147483647 h 336"/>
                <a:gd name="T70" fmla="*/ 2147483647 w 631"/>
                <a:gd name="T71" fmla="*/ 2147483647 h 336"/>
                <a:gd name="T72" fmla="*/ 2147483647 w 631"/>
                <a:gd name="T73" fmla="*/ 2147483647 h 336"/>
                <a:gd name="T74" fmla="*/ 2147483647 w 631"/>
                <a:gd name="T75" fmla="*/ 0 h 336"/>
                <a:gd name="T76" fmla="*/ 2147483647 w 631"/>
                <a:gd name="T77" fmla="*/ 2147483647 h 336"/>
                <a:gd name="T78" fmla="*/ 2147483647 w 631"/>
                <a:gd name="T79" fmla="*/ 2147483647 h 336"/>
                <a:gd name="T80" fmla="*/ 2147483647 w 631"/>
                <a:gd name="T81" fmla="*/ 2147483647 h 336"/>
                <a:gd name="T82" fmla="*/ 2147483647 w 631"/>
                <a:gd name="T83" fmla="*/ 2147483647 h 336"/>
                <a:gd name="T84" fmla="*/ 2147483647 w 631"/>
                <a:gd name="T85" fmla="*/ 2147483647 h 336"/>
                <a:gd name="T86" fmla="*/ 2147483647 w 631"/>
                <a:gd name="T87" fmla="*/ 2147483647 h 336"/>
                <a:gd name="T88" fmla="*/ 2147483647 w 631"/>
                <a:gd name="T89" fmla="*/ 2147483647 h 336"/>
                <a:gd name="T90" fmla="*/ 2147483647 w 631"/>
                <a:gd name="T91" fmla="*/ 2147483647 h 336"/>
                <a:gd name="T92" fmla="*/ 2147483647 w 631"/>
                <a:gd name="T93" fmla="*/ 2147483647 h 336"/>
                <a:gd name="T94" fmla="*/ 0 w 631"/>
                <a:gd name="T95" fmla="*/ 2147483647 h 3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631"/>
                <a:gd name="T145" fmla="*/ 0 h 336"/>
                <a:gd name="T146" fmla="*/ 631 w 631"/>
                <a:gd name="T147" fmla="*/ 336 h 3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631" h="336">
                  <a:moveTo>
                    <a:pt x="0" y="177"/>
                  </a:moveTo>
                  <a:lnTo>
                    <a:pt x="46" y="159"/>
                  </a:lnTo>
                  <a:lnTo>
                    <a:pt x="36" y="176"/>
                  </a:lnTo>
                  <a:lnTo>
                    <a:pt x="19" y="189"/>
                  </a:lnTo>
                  <a:lnTo>
                    <a:pt x="61" y="219"/>
                  </a:lnTo>
                  <a:lnTo>
                    <a:pt x="43" y="243"/>
                  </a:lnTo>
                  <a:lnTo>
                    <a:pt x="63" y="252"/>
                  </a:lnTo>
                  <a:lnTo>
                    <a:pt x="87" y="263"/>
                  </a:lnTo>
                  <a:lnTo>
                    <a:pt x="114" y="299"/>
                  </a:lnTo>
                  <a:lnTo>
                    <a:pt x="151" y="299"/>
                  </a:lnTo>
                  <a:lnTo>
                    <a:pt x="162" y="329"/>
                  </a:lnTo>
                  <a:lnTo>
                    <a:pt x="262" y="333"/>
                  </a:lnTo>
                  <a:lnTo>
                    <a:pt x="297" y="329"/>
                  </a:lnTo>
                  <a:lnTo>
                    <a:pt x="318" y="333"/>
                  </a:lnTo>
                  <a:lnTo>
                    <a:pt x="340" y="336"/>
                  </a:lnTo>
                  <a:lnTo>
                    <a:pt x="355" y="311"/>
                  </a:lnTo>
                  <a:lnTo>
                    <a:pt x="405" y="332"/>
                  </a:lnTo>
                  <a:lnTo>
                    <a:pt x="414" y="311"/>
                  </a:lnTo>
                  <a:lnTo>
                    <a:pt x="429" y="291"/>
                  </a:lnTo>
                  <a:lnTo>
                    <a:pt x="502" y="284"/>
                  </a:lnTo>
                  <a:lnTo>
                    <a:pt x="541" y="267"/>
                  </a:lnTo>
                  <a:lnTo>
                    <a:pt x="574" y="272"/>
                  </a:lnTo>
                  <a:lnTo>
                    <a:pt x="598" y="285"/>
                  </a:lnTo>
                  <a:lnTo>
                    <a:pt x="616" y="269"/>
                  </a:lnTo>
                  <a:lnTo>
                    <a:pt x="627" y="249"/>
                  </a:lnTo>
                  <a:lnTo>
                    <a:pt x="631" y="207"/>
                  </a:lnTo>
                  <a:lnTo>
                    <a:pt x="613" y="192"/>
                  </a:lnTo>
                  <a:lnTo>
                    <a:pt x="588" y="179"/>
                  </a:lnTo>
                  <a:lnTo>
                    <a:pt x="523" y="131"/>
                  </a:lnTo>
                  <a:lnTo>
                    <a:pt x="511" y="110"/>
                  </a:lnTo>
                  <a:lnTo>
                    <a:pt x="535" y="89"/>
                  </a:lnTo>
                  <a:lnTo>
                    <a:pt x="519" y="75"/>
                  </a:lnTo>
                  <a:lnTo>
                    <a:pt x="508" y="87"/>
                  </a:lnTo>
                  <a:lnTo>
                    <a:pt x="441" y="77"/>
                  </a:lnTo>
                  <a:lnTo>
                    <a:pt x="415" y="60"/>
                  </a:lnTo>
                  <a:lnTo>
                    <a:pt x="436" y="38"/>
                  </a:lnTo>
                  <a:lnTo>
                    <a:pt x="429" y="17"/>
                  </a:lnTo>
                  <a:lnTo>
                    <a:pt x="415" y="0"/>
                  </a:lnTo>
                  <a:lnTo>
                    <a:pt x="382" y="15"/>
                  </a:lnTo>
                  <a:lnTo>
                    <a:pt x="351" y="35"/>
                  </a:lnTo>
                  <a:lnTo>
                    <a:pt x="322" y="53"/>
                  </a:lnTo>
                  <a:lnTo>
                    <a:pt x="277" y="57"/>
                  </a:lnTo>
                  <a:lnTo>
                    <a:pt x="249" y="78"/>
                  </a:lnTo>
                  <a:lnTo>
                    <a:pt x="226" y="93"/>
                  </a:lnTo>
                  <a:lnTo>
                    <a:pt x="135" y="47"/>
                  </a:lnTo>
                  <a:lnTo>
                    <a:pt x="121" y="66"/>
                  </a:lnTo>
                  <a:lnTo>
                    <a:pt x="118" y="101"/>
                  </a:lnTo>
                  <a:lnTo>
                    <a:pt x="0" y="177"/>
                  </a:lnTo>
                  <a:close/>
                </a:path>
              </a:pathLst>
            </a:custGeom>
            <a:grpFill/>
            <a:ln w="9525">
              <a:solidFill>
                <a:schemeClr val="tx2">
                  <a:lumMod val="65000"/>
                </a:schemeClr>
              </a:solidFill>
              <a:round/>
              <a:headEnd/>
              <a:tailEnd/>
            </a:ln>
          </p:spPr>
          <p:txBody>
            <a:bodyPr lIns="91430" tIns="45715" rIns="91430" bIns="45715"/>
            <a:lstStyle/>
            <a:p>
              <a:endParaRPr lang="fr-FR"/>
            </a:p>
          </p:txBody>
        </p:sp>
        <p:sp>
          <p:nvSpPr>
            <p:cNvPr id="164" name="Oval 28"/>
            <p:cNvSpPr>
              <a:spLocks noChangeArrowheads="1"/>
            </p:cNvSpPr>
            <p:nvPr/>
          </p:nvSpPr>
          <p:spPr bwMode="auto">
            <a:xfrm>
              <a:off x="3570288" y="1200150"/>
              <a:ext cx="33337" cy="41275"/>
            </a:xfrm>
            <a:prstGeom prst="ellipse">
              <a:avLst/>
            </a:prstGeom>
            <a:grpFill/>
            <a:ln w="9525">
              <a:solidFill>
                <a:schemeClr val="tx2">
                  <a:lumMod val="65000"/>
                </a:schemeClr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fr-FR" sz="600">
                <a:solidFill>
                  <a:schemeClr val="bg1"/>
                </a:solidFill>
                <a:latin typeface="EYInterstate Light"/>
              </a:endParaRPr>
            </a:p>
          </p:txBody>
        </p:sp>
        <p:sp>
          <p:nvSpPr>
            <p:cNvPr id="165" name="Oval 30"/>
            <p:cNvSpPr>
              <a:spLocks noChangeArrowheads="1"/>
            </p:cNvSpPr>
            <p:nvPr/>
          </p:nvSpPr>
          <p:spPr bwMode="auto">
            <a:xfrm>
              <a:off x="3714750" y="1425575"/>
              <a:ext cx="33338" cy="41275"/>
            </a:xfrm>
            <a:prstGeom prst="ellipse">
              <a:avLst/>
            </a:prstGeom>
            <a:grpFill/>
            <a:ln w="9525">
              <a:solidFill>
                <a:schemeClr val="tx2">
                  <a:lumMod val="65000"/>
                </a:schemeClr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fr-FR" sz="600">
                <a:solidFill>
                  <a:schemeClr val="bg1"/>
                </a:solidFill>
                <a:latin typeface="EYInterstate Light"/>
              </a:endParaRPr>
            </a:p>
          </p:txBody>
        </p:sp>
        <p:sp>
          <p:nvSpPr>
            <p:cNvPr id="166" name="Oval 31"/>
            <p:cNvSpPr>
              <a:spLocks noChangeArrowheads="1"/>
            </p:cNvSpPr>
            <p:nvPr/>
          </p:nvSpPr>
          <p:spPr bwMode="auto">
            <a:xfrm>
              <a:off x="3846513" y="1519238"/>
              <a:ext cx="33337" cy="41275"/>
            </a:xfrm>
            <a:prstGeom prst="ellipse">
              <a:avLst/>
            </a:prstGeom>
            <a:grpFill/>
            <a:ln w="9525">
              <a:solidFill>
                <a:schemeClr val="tx2">
                  <a:lumMod val="65000"/>
                </a:schemeClr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/>
              <a:endParaRPr lang="fr-FR" sz="600">
                <a:solidFill>
                  <a:schemeClr val="bg1"/>
                </a:solidFill>
                <a:latin typeface="EYInterstate Light"/>
              </a:endParaRPr>
            </a:p>
          </p:txBody>
        </p:sp>
        <p:sp>
          <p:nvSpPr>
            <p:cNvPr id="167" name="Oval 32"/>
            <p:cNvSpPr>
              <a:spLocks noChangeArrowheads="1"/>
            </p:cNvSpPr>
            <p:nvPr/>
          </p:nvSpPr>
          <p:spPr bwMode="auto">
            <a:xfrm>
              <a:off x="3694113" y="1557338"/>
              <a:ext cx="33337" cy="41275"/>
            </a:xfrm>
            <a:prstGeom prst="ellipse">
              <a:avLst/>
            </a:prstGeom>
            <a:grpFill/>
            <a:ln w="9525">
              <a:solidFill>
                <a:schemeClr val="tx2">
                  <a:lumMod val="65000"/>
                </a:schemeClr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fr-FR" sz="600">
                <a:solidFill>
                  <a:schemeClr val="bg1"/>
                </a:solidFill>
                <a:latin typeface="EYInterstate Light"/>
              </a:endParaRPr>
            </a:p>
          </p:txBody>
        </p:sp>
        <p:sp>
          <p:nvSpPr>
            <p:cNvPr id="168" name="Oval 34"/>
            <p:cNvSpPr>
              <a:spLocks noChangeArrowheads="1"/>
            </p:cNvSpPr>
            <p:nvPr/>
          </p:nvSpPr>
          <p:spPr bwMode="auto">
            <a:xfrm>
              <a:off x="3803650" y="1774825"/>
              <a:ext cx="33338" cy="41275"/>
            </a:xfrm>
            <a:prstGeom prst="ellipse">
              <a:avLst/>
            </a:prstGeom>
            <a:grpFill/>
            <a:ln w="9525">
              <a:solidFill>
                <a:schemeClr val="tx2">
                  <a:lumMod val="65000"/>
                </a:schemeClr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fr-FR" sz="600">
                <a:solidFill>
                  <a:schemeClr val="bg1"/>
                </a:solidFill>
                <a:latin typeface="EYInterstate Light"/>
              </a:endParaRPr>
            </a:p>
          </p:txBody>
        </p:sp>
        <p:sp>
          <p:nvSpPr>
            <p:cNvPr id="169" name="Oval 36"/>
            <p:cNvSpPr>
              <a:spLocks noChangeArrowheads="1"/>
            </p:cNvSpPr>
            <p:nvPr/>
          </p:nvSpPr>
          <p:spPr bwMode="auto">
            <a:xfrm>
              <a:off x="3868738" y="1808163"/>
              <a:ext cx="33337" cy="42862"/>
            </a:xfrm>
            <a:prstGeom prst="ellipse">
              <a:avLst/>
            </a:prstGeom>
            <a:grpFill/>
            <a:ln w="9525">
              <a:solidFill>
                <a:schemeClr val="tx2">
                  <a:lumMod val="65000"/>
                </a:schemeClr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fr-FR" sz="600">
                <a:solidFill>
                  <a:schemeClr val="bg1"/>
                </a:solidFill>
                <a:latin typeface="EYInterstate Light"/>
              </a:endParaRPr>
            </a:p>
          </p:txBody>
        </p:sp>
        <p:sp>
          <p:nvSpPr>
            <p:cNvPr id="170" name="Oval 38"/>
            <p:cNvSpPr>
              <a:spLocks noChangeArrowheads="1"/>
            </p:cNvSpPr>
            <p:nvPr/>
          </p:nvSpPr>
          <p:spPr bwMode="auto">
            <a:xfrm>
              <a:off x="3930650" y="1927225"/>
              <a:ext cx="33338" cy="42863"/>
            </a:xfrm>
            <a:prstGeom prst="ellipse">
              <a:avLst/>
            </a:prstGeom>
            <a:grpFill/>
            <a:ln w="9525">
              <a:solidFill>
                <a:schemeClr val="tx2">
                  <a:lumMod val="65000"/>
                </a:schemeClr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fr-FR" sz="600">
                <a:solidFill>
                  <a:schemeClr val="bg1"/>
                </a:solidFill>
                <a:latin typeface="EYInterstate Light"/>
              </a:endParaRPr>
            </a:p>
          </p:txBody>
        </p:sp>
        <p:sp>
          <p:nvSpPr>
            <p:cNvPr id="171" name="Oval 40"/>
            <p:cNvSpPr>
              <a:spLocks noChangeArrowheads="1"/>
            </p:cNvSpPr>
            <p:nvPr/>
          </p:nvSpPr>
          <p:spPr bwMode="auto">
            <a:xfrm>
              <a:off x="3656013" y="1846263"/>
              <a:ext cx="31750" cy="41275"/>
            </a:xfrm>
            <a:prstGeom prst="ellipse">
              <a:avLst/>
            </a:prstGeom>
            <a:grpFill/>
            <a:ln w="9525">
              <a:solidFill>
                <a:schemeClr val="tx2">
                  <a:lumMod val="65000"/>
                </a:schemeClr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fr-FR" sz="600">
                <a:solidFill>
                  <a:schemeClr val="bg1"/>
                </a:solidFill>
                <a:latin typeface="EYInterstate Light"/>
              </a:endParaRPr>
            </a:p>
          </p:txBody>
        </p:sp>
        <p:sp>
          <p:nvSpPr>
            <p:cNvPr id="172" name="Oval 42"/>
            <p:cNvSpPr>
              <a:spLocks noChangeArrowheads="1"/>
            </p:cNvSpPr>
            <p:nvPr/>
          </p:nvSpPr>
          <p:spPr bwMode="auto">
            <a:xfrm>
              <a:off x="3425825" y="1689100"/>
              <a:ext cx="31750" cy="41275"/>
            </a:xfrm>
            <a:prstGeom prst="ellipse">
              <a:avLst/>
            </a:prstGeom>
            <a:grpFill/>
            <a:ln w="9525">
              <a:solidFill>
                <a:schemeClr val="tx2">
                  <a:lumMod val="65000"/>
                </a:schemeClr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fr-FR" sz="600">
                <a:solidFill>
                  <a:schemeClr val="bg1"/>
                </a:solidFill>
                <a:latin typeface="EYInterstate Light"/>
              </a:endParaRPr>
            </a:p>
          </p:txBody>
        </p:sp>
        <p:sp>
          <p:nvSpPr>
            <p:cNvPr id="173" name="Oval 44"/>
            <p:cNvSpPr>
              <a:spLocks noChangeArrowheads="1"/>
            </p:cNvSpPr>
            <p:nvPr/>
          </p:nvSpPr>
          <p:spPr bwMode="auto">
            <a:xfrm>
              <a:off x="3259138" y="1635125"/>
              <a:ext cx="33337" cy="41275"/>
            </a:xfrm>
            <a:prstGeom prst="ellipse">
              <a:avLst/>
            </a:prstGeom>
            <a:grpFill/>
            <a:ln w="9525">
              <a:solidFill>
                <a:schemeClr val="tx2">
                  <a:lumMod val="65000"/>
                </a:schemeClr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/>
              <a:endParaRPr lang="fr-FR" sz="600">
                <a:solidFill>
                  <a:schemeClr val="bg1"/>
                </a:solidFill>
                <a:latin typeface="EYInterstate Light"/>
              </a:endParaRPr>
            </a:p>
          </p:txBody>
        </p:sp>
        <p:sp>
          <p:nvSpPr>
            <p:cNvPr id="174" name="Oval 46"/>
            <p:cNvSpPr>
              <a:spLocks noChangeArrowheads="1"/>
            </p:cNvSpPr>
            <p:nvPr/>
          </p:nvSpPr>
          <p:spPr bwMode="auto">
            <a:xfrm>
              <a:off x="3302000" y="2039938"/>
              <a:ext cx="33338" cy="41275"/>
            </a:xfrm>
            <a:prstGeom prst="ellipse">
              <a:avLst/>
            </a:prstGeom>
            <a:grpFill/>
            <a:ln w="9525">
              <a:solidFill>
                <a:schemeClr val="tx2">
                  <a:lumMod val="65000"/>
                </a:schemeClr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/>
              <a:endParaRPr lang="fr-FR" sz="600">
                <a:solidFill>
                  <a:schemeClr val="bg1"/>
                </a:solidFill>
                <a:latin typeface="EYInterstate Light"/>
              </a:endParaRPr>
            </a:p>
          </p:txBody>
        </p:sp>
        <p:sp>
          <p:nvSpPr>
            <p:cNvPr id="175" name="Oval 48"/>
            <p:cNvSpPr>
              <a:spLocks noChangeArrowheads="1"/>
            </p:cNvSpPr>
            <p:nvPr/>
          </p:nvSpPr>
          <p:spPr bwMode="auto">
            <a:xfrm>
              <a:off x="3494088" y="2106613"/>
              <a:ext cx="33337" cy="41275"/>
            </a:xfrm>
            <a:prstGeom prst="ellipse">
              <a:avLst/>
            </a:prstGeom>
            <a:grpFill/>
            <a:ln w="9525">
              <a:solidFill>
                <a:schemeClr val="tx2">
                  <a:lumMod val="65000"/>
                </a:schemeClr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/>
              <a:endParaRPr lang="fr-FR" sz="600">
                <a:solidFill>
                  <a:schemeClr val="bg1"/>
                </a:solidFill>
                <a:latin typeface="EYInterstate Light"/>
              </a:endParaRPr>
            </a:p>
          </p:txBody>
        </p:sp>
        <p:sp>
          <p:nvSpPr>
            <p:cNvPr id="176" name="Oval 50"/>
            <p:cNvSpPr>
              <a:spLocks noChangeArrowheads="1"/>
            </p:cNvSpPr>
            <p:nvPr/>
          </p:nvSpPr>
          <p:spPr bwMode="auto">
            <a:xfrm>
              <a:off x="3852863" y="2216150"/>
              <a:ext cx="33337" cy="42863"/>
            </a:xfrm>
            <a:prstGeom prst="ellipse">
              <a:avLst/>
            </a:prstGeom>
            <a:grpFill/>
            <a:ln w="9525">
              <a:solidFill>
                <a:schemeClr val="tx2">
                  <a:lumMod val="65000"/>
                </a:schemeClr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fr-FR" sz="600">
                <a:solidFill>
                  <a:schemeClr val="bg1"/>
                </a:solidFill>
                <a:latin typeface="EYInterstate Light"/>
              </a:endParaRPr>
            </a:p>
          </p:txBody>
        </p:sp>
        <p:sp>
          <p:nvSpPr>
            <p:cNvPr id="177" name="Oval 52"/>
            <p:cNvSpPr>
              <a:spLocks noChangeArrowheads="1"/>
            </p:cNvSpPr>
            <p:nvPr/>
          </p:nvSpPr>
          <p:spPr bwMode="auto">
            <a:xfrm>
              <a:off x="3311525" y="2346325"/>
              <a:ext cx="33338" cy="42863"/>
            </a:xfrm>
            <a:prstGeom prst="ellipse">
              <a:avLst/>
            </a:prstGeom>
            <a:grpFill/>
            <a:ln w="9525">
              <a:solidFill>
                <a:schemeClr val="tx2">
                  <a:lumMod val="65000"/>
                </a:schemeClr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fr-FR" sz="600">
                <a:solidFill>
                  <a:schemeClr val="bg1"/>
                </a:solidFill>
                <a:latin typeface="EYInterstate Light"/>
              </a:endParaRPr>
            </a:p>
          </p:txBody>
        </p:sp>
        <p:sp>
          <p:nvSpPr>
            <p:cNvPr id="178" name="Oval 54"/>
            <p:cNvSpPr>
              <a:spLocks noChangeArrowheads="1"/>
            </p:cNvSpPr>
            <p:nvPr/>
          </p:nvSpPr>
          <p:spPr bwMode="auto">
            <a:xfrm>
              <a:off x="3649663" y="2571750"/>
              <a:ext cx="33337" cy="41275"/>
            </a:xfrm>
            <a:prstGeom prst="ellipse">
              <a:avLst/>
            </a:prstGeom>
            <a:grpFill/>
            <a:ln w="9525">
              <a:solidFill>
                <a:schemeClr val="tx2">
                  <a:lumMod val="65000"/>
                </a:schemeClr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fr-FR" sz="600">
                <a:solidFill>
                  <a:schemeClr val="bg1"/>
                </a:solidFill>
                <a:latin typeface="EYInterstate Light"/>
              </a:endParaRPr>
            </a:p>
          </p:txBody>
        </p:sp>
        <p:sp>
          <p:nvSpPr>
            <p:cNvPr id="179" name="Oval 56"/>
            <p:cNvSpPr>
              <a:spLocks noChangeArrowheads="1"/>
            </p:cNvSpPr>
            <p:nvPr/>
          </p:nvSpPr>
          <p:spPr bwMode="auto">
            <a:xfrm>
              <a:off x="3321050" y="2651125"/>
              <a:ext cx="33338" cy="41275"/>
            </a:xfrm>
            <a:prstGeom prst="ellipse">
              <a:avLst/>
            </a:prstGeom>
            <a:grpFill/>
            <a:ln w="9525">
              <a:solidFill>
                <a:schemeClr val="tx2">
                  <a:lumMod val="65000"/>
                </a:schemeClr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fr-FR" sz="600">
                <a:solidFill>
                  <a:schemeClr val="bg1"/>
                </a:solidFill>
                <a:latin typeface="EYInterstate Light"/>
              </a:endParaRPr>
            </a:p>
          </p:txBody>
        </p:sp>
        <p:sp>
          <p:nvSpPr>
            <p:cNvPr id="180" name="Oval 58"/>
            <p:cNvSpPr>
              <a:spLocks noChangeArrowheads="1"/>
            </p:cNvSpPr>
            <p:nvPr/>
          </p:nvSpPr>
          <p:spPr bwMode="auto">
            <a:xfrm>
              <a:off x="3779838" y="2778125"/>
              <a:ext cx="33337" cy="42863"/>
            </a:xfrm>
            <a:prstGeom prst="ellipse">
              <a:avLst/>
            </a:prstGeom>
            <a:grpFill/>
            <a:ln w="9525">
              <a:solidFill>
                <a:schemeClr val="tx2">
                  <a:lumMod val="65000"/>
                </a:schemeClr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fr-FR" sz="600">
                <a:solidFill>
                  <a:schemeClr val="bg1"/>
                </a:solidFill>
                <a:latin typeface="EYInterstate Light"/>
              </a:endParaRPr>
            </a:p>
          </p:txBody>
        </p:sp>
        <p:sp>
          <p:nvSpPr>
            <p:cNvPr id="181" name="Oval 61"/>
            <p:cNvSpPr>
              <a:spLocks noChangeArrowheads="1"/>
            </p:cNvSpPr>
            <p:nvPr/>
          </p:nvSpPr>
          <p:spPr bwMode="auto">
            <a:xfrm>
              <a:off x="3743325" y="2892425"/>
              <a:ext cx="31750" cy="41275"/>
            </a:xfrm>
            <a:prstGeom prst="ellipse">
              <a:avLst/>
            </a:prstGeom>
            <a:grpFill/>
            <a:ln w="9525">
              <a:solidFill>
                <a:schemeClr val="tx2">
                  <a:lumMod val="65000"/>
                </a:schemeClr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fr-FR" sz="600">
                <a:solidFill>
                  <a:schemeClr val="bg1"/>
                </a:solidFill>
                <a:latin typeface="EYInterstate Light"/>
              </a:endParaRPr>
            </a:p>
          </p:txBody>
        </p:sp>
        <p:sp>
          <p:nvSpPr>
            <p:cNvPr id="182" name="Oval 63"/>
            <p:cNvSpPr>
              <a:spLocks noChangeArrowheads="1"/>
            </p:cNvSpPr>
            <p:nvPr/>
          </p:nvSpPr>
          <p:spPr bwMode="auto">
            <a:xfrm>
              <a:off x="3044825" y="2524125"/>
              <a:ext cx="33338" cy="41275"/>
            </a:xfrm>
            <a:prstGeom prst="ellipse">
              <a:avLst/>
            </a:prstGeom>
            <a:grpFill/>
            <a:ln w="9525">
              <a:solidFill>
                <a:schemeClr val="tx2">
                  <a:lumMod val="65000"/>
                </a:schemeClr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fr-FR" sz="600">
                <a:solidFill>
                  <a:schemeClr val="bg1"/>
                </a:solidFill>
                <a:latin typeface="EYInterstate Light"/>
              </a:endParaRPr>
            </a:p>
          </p:txBody>
        </p:sp>
        <p:sp>
          <p:nvSpPr>
            <p:cNvPr id="183" name="Oval 65"/>
            <p:cNvSpPr>
              <a:spLocks noChangeArrowheads="1"/>
            </p:cNvSpPr>
            <p:nvPr/>
          </p:nvSpPr>
          <p:spPr bwMode="auto">
            <a:xfrm>
              <a:off x="3279775" y="1493838"/>
              <a:ext cx="31750" cy="41275"/>
            </a:xfrm>
            <a:prstGeom prst="ellipse">
              <a:avLst/>
            </a:prstGeom>
            <a:grpFill/>
            <a:ln w="9525">
              <a:solidFill>
                <a:schemeClr val="tx2">
                  <a:lumMod val="65000"/>
                </a:schemeClr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/>
              <a:endParaRPr lang="fr-FR" sz="600">
                <a:solidFill>
                  <a:schemeClr val="bg1"/>
                </a:solidFill>
                <a:latin typeface="EYInterstate Light"/>
              </a:endParaRPr>
            </a:p>
          </p:txBody>
        </p:sp>
        <p:sp>
          <p:nvSpPr>
            <p:cNvPr id="184" name="Oval 67"/>
            <p:cNvSpPr>
              <a:spLocks noChangeArrowheads="1"/>
            </p:cNvSpPr>
            <p:nvPr/>
          </p:nvSpPr>
          <p:spPr bwMode="auto">
            <a:xfrm>
              <a:off x="3397250" y="1409700"/>
              <a:ext cx="33338" cy="41275"/>
            </a:xfrm>
            <a:prstGeom prst="ellipse">
              <a:avLst/>
            </a:prstGeom>
            <a:grpFill/>
            <a:ln w="9525">
              <a:solidFill>
                <a:schemeClr val="tx2">
                  <a:lumMod val="65000"/>
                </a:schemeClr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/>
              <a:endParaRPr lang="fr-FR" sz="600">
                <a:solidFill>
                  <a:schemeClr val="bg1"/>
                </a:solidFill>
                <a:latin typeface="EYInterstate Light"/>
              </a:endParaRPr>
            </a:p>
          </p:txBody>
        </p:sp>
        <p:sp>
          <p:nvSpPr>
            <p:cNvPr id="185" name="Rectangle 15"/>
            <p:cNvSpPr>
              <a:spLocks noChangeArrowheads="1"/>
            </p:cNvSpPr>
            <p:nvPr>
              <p:custDataLst>
                <p:tags r:id="rId23"/>
              </p:custDataLst>
            </p:nvPr>
          </p:nvSpPr>
          <p:spPr bwMode="gray">
            <a:xfrm>
              <a:off x="3397250" y="1592263"/>
              <a:ext cx="454024" cy="251455"/>
            </a:xfrm>
            <a:prstGeom prst="rect">
              <a:avLst/>
            </a:prstGeom>
            <a:grpFill/>
            <a:ln w="9525">
              <a:solidFill>
                <a:schemeClr val="tx2">
                  <a:lumMod val="65000"/>
                </a:schemeClr>
              </a:solidFill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defTabSz="893763">
                <a:buClr>
                  <a:srgbClr val="FF6600"/>
                </a:buClr>
                <a:defRPr/>
              </a:pPr>
              <a:r>
                <a:rPr lang="fr-FR" sz="700" b="1" dirty="0">
                  <a:solidFill>
                    <a:schemeClr val="tx2"/>
                  </a:solidFill>
                  <a:latin typeface="+mj-lt"/>
                  <a:cs typeface="Arial" charset="0"/>
                </a:rPr>
                <a:t>TUNIS</a:t>
              </a:r>
            </a:p>
          </p:txBody>
        </p:sp>
      </p:grpSp>
      <p:sp>
        <p:nvSpPr>
          <p:cNvPr id="186" name="Text Box 526"/>
          <p:cNvSpPr txBox="1">
            <a:spLocks noChangeArrowheads="1"/>
          </p:cNvSpPr>
          <p:nvPr/>
        </p:nvSpPr>
        <p:spPr bwMode="auto">
          <a:xfrm>
            <a:off x="251520" y="1340768"/>
            <a:ext cx="3888432" cy="720080"/>
          </a:xfrm>
          <a:prstGeom prst="rect">
            <a:avLst/>
          </a:prstGeom>
          <a:solidFill>
            <a:srgbClr val="00467F"/>
          </a:solidFill>
          <a:ln>
            <a:solidFill>
              <a:srgbClr val="FFFFFF"/>
            </a:solidFill>
            <a:headEnd/>
            <a:tailEnd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indent="-95250">
              <a:buClr>
                <a:srgbClr val="99CCFF"/>
              </a:buClr>
              <a:buSzPct val="105000"/>
              <a:defRPr/>
            </a:pPr>
            <a:r>
              <a:rPr lang="fr-FR" sz="1600" b="1" dirty="0">
                <a:solidFill>
                  <a:schemeClr val="tx2"/>
                </a:solidFill>
                <a:latin typeface="Century Gothic" pitchFamily="34" charset="0"/>
              </a:rPr>
              <a:t>Proximité géographique, culturelle</a:t>
            </a:r>
          </a:p>
          <a:p>
            <a:pPr indent="-95250">
              <a:buClr>
                <a:srgbClr val="99CCFF"/>
              </a:buClr>
              <a:buSzPct val="105000"/>
              <a:defRPr/>
            </a:pPr>
            <a:r>
              <a:rPr lang="fr-FR" sz="1600" b="1" dirty="0" smtClean="0">
                <a:solidFill>
                  <a:schemeClr val="tx2"/>
                </a:solidFill>
                <a:latin typeface="Century Gothic" pitchFamily="34" charset="0"/>
              </a:rPr>
              <a:t>et </a:t>
            </a:r>
            <a:r>
              <a:rPr lang="fr-FR" sz="1600" b="1" dirty="0">
                <a:solidFill>
                  <a:schemeClr val="tx2"/>
                </a:solidFill>
                <a:latin typeface="Century Gothic" pitchFamily="34" charset="0"/>
              </a:rPr>
              <a:t>linguistique avec </a:t>
            </a:r>
            <a:r>
              <a:rPr lang="fr-FR" sz="1600" b="1" dirty="0" smtClean="0">
                <a:solidFill>
                  <a:schemeClr val="tx2"/>
                </a:solidFill>
                <a:latin typeface="Century Gothic" pitchFamily="34" charset="0"/>
              </a:rPr>
              <a:t>l’Europe</a:t>
            </a:r>
            <a:endParaRPr lang="fr-FR" sz="1600" b="1" dirty="0">
              <a:solidFill>
                <a:schemeClr val="tx2"/>
              </a:solidFill>
              <a:latin typeface="Century Gothic" pitchFamily="34" charset="0"/>
            </a:endParaRPr>
          </a:p>
        </p:txBody>
      </p:sp>
      <p:sp>
        <p:nvSpPr>
          <p:cNvPr id="101" name="Text Box 526"/>
          <p:cNvSpPr txBox="1">
            <a:spLocks noChangeArrowheads="1"/>
          </p:cNvSpPr>
          <p:nvPr/>
        </p:nvSpPr>
        <p:spPr bwMode="auto">
          <a:xfrm>
            <a:off x="251520" y="2147258"/>
            <a:ext cx="3888432" cy="576064"/>
          </a:xfrm>
          <a:prstGeom prst="rect">
            <a:avLst/>
          </a:prstGeom>
          <a:solidFill>
            <a:srgbClr val="00467F"/>
          </a:solidFill>
          <a:ln>
            <a:solidFill>
              <a:srgbClr val="FFFFFF"/>
            </a:solidFill>
            <a:headEnd/>
            <a:tailEnd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indent="-95250">
              <a:buClr>
                <a:srgbClr val="99CCFF"/>
              </a:buClr>
              <a:buSzPct val="105000"/>
              <a:defRPr/>
            </a:pPr>
            <a:r>
              <a:rPr lang="fr-FR" sz="2000" b="1" dirty="0" smtClean="0">
                <a:solidFill>
                  <a:schemeClr val="tx2"/>
                </a:solidFill>
                <a:latin typeface="Century Gothic" pitchFamily="34" charset="0"/>
              </a:rPr>
              <a:t>587</a:t>
            </a:r>
            <a:r>
              <a:rPr lang="fr-FR" sz="1600" b="1" dirty="0" smtClean="0">
                <a:solidFill>
                  <a:schemeClr val="tx2"/>
                </a:solidFill>
                <a:latin typeface="Century Gothic" pitchFamily="34" charset="0"/>
              </a:rPr>
              <a:t>vols hebdomadaires entre la Tunisie et la France </a:t>
            </a:r>
            <a:endParaRPr lang="fr-FR" sz="1600" b="1" dirty="0">
              <a:solidFill>
                <a:schemeClr val="tx2"/>
              </a:solidFill>
              <a:latin typeface="Century Gothic" pitchFamily="34" charset="0"/>
            </a:endParaRPr>
          </a:p>
        </p:txBody>
      </p:sp>
      <p:cxnSp>
        <p:nvCxnSpPr>
          <p:cNvPr id="103" name="Connecteur droit 102"/>
          <p:cNvCxnSpPr/>
          <p:nvPr/>
        </p:nvCxnSpPr>
        <p:spPr>
          <a:xfrm flipV="1">
            <a:off x="7164288" y="3140968"/>
            <a:ext cx="216024" cy="7200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Connecteur droit 104"/>
          <p:cNvCxnSpPr/>
          <p:nvPr/>
        </p:nvCxnSpPr>
        <p:spPr>
          <a:xfrm>
            <a:off x="7452320" y="3140968"/>
            <a:ext cx="43204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Text Box 526"/>
          <p:cNvSpPr txBox="1">
            <a:spLocks noChangeArrowheads="1"/>
          </p:cNvSpPr>
          <p:nvPr/>
        </p:nvSpPr>
        <p:spPr bwMode="auto">
          <a:xfrm>
            <a:off x="251520" y="2809732"/>
            <a:ext cx="3888432" cy="648072"/>
          </a:xfrm>
          <a:prstGeom prst="rect">
            <a:avLst/>
          </a:prstGeom>
          <a:solidFill>
            <a:srgbClr val="00467F"/>
          </a:solidFill>
          <a:ln>
            <a:solidFill>
              <a:srgbClr val="FFFFFF"/>
            </a:solidFill>
            <a:headEnd/>
            <a:tailEnd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lvl="0" indent="-95250">
              <a:buClr>
                <a:srgbClr val="99CCFF"/>
              </a:buClr>
              <a:buSzPct val="105000"/>
              <a:defRPr/>
            </a:pPr>
            <a:r>
              <a:rPr lang="fr-FR" sz="1600" b="1" dirty="0" smtClean="0">
                <a:solidFill>
                  <a:schemeClr val="tx2"/>
                </a:solidFill>
                <a:latin typeface="Century Gothic" pitchFamily="34" charset="0"/>
              </a:rPr>
              <a:t>Des quartiers résidentiels modernes</a:t>
            </a:r>
            <a:endParaRPr lang="fr-FR" sz="1600" b="1" dirty="0">
              <a:solidFill>
                <a:schemeClr val="tx2"/>
              </a:solidFill>
              <a:latin typeface="Century Gothic" pitchFamily="34" charset="0"/>
            </a:endParaRPr>
          </a:p>
        </p:txBody>
      </p:sp>
      <p:sp>
        <p:nvSpPr>
          <p:cNvPr id="111" name="Text Box 526"/>
          <p:cNvSpPr txBox="1">
            <a:spLocks noChangeArrowheads="1"/>
          </p:cNvSpPr>
          <p:nvPr/>
        </p:nvSpPr>
        <p:spPr bwMode="auto">
          <a:xfrm>
            <a:off x="251520" y="4494720"/>
            <a:ext cx="3888432" cy="864096"/>
          </a:xfrm>
          <a:prstGeom prst="rect">
            <a:avLst/>
          </a:prstGeom>
          <a:solidFill>
            <a:srgbClr val="00467F"/>
          </a:solidFill>
          <a:ln>
            <a:solidFill>
              <a:srgbClr val="FFFFFF"/>
            </a:solidFill>
            <a:headEnd/>
            <a:tailEnd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lvl="0" indent="-95250">
              <a:buClr>
                <a:srgbClr val="99CCFF"/>
              </a:buClr>
              <a:buSzPct val="105000"/>
              <a:defRPr/>
            </a:pPr>
            <a:r>
              <a:rPr lang="fr-FR" sz="1600" b="1" dirty="0" smtClean="0">
                <a:solidFill>
                  <a:schemeClr val="tx2"/>
                </a:solidFill>
                <a:latin typeface="Century Gothic" pitchFamily="34" charset="0"/>
              </a:rPr>
              <a:t>Des prestations médicales de haut niveau avec un réseau de cliniques modernes et spécialisées</a:t>
            </a:r>
            <a:endParaRPr lang="fr-FR" sz="1600" b="1" dirty="0">
              <a:solidFill>
                <a:schemeClr val="tx2"/>
              </a:solidFill>
              <a:latin typeface="Century Gothic" pitchFamily="34" charset="0"/>
            </a:endParaRPr>
          </a:p>
        </p:txBody>
      </p:sp>
      <p:sp>
        <p:nvSpPr>
          <p:cNvPr id="112" name="Text Box 526"/>
          <p:cNvSpPr txBox="1">
            <a:spLocks noChangeArrowheads="1"/>
          </p:cNvSpPr>
          <p:nvPr/>
        </p:nvSpPr>
        <p:spPr bwMode="auto">
          <a:xfrm>
            <a:off x="251520" y="5445224"/>
            <a:ext cx="3888432" cy="864096"/>
          </a:xfrm>
          <a:prstGeom prst="rect">
            <a:avLst/>
          </a:prstGeom>
          <a:solidFill>
            <a:srgbClr val="00467F"/>
          </a:solidFill>
          <a:ln>
            <a:solidFill>
              <a:srgbClr val="FFFFFF"/>
            </a:solidFill>
            <a:headEnd/>
            <a:tailEnd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indent="-95250">
              <a:buClr>
                <a:srgbClr val="99CCFF"/>
              </a:buClr>
              <a:buSzPct val="105000"/>
              <a:defRPr/>
            </a:pPr>
            <a:r>
              <a:rPr lang="fr-FR" sz="1600" b="1" dirty="0" smtClean="0">
                <a:solidFill>
                  <a:schemeClr val="tx2"/>
                </a:solidFill>
                <a:latin typeface="Century Gothic" pitchFamily="34" charset="0"/>
              </a:rPr>
              <a:t>Une panoplie d’activités culturelles et sportives avec une infrastructure touristique très développée</a:t>
            </a:r>
          </a:p>
        </p:txBody>
      </p:sp>
      <p:sp>
        <p:nvSpPr>
          <p:cNvPr id="113" name="Text Box 526"/>
          <p:cNvSpPr txBox="1">
            <a:spLocks noChangeArrowheads="1"/>
          </p:cNvSpPr>
          <p:nvPr/>
        </p:nvSpPr>
        <p:spPr bwMode="auto">
          <a:xfrm>
            <a:off x="251520" y="3544214"/>
            <a:ext cx="3888432" cy="864096"/>
          </a:xfrm>
          <a:prstGeom prst="rect">
            <a:avLst/>
          </a:prstGeom>
          <a:solidFill>
            <a:srgbClr val="00467F"/>
          </a:solidFill>
          <a:ln>
            <a:solidFill>
              <a:srgbClr val="FFFFFF"/>
            </a:solidFill>
            <a:headEnd/>
            <a:tailEnd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indent="-95250">
              <a:buClr>
                <a:srgbClr val="99CCFF"/>
              </a:buClr>
              <a:buSzPct val="105000"/>
              <a:defRPr/>
            </a:pPr>
            <a:r>
              <a:rPr lang="fr-FR" sz="1600" b="1" dirty="0" smtClean="0">
                <a:solidFill>
                  <a:schemeClr val="tx2"/>
                </a:solidFill>
                <a:latin typeface="Century Gothic" pitchFamily="34" charset="0"/>
              </a:rPr>
              <a:t>Des écoles étrangères (françaises, américaines, etc.)</a:t>
            </a:r>
          </a:p>
        </p:txBody>
      </p:sp>
      <p:sp>
        <p:nvSpPr>
          <p:cNvPr id="108" name="Espace réservé du pied de page 4"/>
          <p:cNvSpPr txBox="1">
            <a:spLocks/>
          </p:cNvSpPr>
          <p:nvPr/>
        </p:nvSpPr>
        <p:spPr>
          <a:xfrm>
            <a:off x="5292080" y="6209928"/>
            <a:ext cx="3851920" cy="648072"/>
          </a:xfrm>
          <a:prstGeom prst="rect">
            <a:avLst/>
          </a:prstGeom>
        </p:spPr>
        <p:txBody>
          <a:bodyPr/>
          <a:lstStyle>
            <a:lvl1pPr>
              <a:defRPr sz="1400" b="1">
                <a:solidFill>
                  <a:srgbClr val="C00000"/>
                </a:solidFill>
              </a:defRPr>
            </a:lvl1pPr>
          </a:lstStyle>
          <a:p>
            <a:pPr marL="0" marR="0" lvl="0" indent="0" algn="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  <a:defRPr/>
            </a:pPr>
            <a:r>
              <a:rPr lang="fr-FR" sz="1600" b="0" dirty="0" smtClean="0">
                <a:solidFill>
                  <a:schemeClr val="tx1"/>
                </a:solidFill>
                <a:latin typeface="+mn-lt"/>
              </a:rPr>
              <a:t>NEW </a:t>
            </a:r>
            <a:r>
              <a:rPr lang="fr-FR" sz="1600" dirty="0" smtClean="0">
                <a:solidFill>
                  <a:schemeClr val="tx1"/>
                </a:solidFill>
                <a:latin typeface="+mn-lt"/>
              </a:rPr>
              <a:t>TUNISIA </a:t>
            </a:r>
          </a:p>
          <a:p>
            <a:pPr marL="0" marR="0" lvl="0" indent="0" algn="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  <a:defRPr/>
            </a:pPr>
            <a:r>
              <a:rPr lang="fr-FR" sz="1600" b="0" dirty="0" smtClean="0">
                <a:solidFill>
                  <a:schemeClr val="tx1"/>
                </a:solidFill>
                <a:latin typeface="+mn-lt"/>
              </a:rPr>
              <a:t>NEW OPPORTUNITIES </a:t>
            </a:r>
            <a:endParaRPr lang="fr-FR" sz="1600" b="0" dirty="0">
              <a:solidFill>
                <a:schemeClr val="tx1"/>
              </a:solidFill>
              <a:latin typeface="+mn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pied de page 4"/>
          <p:cNvSpPr txBox="1">
            <a:spLocks/>
          </p:cNvSpPr>
          <p:nvPr/>
        </p:nvSpPr>
        <p:spPr>
          <a:xfrm>
            <a:off x="5292080" y="6209928"/>
            <a:ext cx="3851920" cy="648072"/>
          </a:xfrm>
          <a:prstGeom prst="rect">
            <a:avLst/>
          </a:prstGeom>
        </p:spPr>
        <p:txBody>
          <a:bodyPr/>
          <a:lstStyle>
            <a:lvl1pPr>
              <a:defRPr sz="1400" b="1">
                <a:solidFill>
                  <a:srgbClr val="C00000"/>
                </a:solidFill>
              </a:defRPr>
            </a:lvl1pPr>
          </a:lstStyle>
          <a:p>
            <a:pPr marL="0" marR="0" lvl="0" indent="0" algn="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  <a:defRPr/>
            </a:pPr>
            <a:r>
              <a:rPr lang="fr-FR" sz="1600" b="0" dirty="0" smtClean="0">
                <a:solidFill>
                  <a:schemeClr val="tx1"/>
                </a:solidFill>
                <a:latin typeface="+mn-lt"/>
              </a:rPr>
              <a:t>NEW </a:t>
            </a:r>
            <a:r>
              <a:rPr lang="fr-FR" sz="1600" dirty="0" smtClean="0">
                <a:solidFill>
                  <a:schemeClr val="tx1"/>
                </a:solidFill>
                <a:latin typeface="+mn-lt"/>
              </a:rPr>
              <a:t>TUNISIA </a:t>
            </a:r>
          </a:p>
          <a:p>
            <a:pPr marL="0" marR="0" lvl="0" indent="0" algn="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  <a:defRPr/>
            </a:pPr>
            <a:r>
              <a:rPr lang="fr-FR" sz="1600" b="0" dirty="0" smtClean="0">
                <a:solidFill>
                  <a:schemeClr val="tx1"/>
                </a:solidFill>
                <a:latin typeface="+mn-lt"/>
              </a:rPr>
              <a:t>NEW OPPORTUNITIES </a:t>
            </a:r>
            <a:endParaRPr lang="fr-FR" sz="1600" b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ZoneTexte 5"/>
          <p:cNvSpPr txBox="1"/>
          <p:nvPr/>
        </p:nvSpPr>
        <p:spPr>
          <a:xfrm>
            <a:off x="1691680" y="2708920"/>
            <a:ext cx="604867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4000" b="1" dirty="0" smtClean="0">
                <a:latin typeface="+mn-lt"/>
              </a:rPr>
              <a:t>Une nouvelle TUNISIE  </a:t>
            </a:r>
            <a:endParaRPr lang="fr-FR" sz="4000" b="1" dirty="0">
              <a:latin typeface="+mn-lt"/>
            </a:endParaRPr>
          </a:p>
        </p:txBody>
      </p:sp>
      <p:sp>
        <p:nvSpPr>
          <p:cNvPr id="4" name="ZoneTexte 3"/>
          <p:cNvSpPr txBox="1"/>
          <p:nvPr/>
        </p:nvSpPr>
        <p:spPr>
          <a:xfrm>
            <a:off x="323528" y="260648"/>
            <a:ext cx="352839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4000" b="1" dirty="0" smtClean="0">
                <a:solidFill>
                  <a:srgbClr val="FFFFFF"/>
                </a:solidFill>
                <a:latin typeface="Century Gothic" pitchFamily="34" charset="0"/>
              </a:rPr>
              <a:t>Aujourd’hui…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Box 526"/>
          <p:cNvSpPr txBox="1">
            <a:spLocks noChangeArrowheads="1"/>
          </p:cNvSpPr>
          <p:nvPr/>
        </p:nvSpPr>
        <p:spPr bwMode="auto">
          <a:xfrm>
            <a:off x="4716016" y="4149080"/>
            <a:ext cx="3168352" cy="1296144"/>
          </a:xfrm>
          <a:prstGeom prst="rect">
            <a:avLst/>
          </a:prstGeom>
          <a:solidFill>
            <a:srgbClr val="00467F"/>
          </a:solidFill>
          <a:ln>
            <a:solidFill>
              <a:srgbClr val="FFFFFF"/>
            </a:solidFill>
            <a:headEnd/>
            <a:tailEnd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indent="-95250">
              <a:buClr>
                <a:srgbClr val="99CCFF"/>
              </a:buClr>
              <a:buSzPct val="105000"/>
              <a:defRPr/>
            </a:pPr>
            <a:r>
              <a:rPr lang="fr-FR" sz="2000" b="1" dirty="0" smtClean="0">
                <a:solidFill>
                  <a:schemeClr val="tx2"/>
                </a:solidFill>
                <a:latin typeface="Century Gothic" pitchFamily="34" charset="0"/>
              </a:rPr>
              <a:t>Renforcement de l’adhésion aux principes de la communauté internationale </a:t>
            </a:r>
            <a:endParaRPr lang="fr-FR" sz="2000" b="1" dirty="0">
              <a:solidFill>
                <a:schemeClr val="tx2"/>
              </a:solidFill>
              <a:latin typeface="Century Gothic" pitchFamily="34" charset="0"/>
            </a:endParaRPr>
          </a:p>
        </p:txBody>
      </p:sp>
      <p:sp>
        <p:nvSpPr>
          <p:cNvPr id="36" name="Text Box 526"/>
          <p:cNvSpPr txBox="1">
            <a:spLocks noChangeArrowheads="1"/>
          </p:cNvSpPr>
          <p:nvPr/>
        </p:nvSpPr>
        <p:spPr bwMode="auto">
          <a:xfrm>
            <a:off x="4716016" y="2276872"/>
            <a:ext cx="3168352" cy="648072"/>
          </a:xfrm>
          <a:prstGeom prst="rect">
            <a:avLst/>
          </a:prstGeom>
          <a:solidFill>
            <a:srgbClr val="00467F"/>
          </a:solidFill>
          <a:ln>
            <a:solidFill>
              <a:srgbClr val="FFFFFF"/>
            </a:solidFill>
            <a:headEnd/>
            <a:tailEnd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indent="-95250">
              <a:buClr>
                <a:srgbClr val="99CCFF"/>
              </a:buClr>
              <a:buSzPct val="105000"/>
              <a:defRPr/>
            </a:pPr>
            <a:r>
              <a:rPr lang="fr-FR" sz="2000" b="1" dirty="0" smtClean="0">
                <a:solidFill>
                  <a:schemeClr val="tx2"/>
                </a:solidFill>
                <a:latin typeface="Century Gothic" pitchFamily="34" charset="0"/>
              </a:rPr>
              <a:t>Bonne gouvernance  </a:t>
            </a:r>
            <a:endParaRPr lang="fr-FR" sz="2000" b="1" dirty="0">
              <a:solidFill>
                <a:schemeClr val="tx2"/>
              </a:solidFill>
              <a:latin typeface="Century Gothic" pitchFamily="34" charset="0"/>
            </a:endParaRPr>
          </a:p>
        </p:txBody>
      </p:sp>
      <p:sp>
        <p:nvSpPr>
          <p:cNvPr id="29" name="Text Box 526"/>
          <p:cNvSpPr txBox="1">
            <a:spLocks noChangeArrowheads="1"/>
          </p:cNvSpPr>
          <p:nvPr/>
        </p:nvSpPr>
        <p:spPr bwMode="auto">
          <a:xfrm>
            <a:off x="4716016" y="3068960"/>
            <a:ext cx="3168352" cy="864096"/>
          </a:xfrm>
          <a:prstGeom prst="rect">
            <a:avLst/>
          </a:prstGeom>
          <a:solidFill>
            <a:srgbClr val="00467F"/>
          </a:solidFill>
          <a:ln>
            <a:solidFill>
              <a:srgbClr val="FFFFFF"/>
            </a:solidFill>
            <a:headEnd/>
            <a:tailEnd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indent="-95250" eaLnBrk="0" hangingPunct="0">
              <a:buClr>
                <a:srgbClr val="99CCFF"/>
              </a:buClr>
              <a:buSzPct val="105000"/>
              <a:defRPr/>
            </a:pPr>
            <a:r>
              <a:rPr lang="fr-FR" sz="2000" b="1" dirty="0" smtClean="0">
                <a:solidFill>
                  <a:schemeClr val="tx2"/>
                </a:solidFill>
                <a:latin typeface="Century Gothic" pitchFamily="34" charset="0"/>
              </a:rPr>
              <a:t>Pluralités politique et sociale  </a:t>
            </a:r>
            <a:endParaRPr lang="fr-FR" sz="2000" b="1" dirty="0">
              <a:solidFill>
                <a:schemeClr val="tx2"/>
              </a:solidFill>
              <a:latin typeface="Century Gothic" pitchFamily="34" charset="0"/>
            </a:endParaRPr>
          </a:p>
        </p:txBody>
      </p:sp>
      <p:sp>
        <p:nvSpPr>
          <p:cNvPr id="7" name="Rectangle avec flèche vers la droite 6"/>
          <p:cNvSpPr/>
          <p:nvPr/>
        </p:nvSpPr>
        <p:spPr>
          <a:xfrm>
            <a:off x="251520" y="1196752"/>
            <a:ext cx="4248472" cy="4524315"/>
          </a:xfrm>
          <a:prstGeom prst="rightArrowCallout">
            <a:avLst>
              <a:gd name="adj1" fmla="val 18894"/>
              <a:gd name="adj2" fmla="val 15661"/>
              <a:gd name="adj3" fmla="val 19303"/>
              <a:gd name="adj4" fmla="val 76241"/>
            </a:avLst>
          </a:prstGeom>
          <a:solidFill>
            <a:schemeClr val="accent3">
              <a:lumMod val="75000"/>
            </a:schemeClr>
          </a:solidFill>
          <a:ln>
            <a:solidFill>
              <a:srgbClr val="C41B6D"/>
            </a:solidFill>
          </a:ln>
        </p:spPr>
        <p:txBody>
          <a:bodyPr wrap="square">
            <a:spAutoFit/>
          </a:bodyPr>
          <a:lstStyle/>
          <a:p>
            <a:r>
              <a:rPr lang="fr-FR" b="1" dirty="0" smtClean="0">
                <a:solidFill>
                  <a:schemeClr val="tx2"/>
                </a:solidFill>
                <a:latin typeface="+mj-lt"/>
              </a:rPr>
              <a:t>Election d’une assemblée constituante</a:t>
            </a:r>
            <a:r>
              <a:rPr lang="fr-FR" dirty="0" smtClean="0">
                <a:solidFill>
                  <a:schemeClr val="tx2"/>
                </a:solidFill>
                <a:latin typeface="+mj-lt"/>
              </a:rPr>
              <a:t> </a:t>
            </a:r>
            <a:r>
              <a:rPr lang="fr-FR" sz="1600" b="1" dirty="0" smtClean="0">
                <a:solidFill>
                  <a:schemeClr val="tx2"/>
                </a:solidFill>
                <a:latin typeface="+mj-lt"/>
              </a:rPr>
              <a:t>le 23 octobre 2011</a:t>
            </a:r>
          </a:p>
          <a:p>
            <a:endParaRPr lang="fr-FR" sz="1600" b="1" dirty="0" smtClean="0">
              <a:solidFill>
                <a:schemeClr val="tx2"/>
              </a:solidFill>
              <a:latin typeface="+mj-lt"/>
            </a:endParaRPr>
          </a:p>
          <a:p>
            <a:r>
              <a:rPr lang="fr-FR" b="1" dirty="0" smtClean="0">
                <a:solidFill>
                  <a:schemeClr val="tx2"/>
                </a:solidFill>
                <a:latin typeface="+mj-lt"/>
              </a:rPr>
              <a:t>Election d’une instance indépendante </a:t>
            </a:r>
            <a:r>
              <a:rPr lang="fr-FR" sz="1600" b="1" dirty="0" smtClean="0">
                <a:solidFill>
                  <a:schemeClr val="tx2"/>
                </a:solidFill>
                <a:latin typeface="+mj-lt"/>
              </a:rPr>
              <a:t>pour organiser ces élections</a:t>
            </a:r>
          </a:p>
          <a:p>
            <a:endParaRPr lang="fr-FR" sz="1600" b="1" dirty="0" smtClean="0">
              <a:solidFill>
                <a:schemeClr val="tx2"/>
              </a:solidFill>
              <a:latin typeface="+mj-lt"/>
            </a:endParaRPr>
          </a:p>
          <a:p>
            <a:r>
              <a:rPr lang="fr-FR" b="1" dirty="0" smtClean="0">
                <a:solidFill>
                  <a:schemeClr val="tx2"/>
                </a:solidFill>
                <a:latin typeface="+mj-lt"/>
              </a:rPr>
              <a:t>Signature d’une feuille de route</a:t>
            </a:r>
            <a:r>
              <a:rPr lang="fr-FR" sz="1600" b="1" dirty="0" smtClean="0">
                <a:solidFill>
                  <a:schemeClr val="tx2"/>
                </a:solidFill>
                <a:latin typeface="+mj-lt"/>
              </a:rPr>
              <a:t> engageant  la prochaine constituante : 1 an maximum</a:t>
            </a:r>
          </a:p>
          <a:p>
            <a:endParaRPr lang="fr-FR" sz="1600" b="1" dirty="0" smtClean="0">
              <a:solidFill>
                <a:schemeClr val="tx2"/>
              </a:solidFill>
              <a:latin typeface="+mj-lt"/>
            </a:endParaRPr>
          </a:p>
          <a:p>
            <a:r>
              <a:rPr lang="fr-FR" b="1" dirty="0" smtClean="0">
                <a:solidFill>
                  <a:schemeClr val="tx2"/>
                </a:solidFill>
                <a:latin typeface="+mj-lt"/>
              </a:rPr>
              <a:t>Implication et engagement de la société civile </a:t>
            </a:r>
            <a:r>
              <a:rPr lang="fr-FR" sz="1600" b="1" dirty="0" smtClean="0">
                <a:solidFill>
                  <a:schemeClr val="tx2"/>
                </a:solidFill>
                <a:latin typeface="+mj-lt"/>
              </a:rPr>
              <a:t>pour la réussite de la transition démocratique </a:t>
            </a:r>
          </a:p>
        </p:txBody>
      </p:sp>
      <p:sp>
        <p:nvSpPr>
          <p:cNvPr id="10" name="Text Box 526"/>
          <p:cNvSpPr txBox="1">
            <a:spLocks noChangeArrowheads="1"/>
          </p:cNvSpPr>
          <p:nvPr/>
        </p:nvSpPr>
        <p:spPr bwMode="auto">
          <a:xfrm>
            <a:off x="4716016" y="1412776"/>
            <a:ext cx="3168352" cy="576064"/>
          </a:xfrm>
          <a:prstGeom prst="rect">
            <a:avLst/>
          </a:prstGeom>
          <a:solidFill>
            <a:srgbClr val="00467F"/>
          </a:solidFill>
          <a:ln>
            <a:solidFill>
              <a:srgbClr val="FFFFFF"/>
            </a:solidFill>
            <a:headEnd/>
            <a:tailEnd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indent="-95250" eaLnBrk="0" hangingPunct="0">
              <a:buClr>
                <a:srgbClr val="99CCFF"/>
              </a:buClr>
              <a:buSzPct val="105000"/>
              <a:defRPr/>
            </a:pPr>
            <a:r>
              <a:rPr lang="fr-FR" sz="2000" b="1" dirty="0" smtClean="0">
                <a:solidFill>
                  <a:schemeClr val="tx2"/>
                </a:solidFill>
                <a:latin typeface="Century Gothic" pitchFamily="34" charset="0"/>
              </a:rPr>
              <a:t>Etat de droit</a:t>
            </a:r>
            <a:endParaRPr lang="fr-FR" sz="2000" b="1" dirty="0">
              <a:solidFill>
                <a:schemeClr val="tx2"/>
              </a:solidFill>
              <a:latin typeface="Century Gothic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44624"/>
            <a:ext cx="6156176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fr-FR" sz="2800" b="1" dirty="0" smtClean="0">
                <a:solidFill>
                  <a:srgbClr val="FFFFFF"/>
                </a:solidFill>
                <a:latin typeface="Century Gothic" pitchFamily="34" charset="0"/>
              </a:rPr>
              <a:t>La démocratie, un modèle de société</a:t>
            </a:r>
          </a:p>
          <a:p>
            <a:pPr>
              <a:defRPr/>
            </a:pPr>
            <a:r>
              <a:rPr lang="fr-FR" sz="2800" b="1" dirty="0" smtClean="0">
                <a:solidFill>
                  <a:schemeClr val="tx2"/>
                </a:solidFill>
                <a:latin typeface="+mj-lt"/>
              </a:rPr>
              <a:t> </a:t>
            </a:r>
            <a:endParaRPr lang="fr-FR" sz="2800" b="1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11" name="Espace réservé du pied de page 4"/>
          <p:cNvSpPr txBox="1">
            <a:spLocks/>
          </p:cNvSpPr>
          <p:nvPr/>
        </p:nvSpPr>
        <p:spPr>
          <a:xfrm>
            <a:off x="5292080" y="6209928"/>
            <a:ext cx="3851920" cy="648072"/>
          </a:xfrm>
          <a:prstGeom prst="rect">
            <a:avLst/>
          </a:prstGeom>
        </p:spPr>
        <p:txBody>
          <a:bodyPr/>
          <a:lstStyle>
            <a:lvl1pPr>
              <a:defRPr sz="1400" b="1">
                <a:solidFill>
                  <a:srgbClr val="C00000"/>
                </a:solidFill>
              </a:defRPr>
            </a:lvl1pPr>
          </a:lstStyle>
          <a:p>
            <a:pPr marL="0" marR="0" lvl="0" indent="0" algn="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  <a:defRPr/>
            </a:pPr>
            <a:r>
              <a:rPr lang="fr-FR" sz="1600" b="0" dirty="0" smtClean="0">
                <a:solidFill>
                  <a:schemeClr val="tx1"/>
                </a:solidFill>
                <a:latin typeface="+mn-lt"/>
              </a:rPr>
              <a:t>NEW </a:t>
            </a:r>
            <a:r>
              <a:rPr lang="fr-FR" sz="1600" dirty="0" smtClean="0">
                <a:solidFill>
                  <a:schemeClr val="tx1"/>
                </a:solidFill>
                <a:latin typeface="+mn-lt"/>
              </a:rPr>
              <a:t>TUNISIA </a:t>
            </a:r>
          </a:p>
          <a:p>
            <a:pPr marL="0" marR="0" lvl="0" indent="0" algn="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  <a:defRPr/>
            </a:pPr>
            <a:r>
              <a:rPr lang="fr-FR" sz="1600" b="0" dirty="0" smtClean="0">
                <a:solidFill>
                  <a:schemeClr val="tx1"/>
                </a:solidFill>
                <a:latin typeface="+mn-lt"/>
              </a:rPr>
              <a:t>NEW OPPORTUNITIES </a:t>
            </a:r>
            <a:endParaRPr lang="fr-FR" sz="1600" b="0" dirty="0">
              <a:solidFill>
                <a:schemeClr val="tx1"/>
              </a:solidFill>
              <a:latin typeface="+mn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Box 526"/>
          <p:cNvSpPr txBox="1">
            <a:spLocks noChangeArrowheads="1"/>
          </p:cNvSpPr>
          <p:nvPr/>
        </p:nvSpPr>
        <p:spPr bwMode="auto">
          <a:xfrm>
            <a:off x="4788024" y="2276872"/>
            <a:ext cx="3240360" cy="1008112"/>
          </a:xfrm>
          <a:prstGeom prst="rect">
            <a:avLst/>
          </a:prstGeom>
          <a:solidFill>
            <a:srgbClr val="00467F"/>
          </a:solidFill>
          <a:ln>
            <a:solidFill>
              <a:srgbClr val="FFFFFF"/>
            </a:solidFill>
            <a:headEnd/>
            <a:tailEnd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indent="-95250">
              <a:buClr>
                <a:srgbClr val="99CCFF"/>
              </a:buClr>
              <a:buSzPct val="105000"/>
              <a:defRPr/>
            </a:pPr>
            <a:r>
              <a:rPr lang="fr-FR" sz="2000" b="1" dirty="0" smtClean="0">
                <a:solidFill>
                  <a:schemeClr val="tx2"/>
                </a:solidFill>
                <a:latin typeface="Century Gothic" pitchFamily="34" charset="0"/>
              </a:rPr>
              <a:t>Égalité des chances dans la liberté d’entreprendre  </a:t>
            </a:r>
            <a:endParaRPr lang="fr-FR" sz="2000" b="1" dirty="0">
              <a:solidFill>
                <a:schemeClr val="tx2"/>
              </a:solidFill>
              <a:latin typeface="Century Gothic" pitchFamily="34" charset="0"/>
            </a:endParaRPr>
          </a:p>
        </p:txBody>
      </p:sp>
      <p:sp>
        <p:nvSpPr>
          <p:cNvPr id="29" name="Text Box 526"/>
          <p:cNvSpPr txBox="1">
            <a:spLocks noChangeArrowheads="1"/>
          </p:cNvSpPr>
          <p:nvPr/>
        </p:nvSpPr>
        <p:spPr bwMode="auto">
          <a:xfrm>
            <a:off x="4788024" y="1196752"/>
            <a:ext cx="3240360" cy="936104"/>
          </a:xfrm>
          <a:prstGeom prst="rect">
            <a:avLst/>
          </a:prstGeom>
          <a:solidFill>
            <a:srgbClr val="00467F"/>
          </a:solidFill>
          <a:ln>
            <a:solidFill>
              <a:srgbClr val="FFFFFF"/>
            </a:solidFill>
            <a:headEnd/>
            <a:tailEnd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indent="-95250" eaLnBrk="0" hangingPunct="0">
              <a:buClr>
                <a:srgbClr val="99CCFF"/>
              </a:buClr>
              <a:buSzPct val="105000"/>
              <a:defRPr/>
            </a:pPr>
            <a:r>
              <a:rPr lang="fr-FR" sz="2000" b="1" dirty="0">
                <a:solidFill>
                  <a:schemeClr val="tx2"/>
                </a:solidFill>
                <a:latin typeface="Century Gothic" pitchFamily="34" charset="0"/>
              </a:rPr>
              <a:t>Transparence dans les </a:t>
            </a:r>
            <a:r>
              <a:rPr lang="fr-FR" sz="2000" b="1" dirty="0" smtClean="0">
                <a:solidFill>
                  <a:schemeClr val="tx2"/>
                </a:solidFill>
                <a:latin typeface="Century Gothic" pitchFamily="34" charset="0"/>
              </a:rPr>
              <a:t>transactions financières et les appels d’offres </a:t>
            </a:r>
            <a:endParaRPr lang="fr-FR" sz="2000" b="1" dirty="0">
              <a:solidFill>
                <a:schemeClr val="tx2"/>
              </a:solidFill>
              <a:latin typeface="Century Gothic" pitchFamily="34" charset="0"/>
            </a:endParaRPr>
          </a:p>
        </p:txBody>
      </p:sp>
      <p:sp>
        <p:nvSpPr>
          <p:cNvPr id="7" name="Rectangle avec flèche vers la droite 6"/>
          <p:cNvSpPr/>
          <p:nvPr/>
        </p:nvSpPr>
        <p:spPr>
          <a:xfrm>
            <a:off x="251520" y="1225689"/>
            <a:ext cx="4464496" cy="5078313"/>
          </a:xfrm>
          <a:prstGeom prst="rightArrowCallout">
            <a:avLst>
              <a:gd name="adj1" fmla="val 18894"/>
              <a:gd name="adj2" fmla="val 15661"/>
              <a:gd name="adj3" fmla="val 19303"/>
              <a:gd name="adj4" fmla="val 76241"/>
            </a:avLst>
          </a:prstGeom>
          <a:solidFill>
            <a:schemeClr val="accent3">
              <a:lumMod val="75000"/>
            </a:schemeClr>
          </a:solidFill>
          <a:ln>
            <a:solidFill>
              <a:srgbClr val="C41B6D"/>
            </a:solidFill>
          </a:ln>
        </p:spPr>
        <p:txBody>
          <a:bodyPr wrap="square">
            <a:spAutoFit/>
          </a:bodyPr>
          <a:lstStyle/>
          <a:p>
            <a:r>
              <a:rPr lang="fr-FR" b="1" dirty="0" smtClean="0">
                <a:solidFill>
                  <a:schemeClr val="tx2"/>
                </a:solidFill>
                <a:latin typeface="+mj-lt"/>
              </a:rPr>
              <a:t>Autonomie de la Banque Centrale de Tunisie </a:t>
            </a:r>
          </a:p>
          <a:p>
            <a:r>
              <a:rPr lang="fr-FR" b="1" dirty="0" smtClean="0">
                <a:solidFill>
                  <a:schemeClr val="tx2"/>
                </a:solidFill>
                <a:latin typeface="+mj-lt"/>
              </a:rPr>
              <a:t> </a:t>
            </a:r>
          </a:p>
          <a:p>
            <a:r>
              <a:rPr lang="fr-FR" b="1" dirty="0" smtClean="0">
                <a:solidFill>
                  <a:schemeClr val="tx2"/>
                </a:solidFill>
                <a:latin typeface="+mj-lt"/>
              </a:rPr>
              <a:t>Réformes économiques </a:t>
            </a:r>
          </a:p>
          <a:p>
            <a:r>
              <a:rPr lang="fr-FR" b="1" dirty="0" smtClean="0">
                <a:solidFill>
                  <a:schemeClr val="tx2"/>
                </a:solidFill>
                <a:latin typeface="+mj-lt"/>
              </a:rPr>
              <a:t>(code des incitations à l’investissement)</a:t>
            </a:r>
          </a:p>
          <a:p>
            <a:endParaRPr lang="fr-FR" b="1" dirty="0" smtClean="0">
              <a:solidFill>
                <a:schemeClr val="tx2"/>
              </a:solidFill>
              <a:latin typeface="+mj-lt"/>
            </a:endParaRPr>
          </a:p>
          <a:p>
            <a:r>
              <a:rPr lang="fr-FR" b="1" dirty="0" smtClean="0">
                <a:solidFill>
                  <a:schemeClr val="tx2"/>
                </a:solidFill>
                <a:latin typeface="+mj-lt"/>
              </a:rPr>
              <a:t>Candidature pour l’adhésion à la Déclaration de l'OCDE sur l'investissement international</a:t>
            </a:r>
          </a:p>
          <a:p>
            <a:endParaRPr lang="fr-FR" b="1" dirty="0" smtClean="0">
              <a:solidFill>
                <a:schemeClr val="tx2"/>
              </a:solidFill>
              <a:latin typeface="+mj-lt"/>
            </a:endParaRPr>
          </a:p>
          <a:p>
            <a:r>
              <a:rPr lang="fr-FR" b="1" dirty="0" smtClean="0">
                <a:solidFill>
                  <a:schemeClr val="tx2"/>
                </a:solidFill>
                <a:latin typeface="+mj-lt"/>
              </a:rPr>
              <a:t>Poursuite des négociations pour le statut de partenaire privilégié de l’UE</a:t>
            </a:r>
          </a:p>
          <a:p>
            <a:endParaRPr lang="fr-FR" b="1" dirty="0" smtClean="0">
              <a:solidFill>
                <a:schemeClr val="tx2"/>
              </a:solidFill>
              <a:latin typeface="+mj-lt"/>
            </a:endParaRPr>
          </a:p>
          <a:p>
            <a:r>
              <a:rPr lang="fr-FR" b="1" dirty="0" smtClean="0">
                <a:solidFill>
                  <a:schemeClr val="tx2"/>
                </a:solidFill>
                <a:latin typeface="+mj-lt"/>
              </a:rPr>
              <a:t>Création d’une instance de lutte contre la corruption </a:t>
            </a:r>
          </a:p>
        </p:txBody>
      </p:sp>
      <p:sp>
        <p:nvSpPr>
          <p:cNvPr id="10" name="Text Box 526"/>
          <p:cNvSpPr txBox="1">
            <a:spLocks noChangeArrowheads="1"/>
          </p:cNvSpPr>
          <p:nvPr/>
        </p:nvSpPr>
        <p:spPr bwMode="auto">
          <a:xfrm>
            <a:off x="4788024" y="4653136"/>
            <a:ext cx="3240360" cy="1152128"/>
          </a:xfrm>
          <a:prstGeom prst="rect">
            <a:avLst/>
          </a:prstGeom>
          <a:solidFill>
            <a:srgbClr val="00467F"/>
          </a:solidFill>
          <a:ln>
            <a:solidFill>
              <a:srgbClr val="FFFFFF"/>
            </a:solidFill>
            <a:headEnd/>
            <a:tailEnd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indent="-95250" eaLnBrk="0" hangingPunct="0">
              <a:buClr>
                <a:srgbClr val="99CCFF"/>
              </a:buClr>
              <a:buSzPct val="105000"/>
              <a:defRPr/>
            </a:pPr>
            <a:r>
              <a:rPr lang="fr-FR" sz="2000" b="1" dirty="0" smtClean="0">
                <a:solidFill>
                  <a:schemeClr val="tx2"/>
                </a:solidFill>
                <a:latin typeface="Century Gothic" pitchFamily="34" charset="0"/>
              </a:rPr>
              <a:t>Accès de l’IDE </a:t>
            </a:r>
          </a:p>
          <a:p>
            <a:pPr indent="-95250" eaLnBrk="0" hangingPunct="0">
              <a:buClr>
                <a:srgbClr val="99CCFF"/>
              </a:buClr>
              <a:buSzPct val="105000"/>
              <a:defRPr/>
            </a:pPr>
            <a:r>
              <a:rPr lang="fr-FR" sz="2000" b="1" dirty="0" smtClean="0">
                <a:solidFill>
                  <a:schemeClr val="tx2"/>
                </a:solidFill>
                <a:latin typeface="Century Gothic" pitchFamily="34" charset="0"/>
              </a:rPr>
              <a:t>à de nouveaux secteurs</a:t>
            </a:r>
            <a:endParaRPr lang="fr-FR" sz="2000" b="1" dirty="0">
              <a:solidFill>
                <a:schemeClr val="tx2"/>
              </a:solidFill>
              <a:latin typeface="Century Gothic" pitchFamily="34" charset="0"/>
            </a:endParaRPr>
          </a:p>
        </p:txBody>
      </p:sp>
      <p:sp>
        <p:nvSpPr>
          <p:cNvPr id="8" name="Text Box 526"/>
          <p:cNvSpPr txBox="1">
            <a:spLocks noChangeArrowheads="1"/>
          </p:cNvSpPr>
          <p:nvPr/>
        </p:nvSpPr>
        <p:spPr bwMode="auto">
          <a:xfrm>
            <a:off x="4788024" y="3501008"/>
            <a:ext cx="3240360" cy="864096"/>
          </a:xfrm>
          <a:prstGeom prst="rect">
            <a:avLst/>
          </a:prstGeom>
          <a:solidFill>
            <a:srgbClr val="00467F"/>
          </a:solidFill>
          <a:ln>
            <a:solidFill>
              <a:srgbClr val="FFFFFF"/>
            </a:solidFill>
            <a:headEnd/>
            <a:tailEnd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indent="-95250" eaLnBrk="0" hangingPunct="0">
              <a:buClr>
                <a:srgbClr val="99CCFF"/>
              </a:buClr>
              <a:buSzPct val="105000"/>
              <a:defRPr/>
            </a:pPr>
            <a:r>
              <a:rPr lang="fr-FR" sz="2000" b="1" dirty="0" smtClean="0">
                <a:solidFill>
                  <a:schemeClr val="tx2"/>
                </a:solidFill>
                <a:latin typeface="Century Gothic" pitchFamily="34" charset="0"/>
              </a:rPr>
              <a:t>Nouvelles opportunités d’affaires </a:t>
            </a:r>
            <a:endParaRPr lang="fr-FR" sz="2000" b="1" dirty="0">
              <a:solidFill>
                <a:schemeClr val="tx2"/>
              </a:solidFill>
              <a:latin typeface="Century Gothic" pitchFamily="34" charset="0"/>
            </a:endParaRPr>
          </a:p>
        </p:txBody>
      </p:sp>
      <p:sp>
        <p:nvSpPr>
          <p:cNvPr id="11" name="Espace réservé du pied de page 4"/>
          <p:cNvSpPr txBox="1">
            <a:spLocks/>
          </p:cNvSpPr>
          <p:nvPr/>
        </p:nvSpPr>
        <p:spPr>
          <a:xfrm>
            <a:off x="5292080" y="6209928"/>
            <a:ext cx="3851920" cy="648072"/>
          </a:xfrm>
          <a:prstGeom prst="rect">
            <a:avLst/>
          </a:prstGeom>
        </p:spPr>
        <p:txBody>
          <a:bodyPr/>
          <a:lstStyle>
            <a:lvl1pPr>
              <a:defRPr sz="1400" b="1">
                <a:solidFill>
                  <a:srgbClr val="C00000"/>
                </a:solidFill>
              </a:defRPr>
            </a:lvl1pPr>
          </a:lstStyle>
          <a:p>
            <a:pPr marL="0" marR="0" lvl="0" indent="0" algn="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  <a:defRPr/>
            </a:pPr>
            <a:r>
              <a:rPr lang="fr-FR" sz="1600" b="0" dirty="0" smtClean="0">
                <a:solidFill>
                  <a:schemeClr val="tx1"/>
                </a:solidFill>
                <a:latin typeface="+mn-lt"/>
              </a:rPr>
              <a:t>NEW </a:t>
            </a:r>
            <a:r>
              <a:rPr lang="fr-FR" sz="1600" dirty="0" smtClean="0">
                <a:solidFill>
                  <a:schemeClr val="tx1"/>
                </a:solidFill>
                <a:latin typeface="+mn-lt"/>
              </a:rPr>
              <a:t>TUNISIA </a:t>
            </a:r>
          </a:p>
          <a:p>
            <a:pPr marL="0" marR="0" lvl="0" indent="0" algn="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  <a:defRPr/>
            </a:pPr>
            <a:r>
              <a:rPr lang="fr-FR" sz="1600" b="0" dirty="0" smtClean="0">
                <a:solidFill>
                  <a:schemeClr val="tx1"/>
                </a:solidFill>
                <a:latin typeface="+mn-lt"/>
              </a:rPr>
              <a:t>NEW OPPORTUNITIES </a:t>
            </a:r>
            <a:endParaRPr lang="fr-FR" sz="1600" b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44624"/>
            <a:ext cx="6156176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fr-FR" sz="2800" b="1" dirty="0" smtClean="0">
                <a:solidFill>
                  <a:srgbClr val="FFFFFF"/>
                </a:solidFill>
                <a:latin typeface="Century Gothic" pitchFamily="34" charset="0"/>
              </a:rPr>
              <a:t>La démocratie, un modèle de société</a:t>
            </a:r>
          </a:p>
          <a:p>
            <a:pPr>
              <a:defRPr/>
            </a:pPr>
            <a:r>
              <a:rPr lang="fr-FR" sz="2800" b="1" dirty="0" smtClean="0">
                <a:solidFill>
                  <a:schemeClr val="tx2"/>
                </a:solidFill>
                <a:latin typeface="+mj-lt"/>
              </a:rPr>
              <a:t> </a:t>
            </a:r>
            <a:endParaRPr lang="fr-FR" sz="2800" b="1" dirty="0">
              <a:solidFill>
                <a:schemeClr val="tx2"/>
              </a:solidFill>
              <a:latin typeface="+mj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/>
        </p:nvSpPr>
        <p:spPr>
          <a:xfrm>
            <a:off x="0" y="188640"/>
            <a:ext cx="6156176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fr-FR" sz="2800" b="1" dirty="0" smtClean="0">
                <a:solidFill>
                  <a:srgbClr val="FFFFFF"/>
                </a:solidFill>
                <a:latin typeface="Century Gothic" pitchFamily="34" charset="0"/>
              </a:rPr>
              <a:t>Nouveaux défis à relever   </a:t>
            </a:r>
          </a:p>
          <a:p>
            <a:pPr>
              <a:defRPr/>
            </a:pPr>
            <a:r>
              <a:rPr lang="fr-FR" sz="2800" b="1" dirty="0" smtClean="0">
                <a:solidFill>
                  <a:schemeClr val="tx2"/>
                </a:solidFill>
                <a:latin typeface="+mj-lt"/>
              </a:rPr>
              <a:t> </a:t>
            </a:r>
            <a:endParaRPr lang="fr-FR" sz="2800" b="1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21" name="Text Box 526"/>
          <p:cNvSpPr txBox="1">
            <a:spLocks noChangeArrowheads="1"/>
          </p:cNvSpPr>
          <p:nvPr/>
        </p:nvSpPr>
        <p:spPr bwMode="auto">
          <a:xfrm>
            <a:off x="539552" y="1268760"/>
            <a:ext cx="7488832" cy="576263"/>
          </a:xfrm>
          <a:prstGeom prst="rect">
            <a:avLst/>
          </a:prstGeom>
          <a:solidFill>
            <a:srgbClr val="00467F"/>
          </a:solidFill>
          <a:ln>
            <a:solidFill>
              <a:srgbClr val="FFFFFF"/>
            </a:solidFill>
            <a:headEnd/>
            <a:tailEnd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>
              <a:lnSpc>
                <a:spcPct val="90000"/>
              </a:lnSpc>
              <a:spcBef>
                <a:spcPct val="50000"/>
              </a:spcBef>
              <a:defRPr/>
            </a:pPr>
            <a:r>
              <a:rPr lang="fr-FR" sz="2000" b="1" dirty="0" smtClean="0">
                <a:solidFill>
                  <a:srgbClr val="FFFFFF"/>
                </a:solidFill>
                <a:latin typeface="Century Gothic" pitchFamily="34" charset="0"/>
              </a:rPr>
              <a:t>Assurer un développement inclusif et équilibré</a:t>
            </a:r>
          </a:p>
        </p:txBody>
      </p:sp>
      <p:sp>
        <p:nvSpPr>
          <p:cNvPr id="24" name="Text Box 526"/>
          <p:cNvSpPr txBox="1">
            <a:spLocks noChangeArrowheads="1"/>
          </p:cNvSpPr>
          <p:nvPr/>
        </p:nvSpPr>
        <p:spPr bwMode="auto">
          <a:xfrm>
            <a:off x="539552" y="2060848"/>
            <a:ext cx="7488832" cy="912102"/>
          </a:xfrm>
          <a:prstGeom prst="rect">
            <a:avLst/>
          </a:prstGeom>
          <a:solidFill>
            <a:srgbClr val="00467F"/>
          </a:solidFill>
          <a:ln>
            <a:solidFill>
              <a:srgbClr val="FFFFFF"/>
            </a:solidFill>
            <a:headEnd/>
            <a:tailEnd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>
              <a:lnSpc>
                <a:spcPct val="90000"/>
              </a:lnSpc>
              <a:spcBef>
                <a:spcPct val="50000"/>
              </a:spcBef>
              <a:defRPr/>
            </a:pPr>
            <a:r>
              <a:rPr lang="fr-FR" sz="2000" b="1" dirty="0" smtClean="0">
                <a:solidFill>
                  <a:srgbClr val="FFFFFF"/>
                </a:solidFill>
                <a:latin typeface="Century Gothic" pitchFamily="34" charset="0"/>
              </a:rPr>
              <a:t>Former et retenir les hautes compétences nationales, attirer les meilleures compétences internationales et renforcer l’employabilité</a:t>
            </a:r>
          </a:p>
        </p:txBody>
      </p:sp>
      <p:sp>
        <p:nvSpPr>
          <p:cNvPr id="25" name="Text Box 526"/>
          <p:cNvSpPr txBox="1">
            <a:spLocks noChangeArrowheads="1"/>
          </p:cNvSpPr>
          <p:nvPr/>
        </p:nvSpPr>
        <p:spPr bwMode="auto">
          <a:xfrm>
            <a:off x="539552" y="3212976"/>
            <a:ext cx="7488832" cy="576263"/>
          </a:xfrm>
          <a:prstGeom prst="rect">
            <a:avLst/>
          </a:prstGeom>
          <a:solidFill>
            <a:srgbClr val="00467F"/>
          </a:solidFill>
          <a:ln>
            <a:solidFill>
              <a:srgbClr val="FFFFFF"/>
            </a:solidFill>
            <a:headEnd/>
            <a:tailEnd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>
              <a:lnSpc>
                <a:spcPct val="90000"/>
              </a:lnSpc>
              <a:spcBef>
                <a:spcPct val="50000"/>
              </a:spcBef>
              <a:defRPr/>
            </a:pPr>
            <a:r>
              <a:rPr lang="fr-FR" sz="2000" b="1" dirty="0" smtClean="0">
                <a:solidFill>
                  <a:srgbClr val="FFFFFF"/>
                </a:solidFill>
                <a:latin typeface="Century Gothic" pitchFamily="34" charset="0"/>
              </a:rPr>
              <a:t>Assurer un financement adéquat et viable du développement</a:t>
            </a:r>
          </a:p>
        </p:txBody>
      </p:sp>
      <p:sp>
        <p:nvSpPr>
          <p:cNvPr id="27" name="Text Box 526"/>
          <p:cNvSpPr txBox="1">
            <a:spLocks noChangeArrowheads="1"/>
          </p:cNvSpPr>
          <p:nvPr/>
        </p:nvSpPr>
        <p:spPr bwMode="auto">
          <a:xfrm>
            <a:off x="539552" y="4005064"/>
            <a:ext cx="7416824" cy="792088"/>
          </a:xfrm>
          <a:prstGeom prst="rect">
            <a:avLst/>
          </a:prstGeom>
          <a:solidFill>
            <a:srgbClr val="00467F"/>
          </a:solidFill>
          <a:ln>
            <a:solidFill>
              <a:srgbClr val="FFFFFF"/>
            </a:solidFill>
            <a:headEnd/>
            <a:tailEnd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>
              <a:lnSpc>
                <a:spcPct val="90000"/>
              </a:lnSpc>
              <a:spcBef>
                <a:spcPct val="50000"/>
              </a:spcBef>
              <a:defRPr/>
            </a:pPr>
            <a:r>
              <a:rPr lang="fr-FR" sz="2000" b="1" dirty="0" smtClean="0">
                <a:solidFill>
                  <a:srgbClr val="FFFFFF"/>
                </a:solidFill>
                <a:latin typeface="Century Gothic" pitchFamily="34" charset="0"/>
              </a:rPr>
              <a:t>Construire la confiance par la transparence, la responsabilité sociale et la participation citoyenne</a:t>
            </a:r>
          </a:p>
        </p:txBody>
      </p:sp>
      <p:sp>
        <p:nvSpPr>
          <p:cNvPr id="28" name="Text Box 526"/>
          <p:cNvSpPr txBox="1">
            <a:spLocks noChangeArrowheads="1"/>
          </p:cNvSpPr>
          <p:nvPr/>
        </p:nvSpPr>
        <p:spPr bwMode="auto">
          <a:xfrm>
            <a:off x="539552" y="4941168"/>
            <a:ext cx="7416824" cy="720080"/>
          </a:xfrm>
          <a:prstGeom prst="rect">
            <a:avLst/>
          </a:prstGeom>
          <a:solidFill>
            <a:srgbClr val="00467F"/>
          </a:solidFill>
          <a:ln>
            <a:solidFill>
              <a:srgbClr val="FFFFFF"/>
            </a:solidFill>
            <a:headEnd/>
            <a:tailEnd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>
              <a:lnSpc>
                <a:spcPct val="90000"/>
              </a:lnSpc>
              <a:spcBef>
                <a:spcPct val="50000"/>
              </a:spcBef>
              <a:defRPr/>
            </a:pPr>
            <a:r>
              <a:rPr lang="fr-FR" sz="2000" b="1" dirty="0" smtClean="0">
                <a:solidFill>
                  <a:srgbClr val="FFFFFF"/>
                </a:solidFill>
                <a:latin typeface="Century Gothic" pitchFamily="34" charset="0"/>
              </a:rPr>
              <a:t>Engager le pays dans une intégration mondiale approfondie et agissante</a:t>
            </a:r>
          </a:p>
        </p:txBody>
      </p:sp>
      <p:sp>
        <p:nvSpPr>
          <p:cNvPr id="29" name="Espace réservé du pied de page 4"/>
          <p:cNvSpPr txBox="1">
            <a:spLocks/>
          </p:cNvSpPr>
          <p:nvPr/>
        </p:nvSpPr>
        <p:spPr>
          <a:xfrm>
            <a:off x="5292080" y="6209928"/>
            <a:ext cx="3851920" cy="648072"/>
          </a:xfrm>
          <a:prstGeom prst="rect">
            <a:avLst/>
          </a:prstGeom>
        </p:spPr>
        <p:txBody>
          <a:bodyPr/>
          <a:lstStyle>
            <a:lvl1pPr>
              <a:defRPr sz="1400" b="1">
                <a:solidFill>
                  <a:srgbClr val="C00000"/>
                </a:solidFill>
              </a:defRPr>
            </a:lvl1pPr>
          </a:lstStyle>
          <a:p>
            <a:pPr marL="0" marR="0" lvl="0" indent="0" algn="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  <a:defRPr/>
            </a:pPr>
            <a:r>
              <a:rPr lang="fr-FR" sz="1600" b="0" dirty="0" smtClean="0">
                <a:solidFill>
                  <a:schemeClr val="tx1"/>
                </a:solidFill>
                <a:latin typeface="+mn-lt"/>
              </a:rPr>
              <a:t>NEW </a:t>
            </a:r>
            <a:r>
              <a:rPr lang="fr-FR" sz="1600" dirty="0" smtClean="0">
                <a:solidFill>
                  <a:schemeClr val="tx1"/>
                </a:solidFill>
                <a:latin typeface="+mn-lt"/>
              </a:rPr>
              <a:t>TUNISIA </a:t>
            </a:r>
          </a:p>
          <a:p>
            <a:pPr marL="0" marR="0" lvl="0" indent="0" algn="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  <a:defRPr/>
            </a:pPr>
            <a:r>
              <a:rPr lang="fr-FR" sz="1600" b="0" dirty="0" smtClean="0">
                <a:solidFill>
                  <a:schemeClr val="tx1"/>
                </a:solidFill>
                <a:latin typeface="+mn-lt"/>
              </a:rPr>
              <a:t>NEW OPPORTUNITIES </a:t>
            </a:r>
            <a:endParaRPr lang="fr-FR" sz="1600" b="0" dirty="0">
              <a:solidFill>
                <a:schemeClr val="tx1"/>
              </a:solidFill>
              <a:latin typeface="+mn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rCU0N13UufKhYRcESsn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JnEZBAJt0qNlZpXp3CZU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fC91ncKHUOLr0Z57CYgq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bRm4.3aUKMNEStMHTvz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7UVtuBsjUaQtYkeXVunk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QoNIgHgUC6XwLpBYb8z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G9z5P8JD0e2l6eCrQcmE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W3ItKDXk2NUGXVr2C6c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2u6cJBIka5Jj9fWGI8C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kqvPKFVEqiFVMm5sWIQ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zH5zeHckCBvJle6Zi.v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Rg9xGix1k.30EFaEf.C_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CIIt_zTmEu5C3e..SlHZ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DivmLAfkaHAMK3yal0C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V57VxAKUy3hKkPVssJl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P.PmvxSm0uJgzQ1yNpmi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N_cHkBoUe9Xj5o_fIZJ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nOmp4mon0OPfJ1gV5887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wwHxN3oe0SRpQcNZp6EW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aRazS87UWutidBV2g0B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1ksFBVUoEu8NZ_RPPXms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rVEb4pBc0KR9UtpkIKEW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cK.W7eBk6D6furE8iUt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_58k5Arak68dtYz41VZA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3xNhoN7IE.5yRmHBcPgo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FYY_ouV02IOmxY5F05p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0TgceroEeUHSN9jDJ46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i4Q75ZHk6YcC9TQrQxB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7wCi_kKkmlccwVeKEM5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fHRxIKCkefdwdywaJNr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6FGYSOKp0ewvqEkIEqnG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hKgpKZZkW3i.awmw4LjQ"/>
</p:tagLst>
</file>

<file path=ppt/theme/theme1.xml><?xml version="1.0" encoding="utf-8"?>
<a:theme xmlns:a="http://schemas.openxmlformats.org/drawingml/2006/main" name="1_Intérieur Général 2011">
  <a:themeElements>
    <a:clrScheme name="Généraliste2011">
      <a:dk1>
        <a:srgbClr val="0077A9"/>
      </a:dk1>
      <a:lt1>
        <a:srgbClr val="F19C05"/>
      </a:lt1>
      <a:dk2>
        <a:srgbClr val="FFFFFF"/>
      </a:dk2>
      <a:lt2>
        <a:srgbClr val="CBCBCB"/>
      </a:lt2>
      <a:accent1>
        <a:srgbClr val="4BBFE0"/>
      </a:accent1>
      <a:accent2>
        <a:srgbClr val="619025"/>
      </a:accent2>
      <a:accent3>
        <a:srgbClr val="C77AAC"/>
      </a:accent3>
      <a:accent4>
        <a:srgbClr val="CB4551"/>
      </a:accent4>
      <a:accent5>
        <a:srgbClr val="88A8CB"/>
      </a:accent5>
      <a:accent6>
        <a:srgbClr val="9AC00A"/>
      </a:accent6>
      <a:hlink>
        <a:srgbClr val="77D7FF"/>
      </a:hlink>
      <a:folHlink>
        <a:srgbClr val="7F7F7F"/>
      </a:folHlink>
    </a:clrScheme>
    <a:fontScheme name="Generaliste2011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1_Cuir Intérieur">
  <a:themeElements>
    <a:clrScheme name="Cuir">
      <a:dk1>
        <a:srgbClr val="C6472F"/>
      </a:dk1>
      <a:lt1>
        <a:srgbClr val="973121"/>
      </a:lt1>
      <a:dk2>
        <a:srgbClr val="FFFFFF"/>
      </a:dk2>
      <a:lt2>
        <a:srgbClr val="FFFFFF"/>
      </a:lt2>
      <a:accent1>
        <a:srgbClr val="0077A9"/>
      </a:accent1>
      <a:accent2>
        <a:srgbClr val="577D83"/>
      </a:accent2>
      <a:accent3>
        <a:srgbClr val="C77AAC"/>
      </a:accent3>
      <a:accent4>
        <a:srgbClr val="E6DC3C"/>
      </a:accent4>
      <a:accent5>
        <a:srgbClr val="F19C05"/>
      </a:accent5>
      <a:accent6>
        <a:srgbClr val="A4B6AF"/>
      </a:accent6>
      <a:hlink>
        <a:srgbClr val="88A8CB"/>
      </a:hlink>
      <a:folHlink>
        <a:srgbClr val="B5CE63"/>
      </a:folHlink>
    </a:clrScheme>
    <a:fontScheme name="Generaliste2011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1.xml><?xml version="1.0" encoding="utf-8"?>
<a:theme xmlns:a="http://schemas.openxmlformats.org/drawingml/2006/main" name="1_OffShoring Titre">
  <a:themeElements>
    <a:clrScheme name="OffShoring">
      <a:dk1>
        <a:srgbClr val="00507A"/>
      </a:dk1>
      <a:lt1>
        <a:srgbClr val="00B5D3"/>
      </a:lt1>
      <a:dk2>
        <a:srgbClr val="FFFFFF"/>
      </a:dk2>
      <a:lt2>
        <a:srgbClr val="FFFFFF"/>
      </a:lt2>
      <a:accent1>
        <a:srgbClr val="0076A9"/>
      </a:accent1>
      <a:accent2>
        <a:srgbClr val="577D83"/>
      </a:accent2>
      <a:accent3>
        <a:srgbClr val="C77AAC"/>
      </a:accent3>
      <a:accent4>
        <a:srgbClr val="E6DC3C"/>
      </a:accent4>
      <a:accent5>
        <a:srgbClr val="F19C05"/>
      </a:accent5>
      <a:accent6>
        <a:srgbClr val="A4B6AF"/>
      </a:accent6>
      <a:hlink>
        <a:srgbClr val="88A8CB"/>
      </a:hlink>
      <a:folHlink>
        <a:srgbClr val="B5CE63"/>
      </a:folHlink>
    </a:clrScheme>
    <a:fontScheme name="Generaliste2011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2.xml><?xml version="1.0" encoding="utf-8"?>
<a:theme xmlns:a="http://schemas.openxmlformats.org/drawingml/2006/main" name="1_Offshoring Intérieur">
  <a:themeElements>
    <a:clrScheme name="OffShoring">
      <a:dk1>
        <a:srgbClr val="00507A"/>
      </a:dk1>
      <a:lt1>
        <a:srgbClr val="00B5D3"/>
      </a:lt1>
      <a:dk2>
        <a:srgbClr val="FFFFFF"/>
      </a:dk2>
      <a:lt2>
        <a:srgbClr val="FFFFFF"/>
      </a:lt2>
      <a:accent1>
        <a:srgbClr val="0076A9"/>
      </a:accent1>
      <a:accent2>
        <a:srgbClr val="577D83"/>
      </a:accent2>
      <a:accent3>
        <a:srgbClr val="C77AAC"/>
      </a:accent3>
      <a:accent4>
        <a:srgbClr val="E6DC3C"/>
      </a:accent4>
      <a:accent5>
        <a:srgbClr val="F19C05"/>
      </a:accent5>
      <a:accent6>
        <a:srgbClr val="A4B6AF"/>
      </a:accent6>
      <a:hlink>
        <a:srgbClr val="88A8CB"/>
      </a:hlink>
      <a:folHlink>
        <a:srgbClr val="B5CE63"/>
      </a:folHlink>
    </a:clrScheme>
    <a:fontScheme name="Generaliste2011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3.xml><?xml version="1.0" encoding="utf-8"?>
<a:theme xmlns:a="http://schemas.openxmlformats.org/drawingml/2006/main" name="1_Plasturgie Titre">
  <a:themeElements>
    <a:clrScheme name="Plasturgie">
      <a:dk1>
        <a:srgbClr val="548FC1"/>
      </a:dk1>
      <a:lt1>
        <a:srgbClr val="00507A"/>
      </a:lt1>
      <a:dk2>
        <a:srgbClr val="FFFFFF"/>
      </a:dk2>
      <a:lt2>
        <a:srgbClr val="FFFFFF"/>
      </a:lt2>
      <a:accent1>
        <a:srgbClr val="577D83"/>
      </a:accent1>
      <a:accent2>
        <a:srgbClr val="C77AAC"/>
      </a:accent2>
      <a:accent3>
        <a:srgbClr val="E6DC3C"/>
      </a:accent3>
      <a:accent4>
        <a:srgbClr val="F19C05"/>
      </a:accent4>
      <a:accent5>
        <a:srgbClr val="A4B6AF"/>
      </a:accent5>
      <a:accent6>
        <a:srgbClr val="B5CE63"/>
      </a:accent6>
      <a:hlink>
        <a:srgbClr val="A4B6AF"/>
      </a:hlink>
      <a:folHlink>
        <a:srgbClr val="FFFFFF"/>
      </a:folHlink>
    </a:clrScheme>
    <a:fontScheme name="Generaliste2011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4.xml><?xml version="1.0" encoding="utf-8"?>
<a:theme xmlns:a="http://schemas.openxmlformats.org/drawingml/2006/main" name="1_Plasturgie Intérieur">
  <a:themeElements>
    <a:clrScheme name="Plasturgie">
      <a:dk1>
        <a:srgbClr val="548FC1"/>
      </a:dk1>
      <a:lt1>
        <a:srgbClr val="00507A"/>
      </a:lt1>
      <a:dk2>
        <a:srgbClr val="FFFFFF"/>
      </a:dk2>
      <a:lt2>
        <a:srgbClr val="FFFFFF"/>
      </a:lt2>
      <a:accent1>
        <a:srgbClr val="577D83"/>
      </a:accent1>
      <a:accent2>
        <a:srgbClr val="C77AAC"/>
      </a:accent2>
      <a:accent3>
        <a:srgbClr val="E6DC3C"/>
      </a:accent3>
      <a:accent4>
        <a:srgbClr val="F19C05"/>
      </a:accent4>
      <a:accent5>
        <a:srgbClr val="A4B6AF"/>
      </a:accent5>
      <a:accent6>
        <a:srgbClr val="B5CE63"/>
      </a:accent6>
      <a:hlink>
        <a:srgbClr val="A4B6AF"/>
      </a:hlink>
      <a:folHlink>
        <a:srgbClr val="FFFFFF"/>
      </a:folHlink>
    </a:clrScheme>
    <a:fontScheme name="Generaliste2011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5.xml><?xml version="1.0" encoding="utf-8"?>
<a:theme xmlns:a="http://schemas.openxmlformats.org/drawingml/2006/main" name="1_Textile Titre">
  <a:themeElements>
    <a:clrScheme name="Textile">
      <a:dk1>
        <a:srgbClr val="C41B6D"/>
      </a:dk1>
      <a:lt1>
        <a:srgbClr val="FFFFFF"/>
      </a:lt1>
      <a:dk2>
        <a:srgbClr val="C41B6D"/>
      </a:dk2>
      <a:lt2>
        <a:srgbClr val="EA4693"/>
      </a:lt2>
      <a:accent1>
        <a:srgbClr val="577D83"/>
      </a:accent1>
      <a:accent2>
        <a:srgbClr val="C77AAC"/>
      </a:accent2>
      <a:accent3>
        <a:srgbClr val="E6DC3C"/>
      </a:accent3>
      <a:accent4>
        <a:srgbClr val="F19C05"/>
      </a:accent4>
      <a:accent5>
        <a:srgbClr val="A4B6AF"/>
      </a:accent5>
      <a:accent6>
        <a:srgbClr val="A3A8CB"/>
      </a:accent6>
      <a:hlink>
        <a:srgbClr val="B5CE63"/>
      </a:hlink>
      <a:folHlink>
        <a:srgbClr val="FFFFFF"/>
      </a:folHlink>
    </a:clrScheme>
    <a:fontScheme name="Generaliste2011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6.xml><?xml version="1.0" encoding="utf-8"?>
<a:theme xmlns:a="http://schemas.openxmlformats.org/drawingml/2006/main" name="1_Textile Intérieur">
  <a:themeElements>
    <a:clrScheme name="Textile">
      <a:dk1>
        <a:srgbClr val="C41B6D"/>
      </a:dk1>
      <a:lt1>
        <a:srgbClr val="FFFFFF"/>
      </a:lt1>
      <a:dk2>
        <a:srgbClr val="C41B6D"/>
      </a:dk2>
      <a:lt2>
        <a:srgbClr val="EA4693"/>
      </a:lt2>
      <a:accent1>
        <a:srgbClr val="577D83"/>
      </a:accent1>
      <a:accent2>
        <a:srgbClr val="C77AAC"/>
      </a:accent2>
      <a:accent3>
        <a:srgbClr val="E6DC3C"/>
      </a:accent3>
      <a:accent4>
        <a:srgbClr val="F19C05"/>
      </a:accent4>
      <a:accent5>
        <a:srgbClr val="A4B6AF"/>
      </a:accent5>
      <a:accent6>
        <a:srgbClr val="A3A8CB"/>
      </a:accent6>
      <a:hlink>
        <a:srgbClr val="B5CE63"/>
      </a:hlink>
      <a:folHlink>
        <a:srgbClr val="FFFFFF"/>
      </a:folHlink>
    </a:clrScheme>
    <a:fontScheme name="Generaliste2011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7.xml><?xml version="1.0" encoding="utf-8"?>
<a:theme xmlns:a="http://schemas.openxmlformats.org/drawingml/2006/main" name="General2011">
  <a:themeElements>
    <a:clrScheme name="Généraliste2011">
      <a:dk1>
        <a:srgbClr val="0077A9"/>
      </a:dk1>
      <a:lt1>
        <a:srgbClr val="F19C05"/>
      </a:lt1>
      <a:dk2>
        <a:srgbClr val="FFFFFF"/>
      </a:dk2>
      <a:lt2>
        <a:srgbClr val="CBCBCB"/>
      </a:lt2>
      <a:accent1>
        <a:srgbClr val="4BBFE0"/>
      </a:accent1>
      <a:accent2>
        <a:srgbClr val="619025"/>
      </a:accent2>
      <a:accent3>
        <a:srgbClr val="C77AAC"/>
      </a:accent3>
      <a:accent4>
        <a:srgbClr val="CB4551"/>
      </a:accent4>
      <a:accent5>
        <a:srgbClr val="88A8CB"/>
      </a:accent5>
      <a:accent6>
        <a:srgbClr val="9AC00A"/>
      </a:accent6>
      <a:hlink>
        <a:srgbClr val="77D7FF"/>
      </a:hlink>
      <a:folHlink>
        <a:srgbClr val="7F7F7F"/>
      </a:folHlink>
    </a:clrScheme>
    <a:fontScheme name="Generaliste2011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8.xml><?xml version="1.0" encoding="utf-8"?>
<a:theme xmlns:a="http://schemas.openxmlformats.org/drawingml/2006/main" name="Textile Intérieur">
  <a:themeElements>
    <a:clrScheme name="Textile">
      <a:dk1>
        <a:srgbClr val="C41B6D"/>
      </a:dk1>
      <a:lt1>
        <a:srgbClr val="FFFFFF"/>
      </a:lt1>
      <a:dk2>
        <a:srgbClr val="C41B6D"/>
      </a:dk2>
      <a:lt2>
        <a:srgbClr val="EA4693"/>
      </a:lt2>
      <a:accent1>
        <a:srgbClr val="577D83"/>
      </a:accent1>
      <a:accent2>
        <a:srgbClr val="C77AAC"/>
      </a:accent2>
      <a:accent3>
        <a:srgbClr val="E6DC3C"/>
      </a:accent3>
      <a:accent4>
        <a:srgbClr val="F19C05"/>
      </a:accent4>
      <a:accent5>
        <a:srgbClr val="A4B6AF"/>
      </a:accent5>
      <a:accent6>
        <a:srgbClr val="A3A8CB"/>
      </a:accent6>
      <a:hlink>
        <a:srgbClr val="B5CE63"/>
      </a:hlink>
      <a:folHlink>
        <a:srgbClr val="FFFFFF"/>
      </a:folHlink>
    </a:clrScheme>
    <a:fontScheme name="Generaliste2011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9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Mecanique Titre">
  <a:themeElements>
    <a:clrScheme name="Mecanique">
      <a:dk1>
        <a:srgbClr val="C6472F"/>
      </a:dk1>
      <a:lt1>
        <a:srgbClr val="FFFFFF"/>
      </a:lt1>
      <a:dk2>
        <a:srgbClr val="0076A9"/>
      </a:dk2>
      <a:lt2>
        <a:srgbClr val="FFFFFF"/>
      </a:lt2>
      <a:accent1>
        <a:srgbClr val="973121"/>
      </a:accent1>
      <a:accent2>
        <a:srgbClr val="577D83"/>
      </a:accent2>
      <a:accent3>
        <a:srgbClr val="C77AAC"/>
      </a:accent3>
      <a:accent4>
        <a:srgbClr val="E6DC3C"/>
      </a:accent4>
      <a:accent5>
        <a:srgbClr val="F19C05"/>
      </a:accent5>
      <a:accent6>
        <a:srgbClr val="A4B6AF"/>
      </a:accent6>
      <a:hlink>
        <a:srgbClr val="88A8CB"/>
      </a:hlink>
      <a:folHlink>
        <a:srgbClr val="B5CE63"/>
      </a:folHlink>
    </a:clrScheme>
    <a:fontScheme name="Generaliste2011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0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Mécanique Intérieur">
  <a:themeElements>
    <a:clrScheme name="Mecanique">
      <a:dk1>
        <a:srgbClr val="C6472F"/>
      </a:dk1>
      <a:lt1>
        <a:srgbClr val="FFFFFF"/>
      </a:lt1>
      <a:dk2>
        <a:srgbClr val="0076A9"/>
      </a:dk2>
      <a:lt2>
        <a:srgbClr val="FFFFFF"/>
      </a:lt2>
      <a:accent1>
        <a:srgbClr val="973121"/>
      </a:accent1>
      <a:accent2>
        <a:srgbClr val="577D83"/>
      </a:accent2>
      <a:accent3>
        <a:srgbClr val="C77AAC"/>
      </a:accent3>
      <a:accent4>
        <a:srgbClr val="E6DC3C"/>
      </a:accent4>
      <a:accent5>
        <a:srgbClr val="F19C05"/>
      </a:accent5>
      <a:accent6>
        <a:srgbClr val="A4B6AF"/>
      </a:accent6>
      <a:hlink>
        <a:srgbClr val="88A8CB"/>
      </a:hlink>
      <a:folHlink>
        <a:srgbClr val="B5CE63"/>
      </a:folHlink>
    </a:clrScheme>
    <a:fontScheme name="Generaliste2011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1_Electrique Titre">
  <a:themeElements>
    <a:clrScheme name="Electrique">
      <a:dk1>
        <a:srgbClr val="009896"/>
      </a:dk1>
      <a:lt1>
        <a:sysClr val="window" lastClr="FFFFFF"/>
      </a:lt1>
      <a:dk2>
        <a:srgbClr val="41BBCD"/>
      </a:dk2>
      <a:lt2>
        <a:srgbClr val="FFFFFF"/>
      </a:lt2>
      <a:accent1>
        <a:srgbClr val="577D83"/>
      </a:accent1>
      <a:accent2>
        <a:srgbClr val="C77AAC"/>
      </a:accent2>
      <a:accent3>
        <a:srgbClr val="E6DC3C"/>
      </a:accent3>
      <a:accent4>
        <a:srgbClr val="F19C05"/>
      </a:accent4>
      <a:accent5>
        <a:srgbClr val="A4B6AF"/>
      </a:accent5>
      <a:accent6>
        <a:srgbClr val="88A8CB"/>
      </a:accent6>
      <a:hlink>
        <a:srgbClr val="B5CE63"/>
      </a:hlink>
      <a:folHlink>
        <a:srgbClr val="009896"/>
      </a:folHlink>
    </a:clrScheme>
    <a:fontScheme name="Generaliste2011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1_Electrique Intérieur">
  <a:themeElements>
    <a:clrScheme name="Electrique">
      <a:dk1>
        <a:srgbClr val="009896"/>
      </a:dk1>
      <a:lt1>
        <a:sysClr val="window" lastClr="FFFFFF"/>
      </a:lt1>
      <a:dk2>
        <a:srgbClr val="41BBCD"/>
      </a:dk2>
      <a:lt2>
        <a:srgbClr val="FFFFFF"/>
      </a:lt2>
      <a:accent1>
        <a:srgbClr val="577D83"/>
      </a:accent1>
      <a:accent2>
        <a:srgbClr val="C77AAC"/>
      </a:accent2>
      <a:accent3>
        <a:srgbClr val="E6DC3C"/>
      </a:accent3>
      <a:accent4>
        <a:srgbClr val="F19C05"/>
      </a:accent4>
      <a:accent5>
        <a:srgbClr val="A4B6AF"/>
      </a:accent5>
      <a:accent6>
        <a:srgbClr val="88A8CB"/>
      </a:accent6>
      <a:hlink>
        <a:srgbClr val="B5CE63"/>
      </a:hlink>
      <a:folHlink>
        <a:srgbClr val="009896"/>
      </a:folHlink>
    </a:clrScheme>
    <a:fontScheme name="Generaliste2011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1_Aeronotique Intérieur">
  <a:themeElements>
    <a:clrScheme name="Aeronotique">
      <a:dk1>
        <a:srgbClr val="00507A"/>
      </a:dk1>
      <a:lt1>
        <a:sysClr val="window" lastClr="FFFFFF"/>
      </a:lt1>
      <a:dk2>
        <a:srgbClr val="00B5D3"/>
      </a:dk2>
      <a:lt2>
        <a:srgbClr val="FFFFFF"/>
      </a:lt2>
      <a:accent1>
        <a:srgbClr val="0076A9"/>
      </a:accent1>
      <a:accent2>
        <a:srgbClr val="577D83"/>
      </a:accent2>
      <a:accent3>
        <a:srgbClr val="C77AAC"/>
      </a:accent3>
      <a:accent4>
        <a:srgbClr val="E6DC3C"/>
      </a:accent4>
      <a:accent5>
        <a:srgbClr val="F19C05"/>
      </a:accent5>
      <a:accent6>
        <a:srgbClr val="A4B6AF"/>
      </a:accent6>
      <a:hlink>
        <a:srgbClr val="88A8CB"/>
      </a:hlink>
      <a:folHlink>
        <a:srgbClr val="B5CE63"/>
      </a:folHlink>
    </a:clrScheme>
    <a:fontScheme name="Generaliste2011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1_Agroalimentaire Titre">
  <a:themeElements>
    <a:clrScheme name="Agroalimentaire">
      <a:dk1>
        <a:srgbClr val="D9DF80"/>
      </a:dk1>
      <a:lt1>
        <a:srgbClr val="981150"/>
      </a:lt1>
      <a:dk2>
        <a:srgbClr val="FFFFFF"/>
      </a:dk2>
      <a:lt2>
        <a:srgbClr val="FFFFFF"/>
      </a:lt2>
      <a:accent1>
        <a:srgbClr val="0077A9"/>
      </a:accent1>
      <a:accent2>
        <a:srgbClr val="619025"/>
      </a:accent2>
      <a:accent3>
        <a:srgbClr val="C77AAC"/>
      </a:accent3>
      <a:accent4>
        <a:srgbClr val="E6DC3C"/>
      </a:accent4>
      <a:accent5>
        <a:srgbClr val="F19C05"/>
      </a:accent5>
      <a:accent6>
        <a:srgbClr val="A4B6AF"/>
      </a:accent6>
      <a:hlink>
        <a:srgbClr val="88A8CB"/>
      </a:hlink>
      <a:folHlink>
        <a:srgbClr val="9AC00A"/>
      </a:folHlink>
    </a:clrScheme>
    <a:fontScheme name="Generaliste2011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1_Agroalimentaire Intérieur">
  <a:themeElements>
    <a:clrScheme name="Agroalimentaire">
      <a:dk1>
        <a:srgbClr val="D9DF80"/>
      </a:dk1>
      <a:lt1>
        <a:srgbClr val="981150"/>
      </a:lt1>
      <a:dk2>
        <a:srgbClr val="FFFFFF"/>
      </a:dk2>
      <a:lt2>
        <a:srgbClr val="FFFFFF"/>
      </a:lt2>
      <a:accent1>
        <a:srgbClr val="0077A9"/>
      </a:accent1>
      <a:accent2>
        <a:srgbClr val="619025"/>
      </a:accent2>
      <a:accent3>
        <a:srgbClr val="C77AAC"/>
      </a:accent3>
      <a:accent4>
        <a:srgbClr val="E6DC3C"/>
      </a:accent4>
      <a:accent5>
        <a:srgbClr val="F19C05"/>
      </a:accent5>
      <a:accent6>
        <a:srgbClr val="A4B6AF"/>
      </a:accent6>
      <a:hlink>
        <a:srgbClr val="88A8CB"/>
      </a:hlink>
      <a:folHlink>
        <a:srgbClr val="9AC00A"/>
      </a:folHlink>
    </a:clrScheme>
    <a:fontScheme name="Generaliste2011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1_Cuir Titre">
  <a:themeElements>
    <a:clrScheme name="Cuir">
      <a:dk1>
        <a:srgbClr val="C6472F"/>
      </a:dk1>
      <a:lt1>
        <a:srgbClr val="973121"/>
      </a:lt1>
      <a:dk2>
        <a:srgbClr val="FFFFFF"/>
      </a:dk2>
      <a:lt2>
        <a:srgbClr val="FFFFFF"/>
      </a:lt2>
      <a:accent1>
        <a:srgbClr val="0077A9"/>
      </a:accent1>
      <a:accent2>
        <a:srgbClr val="577D83"/>
      </a:accent2>
      <a:accent3>
        <a:srgbClr val="C77AAC"/>
      </a:accent3>
      <a:accent4>
        <a:srgbClr val="E6DC3C"/>
      </a:accent4>
      <a:accent5>
        <a:srgbClr val="F19C05"/>
      </a:accent5>
      <a:accent6>
        <a:srgbClr val="A4B6AF"/>
      </a:accent6>
      <a:hlink>
        <a:srgbClr val="88A8CB"/>
      </a:hlink>
      <a:folHlink>
        <a:srgbClr val="B5CE63"/>
      </a:folHlink>
    </a:clrScheme>
    <a:fontScheme name="Generaliste2011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899</TotalTime>
  <Words>646</Words>
  <Application>Microsoft Office PowerPoint</Application>
  <PresentationFormat>On-screen Show (4:3)</PresentationFormat>
  <Paragraphs>165</Paragraphs>
  <Slides>11</Slides>
  <Notes>4</Notes>
  <HiddenSlides>0</HiddenSlides>
  <MMClips>0</MMClips>
  <ScaleCrop>false</ScaleCrop>
  <HeadingPairs>
    <vt:vector size="4" baseType="variant">
      <vt:variant>
        <vt:lpstr>Theme</vt:lpstr>
      </vt:variant>
      <vt:variant>
        <vt:i4>18</vt:i4>
      </vt:variant>
      <vt:variant>
        <vt:lpstr>Slide Titles</vt:lpstr>
      </vt:variant>
      <vt:variant>
        <vt:i4>11</vt:i4>
      </vt:variant>
    </vt:vector>
  </HeadingPairs>
  <TitlesOfParts>
    <vt:vector size="29" baseType="lpstr">
      <vt:lpstr>1_Intérieur Général 2011</vt:lpstr>
      <vt:lpstr>1_Mecanique Titre</vt:lpstr>
      <vt:lpstr>1_Mécanique Intérieur</vt:lpstr>
      <vt:lpstr>1_Electrique Titre</vt:lpstr>
      <vt:lpstr>1_Electrique Intérieur</vt:lpstr>
      <vt:lpstr>1_Aeronotique Intérieur</vt:lpstr>
      <vt:lpstr>1_Agroalimentaire Titre</vt:lpstr>
      <vt:lpstr>1_Agroalimentaire Intérieur</vt:lpstr>
      <vt:lpstr>1_Cuir Titre</vt:lpstr>
      <vt:lpstr>1_Cuir Intérieur</vt:lpstr>
      <vt:lpstr>1_OffShoring Titre</vt:lpstr>
      <vt:lpstr>1_Offshoring Intérieur</vt:lpstr>
      <vt:lpstr>1_Plasturgie Titre</vt:lpstr>
      <vt:lpstr>1_Plasturgie Intérieur</vt:lpstr>
      <vt:lpstr>1_Textile Titre</vt:lpstr>
      <vt:lpstr>1_Textile Intérieur</vt:lpstr>
      <vt:lpstr>General2011</vt:lpstr>
      <vt:lpstr>Textile Intérieur</vt:lpstr>
      <vt:lpstr>Slide 1</vt:lpstr>
      <vt:lpstr>Bilan à 10 mois …</vt:lpstr>
      <vt:lpstr>Slide 3</vt:lpstr>
      <vt:lpstr>Slide 4</vt:lpstr>
      <vt:lpstr>Slide 5</vt:lpstr>
      <vt:lpstr>Slide 6</vt:lpstr>
      <vt:lpstr>Slide 7</vt:lpstr>
      <vt:lpstr>Slide 8</vt:lpstr>
      <vt:lpstr>Slide 9</vt:lpstr>
      <vt:lpstr>Les réponses sont déjà données par les faits marquants  de la Tunisie </vt:lpstr>
      <vt:lpstr>Slide 11</vt:lpstr>
    </vt:vector>
  </TitlesOfParts>
  <Company>Hewlett-Packard Company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e 1</dc:title>
  <dc:creator>fgasmi</dc:creator>
  <cp:lastModifiedBy>beer_e</cp:lastModifiedBy>
  <cp:revision>297</cp:revision>
  <dcterms:created xsi:type="dcterms:W3CDTF">2011-04-25T13:47:24Z</dcterms:created>
  <dcterms:modified xsi:type="dcterms:W3CDTF">2011-12-07T11:42:39Z</dcterms:modified>
</cp:coreProperties>
</file>